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38.xml" ContentType="application/vnd.openxmlformats-officedocument.presentationml.tags+xml"/>
  <Override PartName="/ppt/charts/chart2.xml" ContentType="application/vnd.openxmlformats-officedocument.drawingml.chart+xml"/>
  <Override PartName="/ppt/tags/tag39.xml" ContentType="application/vnd.openxmlformats-officedocument.presentationml.tags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0.xml" ContentType="application/vnd.openxmlformats-officedocument.presentationml.tags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1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42.xml" ContentType="application/vnd.openxmlformats-officedocument.presentationml.tags+xml"/>
  <Override PartName="/ppt/charts/chart7.xml" ContentType="application/vnd.openxmlformats-officedocument.drawingml.chart+xml"/>
  <Override PartName="/ppt/tags/tag43.xml" ContentType="application/vnd.openxmlformats-officedocument.presentationml.tags+xml"/>
  <Override PartName="/ppt/charts/chart8.xml" ContentType="application/vnd.openxmlformats-officedocument.drawingml.chart+xml"/>
  <Override PartName="/ppt/tags/tag44.xml" ContentType="application/vnd.openxmlformats-officedocument.presentationml.tags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5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46.xml" ContentType="application/vnd.openxmlformats-officedocument.presentationml.tags+xml"/>
  <Override PartName="/ppt/charts/chart1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5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47.xml" ContentType="application/vnd.openxmlformats-officedocument.presentationml.tags+xml"/>
  <Override PartName="/ppt/charts/chart1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8.xml" ContentType="application/vnd.openxmlformats-officedocument.presentationml.tags+xml"/>
  <Override PartName="/ppt/charts/chart17.xml" ContentType="application/vnd.openxmlformats-officedocument.drawingml.chart+xml"/>
  <Override PartName="/ppt/tags/tag49.xml" ContentType="application/vnd.openxmlformats-officedocument.presentationml.tags+xml"/>
  <Override PartName="/ppt/charts/chart1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2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50.xml" ContentType="application/vnd.openxmlformats-officedocument.presentationml.tags+xml"/>
  <Override PartName="/ppt/charts/chart2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51.xml" ContentType="application/vnd.openxmlformats-officedocument.presentationml.tags+xml"/>
  <Override PartName="/ppt/charts/chart2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52.xml" ContentType="application/vnd.openxmlformats-officedocument.presentationml.tags+xml"/>
  <Override PartName="/ppt/charts/chart2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2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2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53.xml" ContentType="application/vnd.openxmlformats-officedocument.presentationml.tags+xml"/>
  <Override PartName="/ppt/charts/chart2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54.xml" ContentType="application/vnd.openxmlformats-officedocument.presentationml.tags+xml"/>
  <Override PartName="/ppt/charts/chart2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55.xml" ContentType="application/vnd.openxmlformats-officedocument.presentationml.tags+xml"/>
  <Override PartName="/ppt/charts/chart2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3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heme/themeOverride1.xml" ContentType="application/vnd.openxmlformats-officedocument.themeOverride+xml"/>
  <Override PartName="/ppt/charts/chart3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heme/themeOverride2.xml" ContentType="application/vnd.openxmlformats-officedocument.themeOverride+xml"/>
  <Override PartName="/ppt/charts/chart3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56.xml" ContentType="application/vnd.openxmlformats-officedocument.presentationml.tags+xml"/>
  <Override PartName="/ppt/charts/chart3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3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3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3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3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4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57.xml" ContentType="application/vnd.openxmlformats-officedocument.presentationml.tags+xml"/>
  <Override PartName="/ppt/charts/chart4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4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58.xml" ContentType="application/vnd.openxmlformats-officedocument.presentationml.tags+xml"/>
  <Override PartName="/ppt/charts/chart4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4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4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charts/chart4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152.xml" ContentType="application/vnd.openxmlformats-officedocument.presentationml.tags+xml"/>
  <Override PartName="/ppt/charts/chart4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4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ags/tag153.xml" ContentType="application/vnd.openxmlformats-officedocument.presentationml.tags+xml"/>
  <Override PartName="/ppt/charts/chart49.xml" ContentType="application/vnd.openxmlformats-officedocument.drawingml.chart+xml"/>
  <Override PartName="/ppt/tags/tag154.xml" ContentType="application/vnd.openxmlformats-officedocument.presentationml.tags+xml"/>
  <Override PartName="/ppt/charts/chart50.xml" ContentType="application/vnd.openxmlformats-officedocument.drawingml.chart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5"/>
  </p:notesMasterIdLst>
  <p:handoutMasterIdLst>
    <p:handoutMasterId r:id="rId126"/>
  </p:handoutMasterIdLst>
  <p:sldIdLst>
    <p:sldId id="2147374984" r:id="rId2"/>
    <p:sldId id="2147374873" r:id="rId3"/>
    <p:sldId id="2147374859" r:id="rId4"/>
    <p:sldId id="2147374864" r:id="rId5"/>
    <p:sldId id="2147374982" r:id="rId6"/>
    <p:sldId id="2147374959" r:id="rId7"/>
    <p:sldId id="2147374960" r:id="rId8"/>
    <p:sldId id="2147374961" r:id="rId9"/>
    <p:sldId id="2147374963" r:id="rId10"/>
    <p:sldId id="2147374964" r:id="rId11"/>
    <p:sldId id="2147374983" r:id="rId12"/>
    <p:sldId id="2147374962" r:id="rId13"/>
    <p:sldId id="2147374965" r:id="rId14"/>
    <p:sldId id="2147374966" r:id="rId15"/>
    <p:sldId id="2147374967" r:id="rId16"/>
    <p:sldId id="2147374968" r:id="rId17"/>
    <p:sldId id="2147374969" r:id="rId18"/>
    <p:sldId id="2147374970" r:id="rId19"/>
    <p:sldId id="2147374971" r:id="rId20"/>
    <p:sldId id="2147374972" r:id="rId21"/>
    <p:sldId id="2147374973" r:id="rId22"/>
    <p:sldId id="2147374974" r:id="rId23"/>
    <p:sldId id="2147374977" r:id="rId24"/>
    <p:sldId id="2147374975" r:id="rId25"/>
    <p:sldId id="2147374976" r:id="rId26"/>
    <p:sldId id="2147374978" r:id="rId27"/>
    <p:sldId id="2147374979" r:id="rId28"/>
    <p:sldId id="2147374980" r:id="rId29"/>
    <p:sldId id="2147374981" r:id="rId30"/>
    <p:sldId id="2147374932" r:id="rId31"/>
    <p:sldId id="2147374933" r:id="rId32"/>
    <p:sldId id="2147374934" r:id="rId33"/>
    <p:sldId id="2147374936" r:id="rId34"/>
    <p:sldId id="2147374943" r:id="rId35"/>
    <p:sldId id="2147374937" r:id="rId36"/>
    <p:sldId id="2147374939" r:id="rId37"/>
    <p:sldId id="2147374940" r:id="rId38"/>
    <p:sldId id="2147374949" r:id="rId39"/>
    <p:sldId id="2147374941" r:id="rId40"/>
    <p:sldId id="2147374942" r:id="rId41"/>
    <p:sldId id="2147374944" r:id="rId42"/>
    <p:sldId id="2147374935" r:id="rId43"/>
    <p:sldId id="2147374945" r:id="rId44"/>
    <p:sldId id="2147374946" r:id="rId45"/>
    <p:sldId id="2147374938" r:id="rId46"/>
    <p:sldId id="2147374948" r:id="rId47"/>
    <p:sldId id="2147374947" r:id="rId48"/>
    <p:sldId id="2147374950" r:id="rId49"/>
    <p:sldId id="2147374951" r:id="rId50"/>
    <p:sldId id="2147374952" r:id="rId51"/>
    <p:sldId id="2147374953" r:id="rId52"/>
    <p:sldId id="2147374954" r:id="rId53"/>
    <p:sldId id="2147374897" r:id="rId54"/>
    <p:sldId id="2147374898" r:id="rId55"/>
    <p:sldId id="2147374899" r:id="rId56"/>
    <p:sldId id="2147374900" r:id="rId57"/>
    <p:sldId id="2147374901" r:id="rId58"/>
    <p:sldId id="2147374903" r:id="rId59"/>
    <p:sldId id="2147374909" r:id="rId60"/>
    <p:sldId id="2147374910" r:id="rId61"/>
    <p:sldId id="2147374911" r:id="rId62"/>
    <p:sldId id="2147374912" r:id="rId63"/>
    <p:sldId id="2147374914" r:id="rId64"/>
    <p:sldId id="2147374913" r:id="rId65"/>
    <p:sldId id="2147374915" r:id="rId66"/>
    <p:sldId id="2147374916" r:id="rId67"/>
    <p:sldId id="2147374917" r:id="rId68"/>
    <p:sldId id="2147374918" r:id="rId69"/>
    <p:sldId id="2147374919" r:id="rId70"/>
    <p:sldId id="2147374920" r:id="rId71"/>
    <p:sldId id="2147374921" r:id="rId72"/>
    <p:sldId id="2147374922" r:id="rId73"/>
    <p:sldId id="2147374923" r:id="rId74"/>
    <p:sldId id="2147374924" r:id="rId75"/>
    <p:sldId id="2147374925" r:id="rId76"/>
    <p:sldId id="2147374926" r:id="rId77"/>
    <p:sldId id="2147374885" r:id="rId78"/>
    <p:sldId id="2147374886" r:id="rId79"/>
    <p:sldId id="2147374887" r:id="rId80"/>
    <p:sldId id="2147374888" r:id="rId81"/>
    <p:sldId id="2147374889" r:id="rId82"/>
    <p:sldId id="2147374890" r:id="rId83"/>
    <p:sldId id="2147374891" r:id="rId84"/>
    <p:sldId id="2147374892" r:id="rId85"/>
    <p:sldId id="2147374893" r:id="rId86"/>
    <p:sldId id="2147374894" r:id="rId87"/>
    <p:sldId id="2147374895" r:id="rId88"/>
    <p:sldId id="2147374896" r:id="rId89"/>
    <p:sldId id="2147374902" r:id="rId90"/>
    <p:sldId id="2147374904" r:id="rId91"/>
    <p:sldId id="2147374905" r:id="rId92"/>
    <p:sldId id="2147374906" r:id="rId93"/>
    <p:sldId id="2147374907" r:id="rId94"/>
    <p:sldId id="2147374908" r:id="rId95"/>
    <p:sldId id="2147374927" r:id="rId96"/>
    <p:sldId id="2147374928" r:id="rId97"/>
    <p:sldId id="2147374929" r:id="rId98"/>
    <p:sldId id="2147374930" r:id="rId99"/>
    <p:sldId id="2147374931" r:id="rId100"/>
    <p:sldId id="2147374863" r:id="rId101"/>
    <p:sldId id="2147374865" r:id="rId102"/>
    <p:sldId id="2147374866" r:id="rId103"/>
    <p:sldId id="2147374868" r:id="rId104"/>
    <p:sldId id="2147374869" r:id="rId105"/>
    <p:sldId id="2147374880" r:id="rId106"/>
    <p:sldId id="2147374881" r:id="rId107"/>
    <p:sldId id="2147374882" r:id="rId108"/>
    <p:sldId id="2147374883" r:id="rId109"/>
    <p:sldId id="2147374884" r:id="rId110"/>
    <p:sldId id="2147374870" r:id="rId111"/>
    <p:sldId id="2147374867" r:id="rId112"/>
    <p:sldId id="2147374871" r:id="rId113"/>
    <p:sldId id="2147374872" r:id="rId114"/>
    <p:sldId id="2147374874" r:id="rId115"/>
    <p:sldId id="2147374875" r:id="rId116"/>
    <p:sldId id="2147374876" r:id="rId117"/>
    <p:sldId id="2147374877" r:id="rId118"/>
    <p:sldId id="2147374878" r:id="rId119"/>
    <p:sldId id="2147374879" r:id="rId120"/>
    <p:sldId id="2147374955" r:id="rId121"/>
    <p:sldId id="2147374956" r:id="rId122"/>
    <p:sldId id="2147374957" r:id="rId123"/>
    <p:sldId id="2147374958" r:id="rId124"/>
  </p:sldIdLst>
  <p:sldSz cx="12192000" cy="6858000"/>
  <p:notesSz cx="6858000" cy="9144000"/>
  <p:custDataLst>
    <p:tags r:id="rId1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82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34" d="100"/>
          <a:sy n="134" d="100"/>
        </p:scale>
        <p:origin x="2008" y="488"/>
      </p:cViewPr>
      <p:guideLst>
        <p:guide orient="horz" pos="2160"/>
        <p:guide pos="192"/>
        <p:guide pos="7482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-29861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presProps" Target="presProps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viewProps" Target="viewProps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theme" Target="theme/theme1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tableStyles" Target="tableStyles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tags" Target="tags/tag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8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9.xlsx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0.xlsx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1.xlsx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2.xlsx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3.xlsx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4.xlsx"/></Relationships>
</file>

<file path=ppt/charts/_rels/chart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45-4618-A3C6-654213004B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45-4618-A3C6-654213004B6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 w="25372"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10</c:v>
                </c:pt>
                <c:pt idx="1">
                  <c:v>11</c:v>
                </c:pt>
                <c:pt idx="2">
                  <c:v>30</c:v>
                </c:pt>
                <c:pt idx="3">
                  <c:v>10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45-4618-A3C6-654213004B6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ln w="25372"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12</c:v>
                </c:pt>
                <c:pt idx="1">
                  <c:v>15</c:v>
                </c:pt>
                <c:pt idx="2">
                  <c:v>20</c:v>
                </c:pt>
                <c:pt idx="3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45-4618-A3C6-654213004B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3318287"/>
        <c:axId val="1"/>
      </c:areaChart>
      <c:dateAx>
        <c:axId val="1363318287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spPr>
          <a:noFill/>
          <a:ln w="9514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months"/>
      </c:dateAx>
      <c:valAx>
        <c:axId val="1"/>
        <c:scaling>
          <c:orientation val="minMax"/>
        </c:scaling>
        <c:delete val="0"/>
        <c:axPos val="l"/>
        <c:majorGridlines>
          <c:spPr>
            <a:ln w="9514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3318287"/>
        <c:crosses val="autoZero"/>
        <c:crossBetween val="midCat"/>
      </c:valAx>
      <c:spPr>
        <a:noFill/>
        <a:ln w="25372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798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417-4DBD-BC2E-CC429AE05F9D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17-4DBD-BC2E-CC429AE05F9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5</c:v>
                </c:pt>
                <c:pt idx="1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17-4DBD-BC2E-CC429AE05F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44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25299">
                <a:noFill/>
              </a:ln>
            </c:spPr>
            <c:extLst>
              <c:ext xmlns:c16="http://schemas.microsoft.com/office/drawing/2014/chart" uri="{C3380CC4-5D6E-409C-BE32-E72D297353CC}">
                <c16:uniqueId val="{00000000-1097-4BBC-B654-6CC18FC5492D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097-4BBC-B654-6CC18FC5492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97-4BBC-B654-6CC18FC549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299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68-48F3-8783-5F673FA3E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68-48F3-8783-5F673FA3E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05038480"/>
        <c:axId val="1"/>
      </c:areaChart>
      <c:dateAx>
        <c:axId val="2005038480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spPr>
          <a:noFill/>
          <a:ln w="951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months"/>
      </c:dateAx>
      <c:valAx>
        <c:axId val="1"/>
        <c:scaling>
          <c:orientation val="minMax"/>
        </c:scaling>
        <c:delete val="0"/>
        <c:axPos val="l"/>
        <c:majorGridlines>
          <c:spPr>
            <a:ln w="9510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5038480"/>
        <c:crosses val="autoZero"/>
        <c:crossBetween val="midCat"/>
      </c:valAx>
      <c:spPr>
        <a:noFill/>
        <a:ln>
          <a:noFill/>
        </a:ln>
        <a:effectLst/>
        <a:sp3d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729-4D61-83FF-3E495448E3ED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729-4D61-83FF-3E495448E3ED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729-4D61-83FF-3E495448E3E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Neue Haas Unica"/>
                    <a:cs typeface="Neue Haas Unica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8</c:v>
                </c:pt>
                <c:pt idx="1">
                  <c:v>20</c:v>
                </c:pt>
                <c:pt idx="2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729-4D61-83FF-3E495448E3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200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2962332100332906E-2"/>
          <c:w val="1"/>
          <c:h val="0.9340753357993342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A90-4847-9B9A-93502F0480D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A90-4847-9B9A-93502F0480D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A90-4847-9B9A-93502F0480D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A90-4847-9B9A-93502F0480D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A90-4847-9B9A-93502F0480D4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A90-4847-9B9A-93502F0480D4}"/>
              </c:ext>
            </c:extLst>
          </c:dPt>
          <c:cat>
            <c:strRef>
              <c:f>Sheet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-20</c:v>
                </c:pt>
                <c:pt idx="1">
                  <c:v>-15</c:v>
                </c:pt>
                <c:pt idx="2">
                  <c:v>-12</c:v>
                </c:pt>
                <c:pt idx="3">
                  <c:v>-10</c:v>
                </c:pt>
                <c:pt idx="4">
                  <c:v>-6</c:v>
                </c:pt>
                <c:pt idx="5">
                  <c:v>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A90-4847-9B9A-93502F0480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6957424"/>
        <c:axId val="586954800"/>
      </c:barChart>
      <c:catAx>
        <c:axId val="5869574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high"/>
        <c:crossAx val="586954800"/>
        <c:crosses val="autoZero"/>
        <c:auto val="1"/>
        <c:lblAlgn val="ctr"/>
        <c:lblOffset val="200"/>
        <c:noMultiLvlLbl val="0"/>
      </c:catAx>
      <c:valAx>
        <c:axId val="586954800"/>
        <c:scaling>
          <c:orientation val="minMax"/>
          <c:max val="0"/>
        </c:scaling>
        <c:delete val="1"/>
        <c:axPos val="b"/>
        <c:numFmt formatCode="General" sourceLinked="1"/>
        <c:majorTickMark val="none"/>
        <c:minorTickMark val="none"/>
        <c:tickLblPos val="low"/>
        <c:crossAx val="58695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Neue Haas Unica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814138479925315E-2"/>
          <c:y val="3.2962332100332906E-2"/>
          <c:w val="0.9781858615200747"/>
          <c:h val="0.9340753357993342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49B-49AB-841F-C54BF62CEE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49B-49AB-841F-C54BF62CEE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49B-49AB-841F-C54BF62CEE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49B-49AB-841F-C54BF62CEE4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49B-49AB-841F-C54BF62CEE4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49B-49AB-841F-C54BF62CEE43}"/>
              </c:ext>
            </c:extLst>
          </c:dPt>
          <c:cat>
            <c:strRef>
              <c:f>Sheet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0</c:v>
                </c:pt>
                <c:pt idx="1">
                  <c:v>15</c:v>
                </c:pt>
                <c:pt idx="2">
                  <c:v>12</c:v>
                </c:pt>
                <c:pt idx="3">
                  <c:v>10</c:v>
                </c:pt>
                <c:pt idx="4">
                  <c:v>6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49B-49AB-841F-C54BF62CEE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6957424"/>
        <c:axId val="586954800"/>
      </c:barChart>
      <c:catAx>
        <c:axId val="58695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eue Haas Unica"/>
                <a:ea typeface="Neue Haas Unica"/>
                <a:cs typeface="Neue Haas Unica"/>
              </a:defRPr>
            </a:pPr>
            <a:endParaRPr lang="en-US"/>
          </a:p>
        </c:txPr>
        <c:crossAx val="586954800"/>
        <c:crosses val="autoZero"/>
        <c:auto val="1"/>
        <c:lblAlgn val="ctr"/>
        <c:lblOffset val="100"/>
        <c:noMultiLvlLbl val="0"/>
      </c:catAx>
      <c:valAx>
        <c:axId val="586954800"/>
        <c:scaling>
          <c:orientation val="minMax"/>
          <c:max val="20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eue Haas Unica"/>
                <a:ea typeface="Neue Haas Unica"/>
                <a:cs typeface="Neue Haas Unica"/>
              </a:defRPr>
            </a:pPr>
            <a:endParaRPr lang="en-US"/>
          </a:p>
        </c:txPr>
        <c:crossAx val="58695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Neue Haas Unica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24C-40A3-BBA4-655FE36067A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24C-40A3-BBA4-655FE36067A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24C-40A3-BBA4-655FE36067A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24C-40A3-BBA4-655FE36067A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24C-40A3-BBA4-655FE36067A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24C-40A3-BBA4-655FE36067A2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5</c:v>
                </c:pt>
                <c:pt idx="1">
                  <c:v>18</c:v>
                </c:pt>
                <c:pt idx="2">
                  <c:v>30</c:v>
                </c:pt>
                <c:pt idx="3">
                  <c:v>28</c:v>
                </c:pt>
                <c:pt idx="4">
                  <c:v>37</c:v>
                </c:pt>
                <c:pt idx="5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24C-40A3-BBA4-655FE36067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124C-40A3-BBA4-655FE36067A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124C-40A3-BBA4-655FE36067A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124C-40A3-BBA4-655FE36067A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124C-40A3-BBA4-655FE36067A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124C-40A3-BBA4-655FE36067A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124C-40A3-BBA4-655FE36067A2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0</c:v>
                </c:pt>
                <c:pt idx="1">
                  <c:v>25</c:v>
                </c:pt>
                <c:pt idx="2">
                  <c:v>35</c:v>
                </c:pt>
                <c:pt idx="3">
                  <c:v>45</c:v>
                </c:pt>
                <c:pt idx="4">
                  <c:v>55</c:v>
                </c:pt>
                <c:pt idx="5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124C-40A3-BBA4-655FE36067A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31586248"/>
        <c:axId val="431589856"/>
      </c:barChart>
      <c:catAx>
        <c:axId val="431586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j-lt"/>
                <a:ea typeface="Neue Haas Unica"/>
                <a:cs typeface="Neue Haas Unica"/>
              </a:defRPr>
            </a:pPr>
            <a:endParaRPr lang="en-US"/>
          </a:p>
        </c:txPr>
        <c:crossAx val="431589856"/>
        <c:crosses val="autoZero"/>
        <c:auto val="1"/>
        <c:lblAlgn val="ctr"/>
        <c:lblOffset val="100"/>
        <c:noMultiLvlLbl val="0"/>
      </c:catAx>
      <c:valAx>
        <c:axId val="4315898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j-lt"/>
                <a:ea typeface="Neue Haas Unica"/>
                <a:cs typeface="Neue Haas Unica"/>
              </a:defRPr>
            </a:pPr>
            <a:endParaRPr lang="en-US"/>
          </a:p>
        </c:txPr>
        <c:crossAx val="431586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 baseline="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0-66A1-43EB-B614-57B1425AFACA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1E-43B4-8733-C49606CB93E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1E-43B4-8733-C49606CB93E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1E-43B4-8733-C49606CB93E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21E-43B4-8733-C49606CB93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35253552"/>
        <c:axId val="1"/>
      </c:barChart>
      <c:catAx>
        <c:axId val="935253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6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6335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525355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12473420189350272"/>
          <c:y val="0.89999045166322611"/>
          <c:w val="0.35505677392361001"/>
          <c:h val="7.3368343901504193E-2"/>
        </c:manualLayout>
      </c:layout>
      <c:overlay val="0"/>
      <c:spPr>
        <a:noFill/>
        <a:ln w="2534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365950979991677"/>
          <c:y val="4.6875773782994117E-2"/>
          <c:w val="0.68140309872379368"/>
          <c:h val="0.791659100788502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210-4CA0-9215-CF46B5E632A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210-4CA0-9215-CF46B5E632A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210-4CA0-9215-CF46B5E632A8}"/>
              </c:ext>
            </c:extLst>
          </c:dPt>
          <c:dLbls>
            <c:delete val="1"/>
          </c:dLbls>
          <c:cat>
            <c:strRef>
              <c:f>Sheet1!$A$2:$A$4</c:f>
              <c:strCache>
                <c:ptCount val="3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5</c:v>
                </c:pt>
                <c:pt idx="1">
                  <c:v>0.2</c:v>
                </c:pt>
                <c:pt idx="2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210-4CA0-9215-CF46B5E632A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6808572610909528E-2"/>
          <c:y val="0.91598367421053506"/>
          <c:w val="0.87390114655503637"/>
          <c:h val="8.40163257894649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j-lt"/>
              <a:ea typeface="Neue Haas Unica"/>
              <a:cs typeface="Neue Haas Unica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365950979991677"/>
          <c:y val="4.6875773782994117E-2"/>
          <c:w val="0.67388451093954527"/>
          <c:h val="0.7829239505439178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49D-441F-8DC6-10BA40DCB9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49D-441F-8DC6-10BA40DCB9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49D-441F-8DC6-10BA40DCB934}"/>
              </c:ext>
            </c:extLst>
          </c:dPt>
          <c:dLbls>
            <c:delete val="1"/>
          </c:dLbls>
          <c:cat>
            <c:strRef>
              <c:f>Sheet1!$A$2:$A$4</c:f>
              <c:strCache>
                <c:ptCount val="3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8</c:v>
                </c:pt>
                <c:pt idx="1">
                  <c:v>0.41</c:v>
                </c:pt>
                <c:pt idx="2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49D-441F-8DC6-10BA40DCB93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6808572610909528E-2"/>
          <c:y val="0.91598367421053506"/>
          <c:w val="0.87390114655503637"/>
          <c:h val="8.40163257894649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j-lt"/>
              <a:ea typeface="Neue Haas Unica"/>
              <a:cs typeface="Neue Haas Unica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C8-4FED-8FAC-26D9EB6B45E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C8-4FED-8FAC-26D9EB6B45E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C8-4FED-8FAC-26D9EB6B45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201696608"/>
        <c:axId val="1"/>
      </c:barChart>
      <c:catAx>
        <c:axId val="12016966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12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169660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12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 w="25366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365950979991677"/>
          <c:y val="4.6875773782994117E-2"/>
          <c:w val="0.67388451093954527"/>
          <c:h val="0.7829239505439178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4B3-46AF-821D-88B1AE82AF9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4B3-46AF-821D-88B1AE82AF9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4B3-46AF-821D-88B1AE82AF91}"/>
              </c:ext>
            </c:extLst>
          </c:dPt>
          <c:dLbls>
            <c:delete val="1"/>
          </c:dLbls>
          <c:cat>
            <c:strRef>
              <c:f>Sheet1!$A$2:$A$4</c:f>
              <c:strCache>
                <c:ptCount val="3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8</c:v>
                </c:pt>
                <c:pt idx="1">
                  <c:v>0.41</c:v>
                </c:pt>
                <c:pt idx="2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4B3-46AF-821D-88B1AE82AF9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6808572610909528E-2"/>
          <c:y val="0.91598367421053506"/>
          <c:w val="0.87390114655503637"/>
          <c:h val="8.40163257894649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j-lt"/>
              <a:ea typeface="Neue Haas Unica"/>
              <a:cs typeface="Neue Haas Unica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93112914399999E-2"/>
          <c:y val="0.21172892530338389"/>
          <c:w val="0.97501377417120005"/>
          <c:h val="0.6893640866201511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0179197307821173E-2"/>
                  <c:y val="-7.2727272727272724E-2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>
                        <a:latin typeface="+mn-lt"/>
                      </a:rPr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EA65-48DF-AD30-9014359A67D1}"/>
                </c:ext>
              </c:extLst>
            </c:dLbl>
            <c:dLbl>
              <c:idx val="1"/>
              <c:layout>
                <c:manualLayout>
                  <c:x val="-3.2258055412170805E-2"/>
                  <c:y val="-7.2727272727272724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 rtl="0">
                      <a:defRPr sz="1600" b="0" i="0" u="none" strike="noStrike" kern="1200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600"/>
                      <a:t>XX</a:t>
                    </a:r>
                  </a:p>
                </c:rich>
              </c:tx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 rtl="0">
                    <a:defRPr sz="1600" b="0" i="0" u="none" strike="noStrike" kern="1200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EA65-48DF-AD30-9014359A67D1}"/>
                </c:ext>
              </c:extLst>
            </c:dLbl>
            <c:dLbl>
              <c:idx val="2"/>
              <c:layout>
                <c:manualLayout>
                  <c:x val="-3.5842283791300826E-2"/>
                  <c:y val="-7.2727272727272724E-2"/>
                </c:manualLayout>
              </c:layout>
              <c:tx>
                <c:rich>
                  <a:bodyPr/>
                  <a:lstStyle/>
                  <a:p>
                    <a:r>
                      <a:rPr lang="en-US" sz="16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</a:rPr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EA65-48DF-AD30-9014359A67D1}"/>
                </c:ext>
              </c:extLst>
            </c:dLbl>
            <c:dLbl>
              <c:idx val="3"/>
              <c:layout>
                <c:manualLayout>
                  <c:x val="-3.5842283791300826E-2"/>
                  <c:y val="-7.2727272727272724E-2"/>
                </c:manualLayout>
              </c:layout>
              <c:tx>
                <c:rich>
                  <a:bodyPr/>
                  <a:lstStyle/>
                  <a:p>
                    <a:r>
                      <a:rPr lang="en-US" sz="16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</a:rPr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EA65-48DF-AD30-9014359A67D1}"/>
                </c:ext>
              </c:extLst>
            </c:dLbl>
            <c:dLbl>
              <c:idx val="4"/>
              <c:layout>
                <c:manualLayout>
                  <c:x val="-3.2258055412170875E-2"/>
                  <c:y val="-7.2727272727272807E-2"/>
                </c:manualLayout>
              </c:layout>
              <c:tx>
                <c:rich>
                  <a:bodyPr/>
                  <a:lstStyle/>
                  <a:p>
                    <a:r>
                      <a:rPr lang="en-US" sz="7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</a:rPr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EA65-48DF-AD30-9014359A67D1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8 Q4</c:v>
                </c:pt>
                <c:pt idx="1">
                  <c:v>2019 Q1</c:v>
                </c:pt>
                <c:pt idx="2">
                  <c:v>2019 Q2</c:v>
                </c:pt>
                <c:pt idx="3">
                  <c:v>2019 Q3</c:v>
                </c:pt>
                <c:pt idx="4">
                  <c:v>2019 Q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3500</c:v>
                </c:pt>
                <c:pt idx="1">
                  <c:v>14811</c:v>
                </c:pt>
                <c:pt idx="2">
                  <c:v>15187</c:v>
                </c:pt>
                <c:pt idx="3">
                  <c:v>15134</c:v>
                </c:pt>
                <c:pt idx="4">
                  <c:v>153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A65-48DF-AD30-9014359A6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5842283791300989E-3"/>
                  <c:y val="-7.2727272727272765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 rtl="0">
                      <a:defRPr sz="1600" b="0" i="0" u="none" strike="noStrike" kern="1200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600"/>
                      <a:t>XX</a:t>
                    </a:r>
                  </a:p>
                </c:rich>
              </c:tx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 rtl="0">
                    <a:defRPr sz="1600" b="0" i="0" u="none" strike="noStrike" kern="1200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EA65-48DF-AD30-9014359A67D1}"/>
                </c:ext>
              </c:extLst>
            </c:dLbl>
            <c:dLbl>
              <c:idx val="1"/>
              <c:layout>
                <c:manualLayout>
                  <c:x val="-2.8673827033040659E-2"/>
                  <c:y val="-4.848484848484852E-2"/>
                </c:manualLayout>
              </c:layout>
              <c:tx>
                <c:rich>
                  <a:bodyPr/>
                  <a:lstStyle/>
                  <a:p>
                    <a:r>
                      <a:rPr lang="en-US" sz="1600" b="0" i="0" u="none" strike="noStrike" kern="1200" baseline="0" dirty="0">
                        <a:solidFill>
                          <a:schemeClr val="tx1"/>
                        </a:solidFill>
                        <a:latin typeface="+mj-lt"/>
                      </a:rPr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EA65-48DF-AD30-9014359A67D1}"/>
                </c:ext>
              </c:extLst>
            </c:dLbl>
            <c:dLbl>
              <c:idx val="2"/>
              <c:layout>
                <c:manualLayout>
                  <c:x val="-3.2258055412170743E-2"/>
                  <c:y val="-5.6565656565656569E-2"/>
                </c:manualLayout>
              </c:layout>
              <c:tx>
                <c:rich>
                  <a:bodyPr/>
                  <a:lstStyle/>
                  <a:p>
                    <a:r>
                      <a:rPr lang="en-US" sz="16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rPr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EA65-48DF-AD30-9014359A67D1}"/>
                </c:ext>
              </c:extLst>
            </c:dLbl>
            <c:dLbl>
              <c:idx val="3"/>
              <c:layout>
                <c:manualLayout>
                  <c:x val="-3.5842283791300826E-2"/>
                  <c:y val="-4.8484848484848485E-2"/>
                </c:manualLayout>
              </c:layout>
              <c:tx>
                <c:rich>
                  <a:bodyPr/>
                  <a:lstStyle/>
                  <a:p>
                    <a:r>
                      <a:rPr lang="en-US" sz="16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rPr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EA65-48DF-AD30-9014359A67D1}"/>
                </c:ext>
              </c:extLst>
            </c:dLbl>
            <c:dLbl>
              <c:idx val="4"/>
              <c:layout>
                <c:manualLayout>
                  <c:x val="-4.6594968928691069E-2"/>
                  <c:y val="-6.4646464646464646E-2"/>
                </c:manualLayout>
              </c:layout>
              <c:tx>
                <c:rich>
                  <a:bodyPr/>
                  <a:lstStyle/>
                  <a:p>
                    <a:r>
                      <a:rPr lang="en-US" sz="7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</a:rPr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EA65-48DF-AD30-9014359A67D1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2018 Q4</c:v>
                </c:pt>
                <c:pt idx="1">
                  <c:v>2019 Q1</c:v>
                </c:pt>
                <c:pt idx="2">
                  <c:v>2019 Q2</c:v>
                </c:pt>
                <c:pt idx="3">
                  <c:v>2019 Q3</c:v>
                </c:pt>
                <c:pt idx="4">
                  <c:v>2019 Q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9492</c:v>
                </c:pt>
                <c:pt idx="1">
                  <c:v>20267</c:v>
                </c:pt>
                <c:pt idx="2">
                  <c:v>19965</c:v>
                </c:pt>
                <c:pt idx="3">
                  <c:v>20336</c:v>
                </c:pt>
                <c:pt idx="4">
                  <c:v>198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EA65-48DF-AD30-9014359A67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2258055412170757E-2"/>
                  <c:y val="-6.4646464646464646E-2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>
                        <a:latin typeface="+mj-lt"/>
                      </a:rPr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EA65-48DF-AD30-9014359A67D1}"/>
                </c:ext>
              </c:extLst>
            </c:dLbl>
            <c:dLbl>
              <c:idx val="1"/>
              <c:layout>
                <c:manualLayout>
                  <c:x val="-7.1684567582601649E-3"/>
                  <c:y val="-6.4646464646464646E-2"/>
                </c:manualLayout>
              </c:layout>
              <c:tx>
                <c:rich>
                  <a:bodyPr/>
                  <a:lstStyle/>
                  <a:p>
                    <a:r>
                      <a:rPr lang="en-US" sz="1600" b="0" i="0" u="none" strike="noStrike" kern="1200" baseline="0" dirty="0">
                        <a:solidFill>
                          <a:schemeClr val="tx1"/>
                        </a:solidFill>
                        <a:latin typeface="+mj-lt"/>
                      </a:rPr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EA65-48DF-AD30-9014359A67D1}"/>
                </c:ext>
              </c:extLst>
            </c:dLbl>
            <c:dLbl>
              <c:idx val="2"/>
              <c:layout>
                <c:manualLayout>
                  <c:x val="-3.5842283791301479E-3"/>
                  <c:y val="-7.2727272727272724E-2"/>
                </c:manualLayout>
              </c:layout>
              <c:tx>
                <c:rich>
                  <a:bodyPr/>
                  <a:lstStyle/>
                  <a:p>
                    <a:r>
                      <a:rPr lang="en-US" sz="1600" b="0" i="0" u="none" strike="noStrike" kern="1200" baseline="0" dirty="0">
                        <a:solidFill>
                          <a:schemeClr val="tx1"/>
                        </a:solidFill>
                        <a:latin typeface="+mj-lt"/>
                      </a:rPr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EA65-48DF-AD30-9014359A67D1}"/>
                </c:ext>
              </c:extLst>
            </c:dLbl>
            <c:dLbl>
              <c:idx val="3"/>
              <c:layout>
                <c:manualLayout>
                  <c:x val="-1.7921141895650413E-2"/>
                  <c:y val="-7.2727272727272738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 rtl="0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/>
                      <a:t>XX</a:t>
                    </a:r>
                  </a:p>
                </c:rich>
              </c:tx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 rtl="0">
                    <a:defRPr sz="1400" b="0" i="0" u="none" strike="noStrike" kern="1200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EA65-48DF-AD30-9014359A67D1}"/>
                </c:ext>
              </c:extLst>
            </c:dLbl>
            <c:dLbl>
              <c:idx val="4"/>
              <c:layout>
                <c:manualLayout>
                  <c:x val="-5.0179197307821152E-2"/>
                  <c:y val="-4.8484848484848492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 rtl="0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/>
                      <a:t>XX</a:t>
                    </a:r>
                  </a:p>
                </c:rich>
              </c:tx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 rtl="0">
                    <a:defRPr sz="1400" b="0" i="0" u="none" strike="noStrike" kern="1200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EA65-48DF-AD30-9014359A67D1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2018 Q4</c:v>
                </c:pt>
                <c:pt idx="1">
                  <c:v>2019 Q1</c:v>
                </c:pt>
                <c:pt idx="2">
                  <c:v>2019 Q2</c:v>
                </c:pt>
                <c:pt idx="3">
                  <c:v>2019 Q3</c:v>
                </c:pt>
                <c:pt idx="4">
                  <c:v>2019 Q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3702</c:v>
                </c:pt>
                <c:pt idx="1">
                  <c:v>23768</c:v>
                </c:pt>
                <c:pt idx="2">
                  <c:v>23731</c:v>
                </c:pt>
                <c:pt idx="3">
                  <c:v>23770</c:v>
                </c:pt>
                <c:pt idx="4">
                  <c:v>241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EA65-48DF-AD30-9014359A6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7511592"/>
        <c:axId val="517512576"/>
      </c:lineChart>
      <c:catAx>
        <c:axId val="517511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A7A7A7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17512576"/>
        <c:crosses val="autoZero"/>
        <c:auto val="1"/>
        <c:lblAlgn val="ctr"/>
        <c:lblOffset val="100"/>
        <c:noMultiLvlLbl val="0"/>
      </c:catAx>
      <c:valAx>
        <c:axId val="517512576"/>
        <c:scaling>
          <c:orientation val="minMax"/>
          <c:max val="25000"/>
          <c:min val="11000"/>
        </c:scaling>
        <c:delete val="1"/>
        <c:axPos val="l"/>
        <c:numFmt formatCode="General" sourceLinked="1"/>
        <c:majorTickMark val="out"/>
        <c:minorTickMark val="none"/>
        <c:tickLblPos val="nextTo"/>
        <c:crossAx val="517511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178738707124678"/>
          <c:y val="1.291847829684444E-2"/>
          <c:w val="0.65218718412512644"/>
          <c:h val="0.126604628966833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3A-43DF-A87F-71A306C36F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3A-43DF-A87F-71A306C36F6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A-43DF-A87F-71A306C36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6023087"/>
        <c:axId val="1"/>
      </c:barChart>
      <c:catAx>
        <c:axId val="506023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69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4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4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023087"/>
        <c:crosses val="autoZero"/>
        <c:crossBetween val="between"/>
      </c:valAx>
      <c:spPr>
        <a:noFill/>
        <a:ln w="25339">
          <a:noFill/>
        </a:ln>
        <a:effectLst/>
      </c:spPr>
    </c:plotArea>
    <c:legend>
      <c:legendPos val="b"/>
      <c:layout>
        <c:manualLayout>
          <c:xMode val="edge"/>
          <c:yMode val="edge"/>
          <c:x val="0.18394736842105261"/>
          <c:y val="0.92481442749343834"/>
          <c:w val="0.75115295620942113"/>
          <c:h val="6.979761318897637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012-4C4A-8E6E-160E0C59655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012-4C4A-8E6E-160E0C59655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012-4C4A-8E6E-160E0C596559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012-4C4A-8E6E-160E0C59655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012-4C4A-8E6E-160E0C59655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012-4C4A-8E6E-160E0C596559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012-4C4A-8E6E-160E0C59655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012-4C4A-8E6E-160E0C596559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2012-4C4A-8E6E-160E0C596559}"/>
              </c:ext>
            </c:extLst>
          </c:dPt>
          <c:dLbls>
            <c:delete val="1"/>
          </c:dLbls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</c:v>
                </c:pt>
                <c:pt idx="1">
                  <c:v>30</c:v>
                </c:pt>
                <c:pt idx="2">
                  <c:v>55</c:v>
                </c:pt>
                <c:pt idx="3">
                  <c:v>40</c:v>
                </c:pt>
                <c:pt idx="4">
                  <c:v>70</c:v>
                </c:pt>
                <c:pt idx="5">
                  <c:v>2</c:v>
                </c:pt>
                <c:pt idx="6">
                  <c:v>25</c:v>
                </c:pt>
                <c:pt idx="7">
                  <c:v>80</c:v>
                </c:pt>
                <c:pt idx="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2012-4C4A-8E6E-160E0C59655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100"/>
        <c:axId val="716886672"/>
        <c:axId val="716894216"/>
      </c:barChart>
      <c:catAx>
        <c:axId val="7168866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j-lt"/>
                <a:ea typeface="Neue Haas Unica"/>
                <a:cs typeface="Neue Haas Unica"/>
              </a:defRPr>
            </a:pPr>
            <a:endParaRPr lang="en-US"/>
          </a:p>
        </c:txPr>
        <c:crossAx val="716894216"/>
        <c:crosses val="autoZero"/>
        <c:auto val="1"/>
        <c:lblAlgn val="ctr"/>
        <c:lblOffset val="100"/>
        <c:noMultiLvlLbl val="0"/>
      </c:catAx>
      <c:valAx>
        <c:axId val="716894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j-lt"/>
                <a:ea typeface="Neue Haas Unica"/>
                <a:cs typeface="Neue Haas Unica"/>
              </a:defRPr>
            </a:pPr>
            <a:endParaRPr lang="en-US"/>
          </a:p>
        </c:txPr>
        <c:crossAx val="71688667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C00-4913-8160-191A5CCDC7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C00-4913-8160-191A5CCDC7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C00-4913-8160-191A5CCDC7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C00-4913-8160-191A5CCDC7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C00-4913-8160-191A5CCDC7B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C00-4913-8160-191A5CCDC7B2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C00-4913-8160-191A5CCDC7B2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C00-4913-8160-191A5CCDC7B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C00-4913-8160-191A5CCDC7B2}"/>
              </c:ext>
            </c:extLst>
          </c:dPt>
          <c:dLbls>
            <c:delete val="1"/>
          </c:dLbls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</c:v>
                </c:pt>
                <c:pt idx="1">
                  <c:v>30</c:v>
                </c:pt>
                <c:pt idx="2">
                  <c:v>55</c:v>
                </c:pt>
                <c:pt idx="3">
                  <c:v>40</c:v>
                </c:pt>
                <c:pt idx="4">
                  <c:v>70</c:v>
                </c:pt>
                <c:pt idx="5">
                  <c:v>2</c:v>
                </c:pt>
                <c:pt idx="6">
                  <c:v>25</c:v>
                </c:pt>
                <c:pt idx="7">
                  <c:v>80</c:v>
                </c:pt>
                <c:pt idx="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AC00-4913-8160-191A5CCDC7B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100"/>
        <c:axId val="716886672"/>
        <c:axId val="716894216"/>
      </c:barChart>
      <c:catAx>
        <c:axId val="7168866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j-lt"/>
                <a:ea typeface="Neue Haas Unica"/>
                <a:cs typeface="Neue Haas Unica"/>
              </a:defRPr>
            </a:pPr>
            <a:endParaRPr lang="en-US"/>
          </a:p>
        </c:txPr>
        <c:crossAx val="716894216"/>
        <c:crosses val="autoZero"/>
        <c:auto val="1"/>
        <c:lblAlgn val="ctr"/>
        <c:lblOffset val="100"/>
        <c:noMultiLvlLbl val="0"/>
      </c:catAx>
      <c:valAx>
        <c:axId val="716894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j-lt"/>
                <a:ea typeface="Neue Haas Unica"/>
                <a:cs typeface="Neue Haas Unica"/>
              </a:defRPr>
            </a:pPr>
            <a:endParaRPr lang="en-US"/>
          </a:p>
        </c:txPr>
        <c:crossAx val="71688667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6E5-4756-93F8-511C98615ED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6E5-4756-93F8-511C98615ED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6E5-4756-93F8-511C98615ED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6E5-4756-93F8-511C98615ED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6E5-4756-93F8-511C98615ED7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6E5-4756-93F8-511C98615ED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96E5-4756-93F8-511C98615ED7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96E5-4756-93F8-511C98615ED7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96E5-4756-93F8-511C98615ED7}"/>
              </c:ext>
            </c:extLst>
          </c:dPt>
          <c:dLbls>
            <c:delete val="1"/>
          </c:dLbls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</c:v>
                </c:pt>
                <c:pt idx="1">
                  <c:v>30</c:v>
                </c:pt>
                <c:pt idx="2">
                  <c:v>55</c:v>
                </c:pt>
                <c:pt idx="3">
                  <c:v>40</c:v>
                </c:pt>
                <c:pt idx="4">
                  <c:v>70</c:v>
                </c:pt>
                <c:pt idx="5">
                  <c:v>2</c:v>
                </c:pt>
                <c:pt idx="6">
                  <c:v>25</c:v>
                </c:pt>
                <c:pt idx="7">
                  <c:v>80</c:v>
                </c:pt>
                <c:pt idx="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96E5-4756-93F8-511C98615ED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100"/>
        <c:axId val="716886672"/>
        <c:axId val="716894216"/>
      </c:barChart>
      <c:catAx>
        <c:axId val="7168866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j-lt"/>
                <a:ea typeface="Neue Haas Unica"/>
                <a:cs typeface="Neue Haas Unica"/>
              </a:defRPr>
            </a:pPr>
            <a:endParaRPr lang="en-US"/>
          </a:p>
        </c:txPr>
        <c:crossAx val="716894216"/>
        <c:crosses val="autoZero"/>
        <c:auto val="1"/>
        <c:lblAlgn val="ctr"/>
        <c:lblOffset val="100"/>
        <c:noMultiLvlLbl val="0"/>
      </c:catAx>
      <c:valAx>
        <c:axId val="716894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j-lt"/>
                <a:ea typeface="Neue Haas Unica"/>
                <a:cs typeface="Neue Haas Unica"/>
              </a:defRPr>
            </a:pPr>
            <a:endParaRPr lang="en-US"/>
          </a:p>
        </c:txPr>
        <c:crossAx val="71688667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D8E-435A-AA6C-1856A0B81F2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D8E-435A-AA6C-1856A0B81F2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D8E-435A-AA6C-1856A0B81F2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D8E-435A-AA6C-1856A0B81F2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D8E-435A-AA6C-1856A0B81F2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D8E-435A-AA6C-1856A0B81F21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D8E-435A-AA6C-1856A0B81F21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D8E-435A-AA6C-1856A0B81F2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D8E-435A-AA6C-1856A0B81F21}"/>
              </c:ext>
            </c:extLst>
          </c:dPt>
          <c:dLbls>
            <c:delete val="1"/>
          </c:dLbls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</c:v>
                </c:pt>
                <c:pt idx="1">
                  <c:v>30</c:v>
                </c:pt>
                <c:pt idx="2">
                  <c:v>55</c:v>
                </c:pt>
                <c:pt idx="3">
                  <c:v>40</c:v>
                </c:pt>
                <c:pt idx="4">
                  <c:v>70</c:v>
                </c:pt>
                <c:pt idx="5">
                  <c:v>2</c:v>
                </c:pt>
                <c:pt idx="6">
                  <c:v>25</c:v>
                </c:pt>
                <c:pt idx="7">
                  <c:v>80</c:v>
                </c:pt>
                <c:pt idx="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D8E-435A-AA6C-1856A0B81F2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100"/>
        <c:axId val="716886672"/>
        <c:axId val="716894216"/>
      </c:barChart>
      <c:catAx>
        <c:axId val="7168866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j-lt"/>
                <a:ea typeface="Neue Haas Unica"/>
                <a:cs typeface="Neue Haas Unica"/>
              </a:defRPr>
            </a:pPr>
            <a:endParaRPr lang="en-US"/>
          </a:p>
        </c:txPr>
        <c:crossAx val="716894216"/>
        <c:crosses val="autoZero"/>
        <c:auto val="1"/>
        <c:lblAlgn val="ctr"/>
        <c:lblOffset val="100"/>
        <c:noMultiLvlLbl val="0"/>
      </c:catAx>
      <c:valAx>
        <c:axId val="716894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j-lt"/>
                <a:ea typeface="Neue Haas Unica"/>
                <a:cs typeface="Neue Haas Unica"/>
              </a:defRPr>
            </a:pPr>
            <a:endParaRPr lang="en-US"/>
          </a:p>
        </c:txPr>
        <c:crossAx val="71688667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B0-4A72-8419-B5D68B67170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B0-4A72-8419-B5D68B67170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1B0-4A72-8419-B5D68B67170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1B0-4A72-8419-B5D68B67170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1B0-4A72-8419-B5D68B67170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1B0-4A72-8419-B5D68B671700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Logo</c:v>
                </c:pt>
                <c:pt idx="1">
                  <c:v>Logo</c:v>
                </c:pt>
                <c:pt idx="2">
                  <c:v>Logo</c:v>
                </c:pt>
                <c:pt idx="3">
                  <c:v>Logo</c:v>
                </c:pt>
                <c:pt idx="4">
                  <c:v>Logo</c:v>
                </c:pt>
                <c:pt idx="5">
                  <c:v>Logo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24</c:v>
                </c:pt>
                <c:pt idx="1">
                  <c:v>0.51</c:v>
                </c:pt>
                <c:pt idx="2">
                  <c:v>0.78</c:v>
                </c:pt>
                <c:pt idx="3">
                  <c:v>0.8</c:v>
                </c:pt>
                <c:pt idx="4">
                  <c:v>0.83</c:v>
                </c:pt>
                <c:pt idx="5">
                  <c:v>0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1B0-4A72-8419-B5D68B67170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100"/>
        <c:axId val="744375864"/>
        <c:axId val="744376520"/>
      </c:barChart>
      <c:catAx>
        <c:axId val="744375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44376520"/>
        <c:crosses val="autoZero"/>
        <c:auto val="1"/>
        <c:lblAlgn val="ctr"/>
        <c:lblOffset val="100"/>
        <c:noMultiLvlLbl val="0"/>
      </c:catAx>
      <c:valAx>
        <c:axId val="744376520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44375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lang="en-US" sz="1600" b="0" i="0" u="none" strike="noStrike" kern="1200" baseline="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5968596173074704E-2"/>
          <c:w val="1"/>
          <c:h val="0.970565615308043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0A7-49E5-A6F4-56DB23F52B2A}"/>
              </c:ext>
            </c:extLst>
          </c:dPt>
          <c:dPt>
            <c:idx val="1"/>
            <c:bubble3D val="0"/>
            <c:explosion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0A7-49E5-A6F4-56DB23F52B2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0A7-49E5-A6F4-56DB23F52B2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0A7-49E5-A6F4-56DB23F52B2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0A7-49E5-A6F4-56DB23F52B2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3300000000000002</c:v>
                </c:pt>
                <c:pt idx="1">
                  <c:v>0.33300000000000002</c:v>
                </c:pt>
                <c:pt idx="2">
                  <c:v>0.33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0A7-49E5-A6F4-56DB23F52B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baseline="0"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4C-48E7-B893-A33A2872F23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4C-48E7-B893-A33A2872F23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4C-48E7-B893-A33A2872F2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8"/>
        <c:axId val="1019445808"/>
        <c:axId val="509701792"/>
      </c:barChart>
      <c:catAx>
        <c:axId val="1019445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A7A7A7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09701792"/>
        <c:crosses val="autoZero"/>
        <c:auto val="1"/>
        <c:lblAlgn val="ctr"/>
        <c:lblOffset val="100"/>
        <c:noMultiLvlLbl val="0"/>
      </c:catAx>
      <c:valAx>
        <c:axId val="5097017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>
            <a:solidFill>
              <a:srgbClr val="A7A7A7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019445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9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1BD1-4D20-9EA5-5CAC5768AEE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9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1BD1-4D20-9EA5-5CAC5768AEE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1BD1-4D20-9EA5-5CAC5768AEE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9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1BD1-4D20-9EA5-5CAC5768AE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304799"/>
        <c:axId val="1"/>
      </c:barChart>
      <c:catAx>
        <c:axId val="413047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80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3047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28123010909674"/>
          <c:y val="0.92539391498088719"/>
          <c:w val="0.25047844994502877"/>
          <c:h val="5.70046415695424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886125636338198"/>
          <c:y val="0.11269655343768857"/>
          <c:w val="0.80744110172032335"/>
          <c:h val="0.7746068931246228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19516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1F5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1BB-442F-923A-F2187BB696A3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BB-442F-923A-F2187BB696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1BB-442F-923A-F2187BB696A3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BB-442F-923A-F2187BB696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8040464"/>
        <c:axId val="509907296"/>
      </c:barChart>
      <c:catAx>
        <c:axId val="928040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A7A7A7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09907296"/>
        <c:crosses val="autoZero"/>
        <c:auto val="1"/>
        <c:lblAlgn val="ctr"/>
        <c:lblOffset val="100"/>
        <c:noMultiLvlLbl val="0"/>
      </c:catAx>
      <c:valAx>
        <c:axId val="5099072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28040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6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4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886125636338198"/>
          <c:y val="0.11269655343768857"/>
          <c:w val="0.80744110172032335"/>
          <c:h val="0.7746068931246228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1F5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A70-40FE-9535-4EE35A0046A0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70-40FE-9535-4EE35A0046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A70-40FE-9535-4EE35A0046A0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A70-40FE-9535-4EE35A004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8040464"/>
        <c:axId val="509907296"/>
      </c:barChart>
      <c:catAx>
        <c:axId val="928040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A7A7A7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09907296"/>
        <c:crosses val="autoZero"/>
        <c:auto val="1"/>
        <c:lblAlgn val="ctr"/>
        <c:lblOffset val="100"/>
        <c:noMultiLvlLbl val="0"/>
      </c:catAx>
      <c:valAx>
        <c:axId val="5099072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28040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6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4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AF-45DC-9C02-DD880C6F498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AF-45DC-9C02-DD880C6F498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AF-45DC-9C02-DD880C6F498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FAF-45DC-9C02-DD880C6F498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FAF-45DC-9C02-DD880C6F498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FFAF-45DC-9C02-DD880C6F498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FFAF-45DC-9C02-DD880C6F498E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FFAF-45DC-9C02-DD880C6F498E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FFAF-45DC-9C02-DD880C6F498E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FFAF-45DC-9C02-DD880C6F498E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FFAF-45DC-9C02-DD880C6F498E}"/>
              </c:ext>
            </c:extLst>
          </c:dPt>
          <c:cat>
            <c:strRef>
              <c:f>Sheet1!$A$2:$A$12</c:f>
              <c:strCache>
                <c:ptCount val="3"/>
                <c:pt idx="0">
                  <c:v>xxx</c:v>
                </c:pt>
                <c:pt idx="1">
                  <c:v>xxx</c:v>
                </c:pt>
                <c:pt idx="2">
                  <c:v>xxx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FAF-45DC-9C02-DD880C6F49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0"/>
        <c:delete val="1"/>
      </c:legendEntry>
      <c:layout>
        <c:manualLayout>
          <c:xMode val="edge"/>
          <c:yMode val="edge"/>
          <c:x val="0.73746200583472044"/>
          <c:y val="0.33858780104552516"/>
          <c:w val="0.11655359242990973"/>
          <c:h val="0.330631559016457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589648611278801E-2"/>
          <c:y val="0.12248936820876066"/>
          <c:w val="0.97282070277744237"/>
          <c:h val="0.659272110926156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 w="9525" cap="flat">
              <a:noFill/>
              <a:round/>
            </a:ln>
            <a:effectLst/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9525" cap="flat">
                <a:noFill/>
                <a:round/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FA5F-4DDF-8C60-7031428163D3}"/>
              </c:ext>
            </c:extLst>
          </c:dPt>
          <c:dLbls>
            <c:dLbl>
              <c:idx val="0"/>
              <c:layout>
                <c:manualLayout>
                  <c:x val="1.4758858267716536E-2"/>
                  <c:y val="3.129027353630595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889763779527558"/>
                      <c:h val="8.942838288504519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A5F-4DDF-8C60-7031428163D3}"/>
                </c:ext>
              </c:extLst>
            </c:dLbl>
            <c:dLbl>
              <c:idx val="1"/>
              <c:layout>
                <c:manualLayout>
                  <c:x val="0"/>
                  <c:y val="3.44951728981031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438022566766783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FA5F-4DDF-8C60-7031428163D3}"/>
                </c:ext>
              </c:extLst>
            </c:dLbl>
            <c:dLbl>
              <c:idx val="2"/>
              <c:layout>
                <c:manualLayout>
                  <c:x val="4.4585461323093184E-8"/>
                  <c:y val="1.47899459903373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A5F-4DDF-8C60-7031428163D3}"/>
                </c:ext>
              </c:extLst>
            </c:dLbl>
            <c:dLbl>
              <c:idx val="3"/>
              <c:layout>
                <c:manualLayout>
                  <c:x val="4.4585461364616631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FA5F-4DDF-8C60-7031428163D3}"/>
                </c:ext>
              </c:extLst>
            </c:dLbl>
            <c:dLbl>
              <c:idx val="4"/>
              <c:layout>
                <c:manualLayout>
                  <c:x val="4.4585461240046288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FA5F-4DDF-8C60-7031428163D3}"/>
                </c:ext>
              </c:extLst>
            </c:dLbl>
            <c:dLbl>
              <c:idx val="5"/>
              <c:layout>
                <c:manualLayout>
                  <c:x val="4.4585461323093184E-8"/>
                  <c:y val="1.47899459903375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FA5F-4DDF-8C60-7031428163D3}"/>
                </c:ext>
              </c:extLst>
            </c:dLbl>
            <c:dLbl>
              <c:idx val="6"/>
              <c:layout>
                <c:manualLayout>
                  <c:x val="4.4585461240046288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FA5F-4DDF-8C60-7031428163D3}"/>
                </c:ext>
              </c:extLst>
            </c:dLbl>
            <c:dLbl>
              <c:idx val="7"/>
              <c:layout>
                <c:manualLayout>
                  <c:x val="4.4585461406140072E-8"/>
                  <c:y val="1.18319800833400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FA5F-4DDF-8C60-7031428163D3}"/>
                </c:ext>
              </c:extLst>
            </c:dLbl>
            <c:dLbl>
              <c:idx val="8"/>
              <c:layout>
                <c:manualLayout>
                  <c:x val="4.4585461323093184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FA5F-4DDF-8C60-7031428163D3}"/>
                </c:ext>
              </c:extLst>
            </c:dLbl>
            <c:dLbl>
              <c:idx val="9"/>
              <c:layout>
                <c:manualLayout>
                  <c:x val="4.4585461156999393E-8"/>
                  <c:y val="1.774791189733482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FA5F-4DDF-8C60-7031428163D3}"/>
                </c:ext>
              </c:extLst>
            </c:dLbl>
            <c:spPr>
              <a:solidFill>
                <a:schemeClr val="accent4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A5F-4DDF-8C60-7031428163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axId val="1761988752"/>
        <c:axId val="1467764528"/>
      </c:barChart>
      <c:catAx>
        <c:axId val="176198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467764528"/>
        <c:crosses val="autoZero"/>
        <c:auto val="1"/>
        <c:lblAlgn val="ctr"/>
        <c:lblOffset val="900"/>
        <c:noMultiLvlLbl val="0"/>
      </c:catAx>
      <c:valAx>
        <c:axId val="1467764528"/>
        <c:scaling>
          <c:orientation val="minMax"/>
          <c:max val="12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61988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589648611278801E-2"/>
          <c:y val="0.12248936820876066"/>
          <c:w val="0.97282070277744237"/>
          <c:h val="0.659272110926156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 w="9525" cap="flat">
              <a:noFill/>
              <a:round/>
            </a:ln>
            <a:effectLst/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9525" cap="flat">
                <a:noFill/>
                <a:round/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DAD2-4621-AE6A-A7D381F7A607}"/>
              </c:ext>
            </c:extLst>
          </c:dPt>
          <c:dLbls>
            <c:dLbl>
              <c:idx val="0"/>
              <c:layout>
                <c:manualLayout>
                  <c:x val="1.4758858267716536E-2"/>
                  <c:y val="3.129027353630595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889763779527558"/>
                      <c:h val="8.942838288504519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AD2-4621-AE6A-A7D381F7A607}"/>
                </c:ext>
              </c:extLst>
            </c:dLbl>
            <c:dLbl>
              <c:idx val="1"/>
              <c:layout>
                <c:manualLayout>
                  <c:x val="0"/>
                  <c:y val="3.44951728981031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438022566766783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DAD2-4621-AE6A-A7D381F7A607}"/>
                </c:ext>
              </c:extLst>
            </c:dLbl>
            <c:dLbl>
              <c:idx val="2"/>
              <c:layout>
                <c:manualLayout>
                  <c:x val="4.4585461323093184E-8"/>
                  <c:y val="1.47899459903373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AD2-4621-AE6A-A7D381F7A607}"/>
                </c:ext>
              </c:extLst>
            </c:dLbl>
            <c:dLbl>
              <c:idx val="3"/>
              <c:layout>
                <c:manualLayout>
                  <c:x val="4.4585461364616631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DAD2-4621-AE6A-A7D381F7A607}"/>
                </c:ext>
              </c:extLst>
            </c:dLbl>
            <c:dLbl>
              <c:idx val="4"/>
              <c:layout>
                <c:manualLayout>
                  <c:x val="4.4585461240046288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AD2-4621-AE6A-A7D381F7A607}"/>
                </c:ext>
              </c:extLst>
            </c:dLbl>
            <c:dLbl>
              <c:idx val="5"/>
              <c:layout>
                <c:manualLayout>
                  <c:x val="4.4585461323093184E-8"/>
                  <c:y val="1.47899459903375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DAD2-4621-AE6A-A7D381F7A607}"/>
                </c:ext>
              </c:extLst>
            </c:dLbl>
            <c:dLbl>
              <c:idx val="6"/>
              <c:layout>
                <c:manualLayout>
                  <c:x val="4.4585461240046288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DAD2-4621-AE6A-A7D381F7A607}"/>
                </c:ext>
              </c:extLst>
            </c:dLbl>
            <c:dLbl>
              <c:idx val="7"/>
              <c:layout>
                <c:manualLayout>
                  <c:x val="4.4585461406140072E-8"/>
                  <c:y val="1.18319800833400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DAD2-4621-AE6A-A7D381F7A607}"/>
                </c:ext>
              </c:extLst>
            </c:dLbl>
            <c:dLbl>
              <c:idx val="8"/>
              <c:layout>
                <c:manualLayout>
                  <c:x val="4.4585461323093184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DAD2-4621-AE6A-A7D381F7A607}"/>
                </c:ext>
              </c:extLst>
            </c:dLbl>
            <c:dLbl>
              <c:idx val="9"/>
              <c:layout>
                <c:manualLayout>
                  <c:x val="4.4585461156999393E-8"/>
                  <c:y val="1.774791189733482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DAD2-4621-AE6A-A7D381F7A607}"/>
                </c:ext>
              </c:extLst>
            </c:dLbl>
            <c:spPr>
              <a:solidFill>
                <a:schemeClr val="accent4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20</c:v>
                </c:pt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AD2-4621-AE6A-A7D381F7A6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axId val="1761988752"/>
        <c:axId val="1467764528"/>
      </c:barChart>
      <c:catAx>
        <c:axId val="176198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467764528"/>
        <c:crosses val="autoZero"/>
        <c:auto val="1"/>
        <c:lblAlgn val="ctr"/>
        <c:lblOffset val="900"/>
        <c:noMultiLvlLbl val="0"/>
      </c:catAx>
      <c:valAx>
        <c:axId val="1467764528"/>
        <c:scaling>
          <c:orientation val="minMax"/>
          <c:max val="12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61988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589648611278801E-2"/>
          <c:y val="0.12248936820876066"/>
          <c:w val="0.97282070277744237"/>
          <c:h val="0.659272110926156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 w="9525" cap="flat">
              <a:noFill/>
              <a:round/>
            </a:ln>
            <a:effectLst/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9525" cap="flat">
                <a:noFill/>
                <a:round/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EB6A-4934-9A3B-7FBDB4E4B7A3}"/>
              </c:ext>
            </c:extLst>
          </c:dPt>
          <c:dLbls>
            <c:dLbl>
              <c:idx val="0"/>
              <c:layout>
                <c:manualLayout>
                  <c:x val="1.4758858267716536E-2"/>
                  <c:y val="3.129027353630595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889763779527558"/>
                      <c:h val="8.942838288504519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B6A-4934-9A3B-7FBDB4E4B7A3}"/>
                </c:ext>
              </c:extLst>
            </c:dLbl>
            <c:dLbl>
              <c:idx val="1"/>
              <c:layout>
                <c:manualLayout>
                  <c:x val="0"/>
                  <c:y val="3.44951728981031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438022566766783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EB6A-4934-9A3B-7FBDB4E4B7A3}"/>
                </c:ext>
              </c:extLst>
            </c:dLbl>
            <c:dLbl>
              <c:idx val="2"/>
              <c:layout>
                <c:manualLayout>
                  <c:x val="4.4585461323093184E-8"/>
                  <c:y val="1.47899459903373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B6A-4934-9A3B-7FBDB4E4B7A3}"/>
                </c:ext>
              </c:extLst>
            </c:dLbl>
            <c:dLbl>
              <c:idx val="3"/>
              <c:layout>
                <c:manualLayout>
                  <c:x val="4.4585461364616631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EB6A-4934-9A3B-7FBDB4E4B7A3}"/>
                </c:ext>
              </c:extLst>
            </c:dLbl>
            <c:dLbl>
              <c:idx val="4"/>
              <c:layout>
                <c:manualLayout>
                  <c:x val="4.4585461240046288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EB6A-4934-9A3B-7FBDB4E4B7A3}"/>
                </c:ext>
              </c:extLst>
            </c:dLbl>
            <c:dLbl>
              <c:idx val="5"/>
              <c:layout>
                <c:manualLayout>
                  <c:x val="4.4585461323093184E-8"/>
                  <c:y val="1.47899459903375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EB6A-4934-9A3B-7FBDB4E4B7A3}"/>
                </c:ext>
              </c:extLst>
            </c:dLbl>
            <c:dLbl>
              <c:idx val="6"/>
              <c:layout>
                <c:manualLayout>
                  <c:x val="4.4585461240046288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EB6A-4934-9A3B-7FBDB4E4B7A3}"/>
                </c:ext>
              </c:extLst>
            </c:dLbl>
            <c:dLbl>
              <c:idx val="7"/>
              <c:layout>
                <c:manualLayout>
                  <c:x val="4.4585461406140072E-8"/>
                  <c:y val="1.18319800833400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EB6A-4934-9A3B-7FBDB4E4B7A3}"/>
                </c:ext>
              </c:extLst>
            </c:dLbl>
            <c:dLbl>
              <c:idx val="8"/>
              <c:layout>
                <c:manualLayout>
                  <c:x val="4.4585461323093184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EB6A-4934-9A3B-7FBDB4E4B7A3}"/>
                </c:ext>
              </c:extLst>
            </c:dLbl>
            <c:dLbl>
              <c:idx val="9"/>
              <c:layout>
                <c:manualLayout>
                  <c:x val="4.4585461156999393E-8"/>
                  <c:y val="1.774791189733482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EB6A-4934-9A3B-7FBDB4E4B7A3}"/>
                </c:ext>
              </c:extLst>
            </c:dLbl>
            <c:spPr>
              <a:solidFill>
                <a:schemeClr val="accent4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14</c:v>
                </c:pt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B6A-4934-9A3B-7FBDB4E4B7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axId val="1761988752"/>
        <c:axId val="1467764528"/>
      </c:barChart>
      <c:catAx>
        <c:axId val="176198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467764528"/>
        <c:crosses val="autoZero"/>
        <c:auto val="1"/>
        <c:lblAlgn val="ctr"/>
        <c:lblOffset val="900"/>
        <c:noMultiLvlLbl val="0"/>
      </c:catAx>
      <c:valAx>
        <c:axId val="1467764528"/>
        <c:scaling>
          <c:orientation val="minMax"/>
          <c:max val="12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61988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589648611278801E-2"/>
          <c:y val="0.12248936820876066"/>
          <c:w val="0.97282070277744237"/>
          <c:h val="0.659272110926156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 w="9525" cap="flat">
              <a:noFill/>
              <a:round/>
            </a:ln>
            <a:effectLst/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9525" cap="flat">
                <a:noFill/>
                <a:round/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069B-45A7-9A43-DABC15287ECC}"/>
              </c:ext>
            </c:extLst>
          </c:dPt>
          <c:dLbls>
            <c:dLbl>
              <c:idx val="0"/>
              <c:layout>
                <c:manualLayout>
                  <c:x val="1.4758858267716536E-2"/>
                  <c:y val="3.1290273536305958E-2"/>
                </c:manualLayout>
              </c:layout>
              <c:spPr>
                <a:solidFill>
                  <a:schemeClr val="accent4"/>
                </a:solidFill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ellipse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1889763779527558"/>
                      <c:h val="8.942838288504519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69B-45A7-9A43-DABC15287ECC}"/>
                </c:ext>
              </c:extLst>
            </c:dLbl>
            <c:dLbl>
              <c:idx val="1"/>
              <c:layout>
                <c:manualLayout>
                  <c:x val="0"/>
                  <c:y val="3.44951728981031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438022566766783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69B-45A7-9A43-DABC15287ECC}"/>
                </c:ext>
              </c:extLst>
            </c:dLbl>
            <c:dLbl>
              <c:idx val="2"/>
              <c:layout>
                <c:manualLayout>
                  <c:x val="4.4585461323093184E-8"/>
                  <c:y val="1.47899459903373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69B-45A7-9A43-DABC15287ECC}"/>
                </c:ext>
              </c:extLst>
            </c:dLbl>
            <c:dLbl>
              <c:idx val="3"/>
              <c:layout>
                <c:manualLayout>
                  <c:x val="4.4585461364616631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69B-45A7-9A43-DABC15287ECC}"/>
                </c:ext>
              </c:extLst>
            </c:dLbl>
            <c:dLbl>
              <c:idx val="4"/>
              <c:layout>
                <c:manualLayout>
                  <c:x val="4.4585461240046288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69B-45A7-9A43-DABC15287ECC}"/>
                </c:ext>
              </c:extLst>
            </c:dLbl>
            <c:dLbl>
              <c:idx val="5"/>
              <c:layout>
                <c:manualLayout>
                  <c:x val="4.4585461323093184E-8"/>
                  <c:y val="1.47899459903375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69B-45A7-9A43-DABC15287ECC}"/>
                </c:ext>
              </c:extLst>
            </c:dLbl>
            <c:dLbl>
              <c:idx val="6"/>
              <c:layout>
                <c:manualLayout>
                  <c:x val="4.4585461240046288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69B-45A7-9A43-DABC15287ECC}"/>
                </c:ext>
              </c:extLst>
            </c:dLbl>
            <c:dLbl>
              <c:idx val="7"/>
              <c:layout>
                <c:manualLayout>
                  <c:x val="4.4585461406140072E-8"/>
                  <c:y val="1.18319800833400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069B-45A7-9A43-DABC15287ECC}"/>
                </c:ext>
              </c:extLst>
            </c:dLbl>
            <c:dLbl>
              <c:idx val="8"/>
              <c:layout>
                <c:manualLayout>
                  <c:x val="4.4585461323093184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69B-45A7-9A43-DABC15287ECC}"/>
                </c:ext>
              </c:extLst>
            </c:dLbl>
            <c:dLbl>
              <c:idx val="9"/>
              <c:layout>
                <c:manualLayout>
                  <c:x val="4.4585461156999393E-8"/>
                  <c:y val="1.774791189733482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069B-45A7-9A43-DABC15287ECC}"/>
                </c:ext>
              </c:extLst>
            </c:dLbl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15</c:v>
                </c:pt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69B-45A7-9A43-DABC15287E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axId val="1761988752"/>
        <c:axId val="1467764528"/>
      </c:barChart>
      <c:catAx>
        <c:axId val="176198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467764528"/>
        <c:crosses val="autoZero"/>
        <c:auto val="1"/>
        <c:lblAlgn val="ctr"/>
        <c:lblOffset val="900"/>
        <c:noMultiLvlLbl val="0"/>
      </c:catAx>
      <c:valAx>
        <c:axId val="1467764528"/>
        <c:scaling>
          <c:orientation val="minMax"/>
          <c:max val="12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61988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589648611278801E-2"/>
          <c:y val="0.12248936820876066"/>
          <c:w val="0.97282070277744237"/>
          <c:h val="0.659272110926156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 w="9525" cap="flat">
              <a:noFill/>
              <a:round/>
            </a:ln>
            <a:effectLst/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9525" cap="flat">
                <a:noFill/>
                <a:round/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6DC4-4295-AB37-166BADE25941}"/>
              </c:ext>
            </c:extLst>
          </c:dPt>
          <c:dLbls>
            <c:dLbl>
              <c:idx val="0"/>
              <c:layout>
                <c:manualLayout>
                  <c:x val="1.4758858267716536E-2"/>
                  <c:y val="3.129027353630595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889763779527558"/>
                      <c:h val="8.942838288504519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DC4-4295-AB37-166BADE25941}"/>
                </c:ext>
              </c:extLst>
            </c:dLbl>
            <c:dLbl>
              <c:idx val="1"/>
              <c:layout>
                <c:manualLayout>
                  <c:x val="0"/>
                  <c:y val="3.44951728981031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438022566766783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6DC4-4295-AB37-166BADE25941}"/>
                </c:ext>
              </c:extLst>
            </c:dLbl>
            <c:dLbl>
              <c:idx val="2"/>
              <c:layout>
                <c:manualLayout>
                  <c:x val="4.4585461323093184E-8"/>
                  <c:y val="1.47899459903373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6DC4-4295-AB37-166BADE25941}"/>
                </c:ext>
              </c:extLst>
            </c:dLbl>
            <c:dLbl>
              <c:idx val="3"/>
              <c:layout>
                <c:manualLayout>
                  <c:x val="4.4585461364616631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6DC4-4295-AB37-166BADE25941}"/>
                </c:ext>
              </c:extLst>
            </c:dLbl>
            <c:dLbl>
              <c:idx val="4"/>
              <c:layout>
                <c:manualLayout>
                  <c:x val="4.4585461240046288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6DC4-4295-AB37-166BADE25941}"/>
                </c:ext>
              </c:extLst>
            </c:dLbl>
            <c:dLbl>
              <c:idx val="5"/>
              <c:layout>
                <c:manualLayout>
                  <c:x val="4.4585461323093184E-8"/>
                  <c:y val="1.47899459903375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6DC4-4295-AB37-166BADE25941}"/>
                </c:ext>
              </c:extLst>
            </c:dLbl>
            <c:dLbl>
              <c:idx val="6"/>
              <c:layout>
                <c:manualLayout>
                  <c:x val="4.4585461240046288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6DC4-4295-AB37-166BADE25941}"/>
                </c:ext>
              </c:extLst>
            </c:dLbl>
            <c:dLbl>
              <c:idx val="7"/>
              <c:layout>
                <c:manualLayout>
                  <c:x val="4.4585461406140072E-8"/>
                  <c:y val="1.18319800833400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6DC4-4295-AB37-166BADE25941}"/>
                </c:ext>
              </c:extLst>
            </c:dLbl>
            <c:dLbl>
              <c:idx val="8"/>
              <c:layout>
                <c:manualLayout>
                  <c:x val="4.4585461323093184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6DC4-4295-AB37-166BADE25941}"/>
                </c:ext>
              </c:extLst>
            </c:dLbl>
            <c:dLbl>
              <c:idx val="9"/>
              <c:layout>
                <c:manualLayout>
                  <c:x val="4.4585461156999393E-8"/>
                  <c:y val="1.774791189733482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6DC4-4295-AB37-166BADE25941}"/>
                </c:ext>
              </c:extLst>
            </c:dLbl>
            <c:spPr>
              <a:solidFill>
                <a:schemeClr val="accent4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16</c:v>
                </c:pt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DC4-4295-AB37-166BADE259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axId val="1761988752"/>
        <c:axId val="1467764528"/>
      </c:barChart>
      <c:catAx>
        <c:axId val="176198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467764528"/>
        <c:crosses val="autoZero"/>
        <c:auto val="1"/>
        <c:lblAlgn val="ctr"/>
        <c:lblOffset val="900"/>
        <c:noMultiLvlLbl val="0"/>
      </c:catAx>
      <c:valAx>
        <c:axId val="1467764528"/>
        <c:scaling>
          <c:orientation val="minMax"/>
          <c:max val="12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61988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589648611278801E-2"/>
          <c:y val="0.12248936820876066"/>
          <c:w val="0.97282070277744237"/>
          <c:h val="0.659272110926156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 w="9525" cap="flat">
              <a:noFill/>
              <a:round/>
            </a:ln>
            <a:effectLst/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9525" cap="flat">
                <a:noFill/>
                <a:round/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691E-42B4-AEF6-93E8FF370F4D}"/>
              </c:ext>
            </c:extLst>
          </c:dPt>
          <c:dLbls>
            <c:dLbl>
              <c:idx val="0"/>
              <c:layout>
                <c:manualLayout>
                  <c:x val="1.4758858267716536E-2"/>
                  <c:y val="3.129027353630595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889763779527558"/>
                      <c:h val="8.942838288504519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91E-42B4-AEF6-93E8FF370F4D}"/>
                </c:ext>
              </c:extLst>
            </c:dLbl>
            <c:dLbl>
              <c:idx val="1"/>
              <c:layout>
                <c:manualLayout>
                  <c:x val="0"/>
                  <c:y val="3.44951728981031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438022566766783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691E-42B4-AEF6-93E8FF370F4D}"/>
                </c:ext>
              </c:extLst>
            </c:dLbl>
            <c:dLbl>
              <c:idx val="2"/>
              <c:layout>
                <c:manualLayout>
                  <c:x val="4.4585461323093184E-8"/>
                  <c:y val="1.47899459903373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691E-42B4-AEF6-93E8FF370F4D}"/>
                </c:ext>
              </c:extLst>
            </c:dLbl>
            <c:dLbl>
              <c:idx val="3"/>
              <c:layout>
                <c:manualLayout>
                  <c:x val="4.4585461364616631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691E-42B4-AEF6-93E8FF370F4D}"/>
                </c:ext>
              </c:extLst>
            </c:dLbl>
            <c:dLbl>
              <c:idx val="4"/>
              <c:layout>
                <c:manualLayout>
                  <c:x val="4.4585461240046288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691E-42B4-AEF6-93E8FF370F4D}"/>
                </c:ext>
              </c:extLst>
            </c:dLbl>
            <c:dLbl>
              <c:idx val="5"/>
              <c:layout>
                <c:manualLayout>
                  <c:x val="4.4585461323093184E-8"/>
                  <c:y val="1.47899459903375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691E-42B4-AEF6-93E8FF370F4D}"/>
                </c:ext>
              </c:extLst>
            </c:dLbl>
            <c:dLbl>
              <c:idx val="6"/>
              <c:layout>
                <c:manualLayout>
                  <c:x val="4.4585461240046288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691E-42B4-AEF6-93E8FF370F4D}"/>
                </c:ext>
              </c:extLst>
            </c:dLbl>
            <c:dLbl>
              <c:idx val="7"/>
              <c:layout>
                <c:manualLayout>
                  <c:x val="4.4585461406140072E-8"/>
                  <c:y val="1.18319800833400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691E-42B4-AEF6-93E8FF370F4D}"/>
                </c:ext>
              </c:extLst>
            </c:dLbl>
            <c:dLbl>
              <c:idx val="8"/>
              <c:layout>
                <c:manualLayout>
                  <c:x val="4.4585461323093184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691E-42B4-AEF6-93E8FF370F4D}"/>
                </c:ext>
              </c:extLst>
            </c:dLbl>
            <c:dLbl>
              <c:idx val="9"/>
              <c:layout>
                <c:manualLayout>
                  <c:x val="4.4585461156999393E-8"/>
                  <c:y val="1.774791189733482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691E-42B4-AEF6-93E8FF370F4D}"/>
                </c:ext>
              </c:extLst>
            </c:dLbl>
            <c:spPr>
              <a:solidFill>
                <a:schemeClr val="accent4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19</c:v>
                </c:pt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91E-42B4-AEF6-93E8FF370F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axId val="1761988752"/>
        <c:axId val="1467764528"/>
      </c:barChart>
      <c:catAx>
        <c:axId val="176198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467764528"/>
        <c:crosses val="autoZero"/>
        <c:auto val="1"/>
        <c:lblAlgn val="ctr"/>
        <c:lblOffset val="900"/>
        <c:noMultiLvlLbl val="0"/>
      </c:catAx>
      <c:valAx>
        <c:axId val="1467764528"/>
        <c:scaling>
          <c:orientation val="minMax"/>
          <c:max val="12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61988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589648611278801E-2"/>
          <c:y val="0.12248936820876066"/>
          <c:w val="0.97282070277744237"/>
          <c:h val="0.659272110926156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 w="9525" cap="flat">
              <a:noFill/>
              <a:round/>
            </a:ln>
            <a:effectLst/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9525" cap="flat">
                <a:noFill/>
                <a:round/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1649-4CEE-B97E-19C845F632CA}"/>
              </c:ext>
            </c:extLst>
          </c:dPt>
          <c:dLbls>
            <c:dLbl>
              <c:idx val="0"/>
              <c:layout>
                <c:manualLayout>
                  <c:x val="1.4758858267716536E-2"/>
                  <c:y val="3.129027353630595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889763779527558"/>
                      <c:h val="8.942838288504519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1649-4CEE-B97E-19C845F632CA}"/>
                </c:ext>
              </c:extLst>
            </c:dLbl>
            <c:dLbl>
              <c:idx val="1"/>
              <c:layout>
                <c:manualLayout>
                  <c:x val="0"/>
                  <c:y val="3.44951728981031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438022566766783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1649-4CEE-B97E-19C845F632CA}"/>
                </c:ext>
              </c:extLst>
            </c:dLbl>
            <c:dLbl>
              <c:idx val="2"/>
              <c:layout>
                <c:manualLayout>
                  <c:x val="4.4585461323093184E-8"/>
                  <c:y val="1.47899459903373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1649-4CEE-B97E-19C845F632CA}"/>
                </c:ext>
              </c:extLst>
            </c:dLbl>
            <c:dLbl>
              <c:idx val="3"/>
              <c:layout>
                <c:manualLayout>
                  <c:x val="4.4585461364616631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1649-4CEE-B97E-19C845F632CA}"/>
                </c:ext>
              </c:extLst>
            </c:dLbl>
            <c:dLbl>
              <c:idx val="4"/>
              <c:layout>
                <c:manualLayout>
                  <c:x val="4.4585461240046288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1649-4CEE-B97E-19C845F632CA}"/>
                </c:ext>
              </c:extLst>
            </c:dLbl>
            <c:dLbl>
              <c:idx val="5"/>
              <c:layout>
                <c:manualLayout>
                  <c:x val="4.4585461323093184E-8"/>
                  <c:y val="1.47899459903375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1649-4CEE-B97E-19C845F632CA}"/>
                </c:ext>
              </c:extLst>
            </c:dLbl>
            <c:dLbl>
              <c:idx val="6"/>
              <c:layout>
                <c:manualLayout>
                  <c:x val="4.4585461240046288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1649-4CEE-B97E-19C845F632CA}"/>
                </c:ext>
              </c:extLst>
            </c:dLbl>
            <c:dLbl>
              <c:idx val="7"/>
              <c:layout>
                <c:manualLayout>
                  <c:x val="4.4585461406140072E-8"/>
                  <c:y val="1.18319800833400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1649-4CEE-B97E-19C845F632CA}"/>
                </c:ext>
              </c:extLst>
            </c:dLbl>
            <c:dLbl>
              <c:idx val="8"/>
              <c:layout>
                <c:manualLayout>
                  <c:x val="4.4585461323093184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1649-4CEE-B97E-19C845F632CA}"/>
                </c:ext>
              </c:extLst>
            </c:dLbl>
            <c:dLbl>
              <c:idx val="9"/>
              <c:layout>
                <c:manualLayout>
                  <c:x val="4.4585461156999393E-8"/>
                  <c:y val="1.774791189733482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1649-4CEE-B97E-19C845F632CA}"/>
                </c:ext>
              </c:extLst>
            </c:dLbl>
            <c:spPr>
              <a:solidFill>
                <a:schemeClr val="accent4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17</c:v>
                </c:pt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649-4CEE-B97E-19C845F632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axId val="1761988752"/>
        <c:axId val="1467764528"/>
      </c:barChart>
      <c:catAx>
        <c:axId val="176198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467764528"/>
        <c:crosses val="autoZero"/>
        <c:auto val="1"/>
        <c:lblAlgn val="ctr"/>
        <c:lblOffset val="900"/>
        <c:noMultiLvlLbl val="0"/>
      </c:catAx>
      <c:valAx>
        <c:axId val="1467764528"/>
        <c:scaling>
          <c:orientation val="minMax"/>
          <c:max val="12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61988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 1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00</c:v>
                </c:pt>
                <c:pt idx="1">
                  <c:v>445</c:v>
                </c:pt>
                <c:pt idx="2">
                  <c:v>490</c:v>
                </c:pt>
                <c:pt idx="3">
                  <c:v>535</c:v>
                </c:pt>
                <c:pt idx="4">
                  <c:v>580</c:v>
                </c:pt>
                <c:pt idx="5">
                  <c:v>625</c:v>
                </c:pt>
                <c:pt idx="6">
                  <c:v>670</c:v>
                </c:pt>
                <c:pt idx="7">
                  <c:v>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84-4371-8836-7A5F60140C9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 2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350</c:v>
                </c:pt>
                <c:pt idx="1">
                  <c:v>395</c:v>
                </c:pt>
                <c:pt idx="2">
                  <c:v>440</c:v>
                </c:pt>
                <c:pt idx="3">
                  <c:v>485</c:v>
                </c:pt>
                <c:pt idx="4">
                  <c:v>530</c:v>
                </c:pt>
                <c:pt idx="5">
                  <c:v>575</c:v>
                </c:pt>
                <c:pt idx="6">
                  <c:v>620</c:v>
                </c:pt>
                <c:pt idx="7">
                  <c:v>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84-4371-8836-7A5F60140C9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ext 3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D$2:$D$9</c:f>
              <c:numCache>
                <c:formatCode>General</c:formatCode>
                <c:ptCount val="8"/>
                <c:pt idx="0">
                  <c:v>250</c:v>
                </c:pt>
                <c:pt idx="1">
                  <c:v>295</c:v>
                </c:pt>
                <c:pt idx="2">
                  <c:v>340</c:v>
                </c:pt>
                <c:pt idx="3">
                  <c:v>385</c:v>
                </c:pt>
                <c:pt idx="4">
                  <c:v>430</c:v>
                </c:pt>
                <c:pt idx="5">
                  <c:v>475</c:v>
                </c:pt>
                <c:pt idx="6">
                  <c:v>520</c:v>
                </c:pt>
                <c:pt idx="7">
                  <c:v>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B84-4371-8836-7A5F60140C9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ext 4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B84-4371-8836-7A5F60140C90}"/>
              </c:ext>
            </c:extLst>
          </c:dPt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E$2:$E$9</c:f>
              <c:numCache>
                <c:formatCode>General</c:formatCode>
                <c:ptCount val="8"/>
                <c:pt idx="0">
                  <c:v>50</c:v>
                </c:pt>
                <c:pt idx="1">
                  <c:v>95</c:v>
                </c:pt>
                <c:pt idx="2">
                  <c:v>140</c:v>
                </c:pt>
                <c:pt idx="3">
                  <c:v>185</c:v>
                </c:pt>
                <c:pt idx="4">
                  <c:v>230</c:v>
                </c:pt>
                <c:pt idx="5">
                  <c:v>275</c:v>
                </c:pt>
                <c:pt idx="6">
                  <c:v>320</c:v>
                </c:pt>
                <c:pt idx="7">
                  <c:v>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B84-4371-8836-7A5F60140C9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Text 5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F$2:$F$9</c:f>
              <c:numCache>
                <c:formatCode>General</c:formatCode>
                <c:ptCount val="8"/>
                <c:pt idx="0">
                  <c:v>20</c:v>
                </c:pt>
                <c:pt idx="1">
                  <c:v>65</c:v>
                </c:pt>
                <c:pt idx="2">
                  <c:v>110</c:v>
                </c:pt>
                <c:pt idx="3">
                  <c:v>155</c:v>
                </c:pt>
                <c:pt idx="4">
                  <c:v>200</c:v>
                </c:pt>
                <c:pt idx="5">
                  <c:v>245</c:v>
                </c:pt>
                <c:pt idx="6">
                  <c:v>290</c:v>
                </c:pt>
                <c:pt idx="7">
                  <c:v>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B84-4371-8836-7A5F60140C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61912975"/>
        <c:axId val="231295167"/>
      </c:barChart>
      <c:catAx>
        <c:axId val="10619129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231295167"/>
        <c:crosses val="autoZero"/>
        <c:auto val="1"/>
        <c:lblAlgn val="ctr"/>
        <c:lblOffset val="100"/>
        <c:noMultiLvlLbl val="0"/>
      </c:catAx>
      <c:valAx>
        <c:axId val="231295167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10619129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127948024537581"/>
          <c:y val="0.93406517447110005"/>
          <c:w val="0.64725814801185111"/>
          <c:h val="6.59348255288999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Neue Haas Unica"/>
              <a:cs typeface="Neue Haas Unica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589648611278801E-2"/>
          <c:y val="0.12248936820876066"/>
          <c:w val="0.97282070277744237"/>
          <c:h val="0.659272110926156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 w="9525" cap="flat">
              <a:noFill/>
              <a:round/>
            </a:ln>
            <a:effectLst/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9525" cap="flat">
                <a:noFill/>
                <a:round/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7BE5-4614-A2F0-6844E981D4E9}"/>
              </c:ext>
            </c:extLst>
          </c:dPt>
          <c:dLbls>
            <c:dLbl>
              <c:idx val="0"/>
              <c:layout>
                <c:manualLayout>
                  <c:x val="1.4758858267716536E-2"/>
                  <c:y val="3.129027353630595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889763779527558"/>
                      <c:h val="8.942838288504519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BE5-4614-A2F0-6844E981D4E9}"/>
                </c:ext>
              </c:extLst>
            </c:dLbl>
            <c:dLbl>
              <c:idx val="1"/>
              <c:layout>
                <c:manualLayout>
                  <c:x val="0"/>
                  <c:y val="3.44951728981031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438022566766783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BE5-4614-A2F0-6844E981D4E9}"/>
                </c:ext>
              </c:extLst>
            </c:dLbl>
            <c:dLbl>
              <c:idx val="2"/>
              <c:layout>
                <c:manualLayout>
                  <c:x val="4.4585461323093184E-8"/>
                  <c:y val="1.47899459903373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BE5-4614-A2F0-6844E981D4E9}"/>
                </c:ext>
              </c:extLst>
            </c:dLbl>
            <c:dLbl>
              <c:idx val="3"/>
              <c:layout>
                <c:manualLayout>
                  <c:x val="4.4585461364616631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7BE5-4614-A2F0-6844E981D4E9}"/>
                </c:ext>
              </c:extLst>
            </c:dLbl>
            <c:dLbl>
              <c:idx val="4"/>
              <c:layout>
                <c:manualLayout>
                  <c:x val="4.4585461240046288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7BE5-4614-A2F0-6844E981D4E9}"/>
                </c:ext>
              </c:extLst>
            </c:dLbl>
            <c:dLbl>
              <c:idx val="5"/>
              <c:layout>
                <c:manualLayout>
                  <c:x val="4.4585461323093184E-8"/>
                  <c:y val="1.47899459903375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7BE5-4614-A2F0-6844E981D4E9}"/>
                </c:ext>
              </c:extLst>
            </c:dLbl>
            <c:dLbl>
              <c:idx val="6"/>
              <c:layout>
                <c:manualLayout>
                  <c:x val="4.4585461240046288E-8"/>
                  <c:y val="1.4789945990337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7BE5-4614-A2F0-6844E981D4E9}"/>
                </c:ext>
              </c:extLst>
            </c:dLbl>
            <c:dLbl>
              <c:idx val="7"/>
              <c:layout>
                <c:manualLayout>
                  <c:x val="4.4585461406140072E-8"/>
                  <c:y val="1.18319800833400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7BE5-4614-A2F0-6844E981D4E9}"/>
                </c:ext>
              </c:extLst>
            </c:dLbl>
            <c:dLbl>
              <c:idx val="8"/>
              <c:layout>
                <c:manualLayout>
                  <c:x val="4.4585461323093184E-8"/>
                  <c:y val="1.1831980083340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7BE5-4614-A2F0-6844E981D4E9}"/>
                </c:ext>
              </c:extLst>
            </c:dLbl>
            <c:dLbl>
              <c:idx val="9"/>
              <c:layout>
                <c:manualLayout>
                  <c:x val="4.4585461156999393E-8"/>
                  <c:y val="1.774791189733482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92051250452759E-2"/>
                      <c:h val="9.58380953867144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7BE5-4614-A2F0-6844E981D4E9}"/>
                </c:ext>
              </c:extLst>
            </c:dLbl>
            <c:spPr>
              <a:solidFill>
                <a:schemeClr val="accent4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18</c:v>
                </c:pt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BE5-4614-A2F0-6844E981D4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axId val="1761988752"/>
        <c:axId val="1467764528"/>
      </c:barChart>
      <c:catAx>
        <c:axId val="176198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467764528"/>
        <c:crosses val="autoZero"/>
        <c:auto val="1"/>
        <c:lblAlgn val="ctr"/>
        <c:lblOffset val="900"/>
        <c:noMultiLvlLbl val="0"/>
      </c:catAx>
      <c:valAx>
        <c:axId val="1467764528"/>
        <c:scaling>
          <c:orientation val="minMax"/>
          <c:max val="12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61988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
Text Her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A53-4EA1-8AEF-A9912CB3BC43}"/>
              </c:ext>
            </c:extLst>
          </c:dPt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A53-4EA1-8AEF-A9912CB3BC43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8A53-4EA1-8AEF-A9912CB3BC43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8A53-4EA1-8AEF-A9912CB3BC43}"/>
              </c:ext>
            </c:extLst>
          </c:dPt>
          <c:dPt>
            <c:idx val="4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8A53-4EA1-8AEF-A9912CB3BC43}"/>
              </c:ext>
            </c:extLst>
          </c:dPt>
          <c:dPt>
            <c:idx val="5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8A53-4EA1-8AEF-A9912CB3BC43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8A53-4EA1-8AEF-A9912CB3BC43}"/>
              </c:ext>
            </c:extLst>
          </c:dPt>
          <c:dPt>
            <c:idx val="7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F-8A53-4EA1-8AEF-A9912CB3BC43}"/>
              </c:ext>
            </c:extLst>
          </c:dPt>
          <c:dPt>
            <c:idx val="8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1-8A53-4EA1-8AEF-A9912CB3BC43}"/>
              </c:ext>
            </c:extLst>
          </c:dPt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0</c:v>
                </c:pt>
                <c:pt idx="1">
                  <c:v>12</c:v>
                </c:pt>
                <c:pt idx="2">
                  <c:v>15</c:v>
                </c:pt>
                <c:pt idx="3">
                  <c:v>16</c:v>
                </c:pt>
                <c:pt idx="4">
                  <c:v>19</c:v>
                </c:pt>
                <c:pt idx="5">
                  <c:v>10</c:v>
                </c:pt>
                <c:pt idx="6">
                  <c:v>12</c:v>
                </c:pt>
                <c:pt idx="7">
                  <c:v>15</c:v>
                </c:pt>
                <c:pt idx="8">
                  <c:v>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A53-4EA1-8AEF-A9912CB3B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26818256"/>
        <c:axId val="2077682736"/>
      </c:lineChart>
      <c:catAx>
        <c:axId val="212681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A6A6A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077682736"/>
        <c:crosses val="autoZero"/>
        <c:auto val="1"/>
        <c:lblAlgn val="ctr"/>
        <c:lblOffset val="100"/>
        <c:noMultiLvlLbl val="0"/>
      </c:catAx>
      <c:valAx>
        <c:axId val="20776827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rgbClr val="A6A6A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12681825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 1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9012-40D5-A0B0-C2605B3450E1}"/>
              </c:ext>
            </c:extLst>
          </c:dPt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9012-40D5-A0B0-C2605B3450E1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9012-40D5-A0B0-C2605B3450E1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9012-40D5-A0B0-C2605B3450E1}"/>
              </c:ext>
            </c:extLst>
          </c:dPt>
          <c:dPt>
            <c:idx val="4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9012-40D5-A0B0-C2605B3450E1}"/>
              </c:ext>
            </c:extLst>
          </c:dPt>
          <c:dPt>
            <c:idx val="5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9012-40D5-A0B0-C2605B3450E1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9012-40D5-A0B0-C2605B3450E1}"/>
              </c:ext>
            </c:extLst>
          </c:dPt>
          <c:dPt>
            <c:idx val="7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F-9012-40D5-A0B0-C2605B3450E1}"/>
              </c:ext>
            </c:extLst>
          </c:dPt>
          <c:dPt>
            <c:idx val="8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1-9012-40D5-A0B0-C2605B3450E1}"/>
              </c:ext>
            </c:extLst>
          </c:dPt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0</c:v>
                </c:pt>
                <c:pt idx="1">
                  <c:v>12</c:v>
                </c:pt>
                <c:pt idx="2">
                  <c:v>15</c:v>
                </c:pt>
                <c:pt idx="3">
                  <c:v>16</c:v>
                </c:pt>
                <c:pt idx="4">
                  <c:v>19</c:v>
                </c:pt>
                <c:pt idx="5">
                  <c:v>10</c:v>
                </c:pt>
                <c:pt idx="6">
                  <c:v>12</c:v>
                </c:pt>
                <c:pt idx="7">
                  <c:v>15</c:v>
                </c:pt>
                <c:pt idx="8">
                  <c:v>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9012-40D5-A0B0-C2605B3450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26818256"/>
        <c:axId val="2077682736"/>
      </c:lineChart>
      <c:catAx>
        <c:axId val="212681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A6A6A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077682736"/>
        <c:crosses val="autoZero"/>
        <c:auto val="1"/>
        <c:lblAlgn val="ctr"/>
        <c:lblOffset val="100"/>
        <c:noMultiLvlLbl val="0"/>
      </c:catAx>
      <c:valAx>
        <c:axId val="20776827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rgbClr val="A6A6A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12681825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r>
              <a:rPr lang="en-IN"/>
              <a:t>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5355356826037825E-2"/>
          <c:y val="8.873691122260699E-2"/>
          <c:w val="0.93364257579821452"/>
          <c:h val="0.72342046095813939"/>
        </c:manualLayout>
      </c:layout>
      <c:areaChart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2:$M$2</c:f>
              <c:numCache>
                <c:formatCode>0%</c:formatCode>
                <c:ptCount val="12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18</c:v>
                </c:pt>
                <c:pt idx="5">
                  <c:v>0.2</c:v>
                </c:pt>
                <c:pt idx="6">
                  <c:v>0.23</c:v>
                </c:pt>
                <c:pt idx="7">
                  <c:v>0.28000000000000003</c:v>
                </c:pt>
                <c:pt idx="8">
                  <c:v>0.3</c:v>
                </c:pt>
                <c:pt idx="9">
                  <c:v>0.35</c:v>
                </c:pt>
                <c:pt idx="10">
                  <c:v>0.32</c:v>
                </c:pt>
                <c:pt idx="11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0E-4915-9E52-43A7FCCDBA9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3:$M$3</c:f>
              <c:numCache>
                <c:formatCode>0%</c:formatCode>
                <c:ptCount val="12"/>
                <c:pt idx="0">
                  <c:v>0.12</c:v>
                </c:pt>
                <c:pt idx="1">
                  <c:v>0.1</c:v>
                </c:pt>
                <c:pt idx="2">
                  <c:v>0.12</c:v>
                </c:pt>
                <c:pt idx="3">
                  <c:v>0.1</c:v>
                </c:pt>
                <c:pt idx="4">
                  <c:v>0.12</c:v>
                </c:pt>
                <c:pt idx="5">
                  <c:v>0.1</c:v>
                </c:pt>
                <c:pt idx="6">
                  <c:v>0.12</c:v>
                </c:pt>
                <c:pt idx="7">
                  <c:v>0.1</c:v>
                </c:pt>
                <c:pt idx="8">
                  <c:v>0.12</c:v>
                </c:pt>
                <c:pt idx="9">
                  <c:v>0.14000000000000001</c:v>
                </c:pt>
                <c:pt idx="10">
                  <c:v>0.09</c:v>
                </c:pt>
                <c:pt idx="11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0E-4915-9E52-43A7FCCDBA9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4:$M$4</c:f>
              <c:numCache>
                <c:formatCode>0%</c:formatCode>
                <c:ptCount val="12"/>
                <c:pt idx="0">
                  <c:v>0.27</c:v>
                </c:pt>
                <c:pt idx="1">
                  <c:v>0.28000000000000003</c:v>
                </c:pt>
                <c:pt idx="2">
                  <c:v>0.25</c:v>
                </c:pt>
                <c:pt idx="3">
                  <c:v>0.24</c:v>
                </c:pt>
                <c:pt idx="4">
                  <c:v>0.27</c:v>
                </c:pt>
                <c:pt idx="5">
                  <c:v>0.28000000000000003</c:v>
                </c:pt>
                <c:pt idx="6">
                  <c:v>0.25</c:v>
                </c:pt>
                <c:pt idx="7">
                  <c:v>0.24</c:v>
                </c:pt>
                <c:pt idx="8">
                  <c:v>0.28999999999999998</c:v>
                </c:pt>
                <c:pt idx="9">
                  <c:v>0.25</c:v>
                </c:pt>
                <c:pt idx="10">
                  <c:v>0.23</c:v>
                </c:pt>
                <c:pt idx="11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0E-4915-9E52-43A7FCCDBA9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5:$M$5</c:f>
              <c:numCache>
                <c:formatCode>0%</c:formatCode>
                <c:ptCount val="12"/>
                <c:pt idx="0">
                  <c:v>0.25</c:v>
                </c:pt>
                <c:pt idx="1">
                  <c:v>0.28000000000000003</c:v>
                </c:pt>
                <c:pt idx="2">
                  <c:v>0.23</c:v>
                </c:pt>
                <c:pt idx="3">
                  <c:v>0.22</c:v>
                </c:pt>
                <c:pt idx="4">
                  <c:v>0.25</c:v>
                </c:pt>
                <c:pt idx="5">
                  <c:v>0.28000000000000003</c:v>
                </c:pt>
                <c:pt idx="6">
                  <c:v>0.23</c:v>
                </c:pt>
                <c:pt idx="7">
                  <c:v>0.22</c:v>
                </c:pt>
                <c:pt idx="8">
                  <c:v>0.2</c:v>
                </c:pt>
                <c:pt idx="9">
                  <c:v>0.24</c:v>
                </c:pt>
                <c:pt idx="10">
                  <c:v>0.23</c:v>
                </c:pt>
                <c:pt idx="11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C0E-4915-9E52-43A7FCCDBA9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6:$M$6</c:f>
              <c:numCache>
                <c:formatCode>0%</c:formatCode>
                <c:ptCount val="12"/>
                <c:pt idx="0">
                  <c:v>0.36</c:v>
                </c:pt>
                <c:pt idx="1">
                  <c:v>0.28999999999999992</c:v>
                </c:pt>
                <c:pt idx="2">
                  <c:v>0.30000000000000004</c:v>
                </c:pt>
                <c:pt idx="3">
                  <c:v>0.29000000000000004</c:v>
                </c:pt>
                <c:pt idx="4">
                  <c:v>0.17999999999999994</c:v>
                </c:pt>
                <c:pt idx="5">
                  <c:v>0.1399999999999999</c:v>
                </c:pt>
                <c:pt idx="6">
                  <c:v>0.17000000000000004</c:v>
                </c:pt>
                <c:pt idx="7">
                  <c:v>0.16000000000000003</c:v>
                </c:pt>
                <c:pt idx="8">
                  <c:v>9.000000000000008E-2</c:v>
                </c:pt>
                <c:pt idx="9">
                  <c:v>2.0000000000000018E-2</c:v>
                </c:pt>
                <c:pt idx="10">
                  <c:v>0.13</c:v>
                </c:pt>
                <c:pt idx="11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C0E-4915-9E52-43A7FCCDBA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6611312"/>
        <c:axId val="1366617392"/>
      </c:areaChart>
      <c:catAx>
        <c:axId val="1366611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366617392"/>
        <c:crosses val="autoZero"/>
        <c:auto val="1"/>
        <c:lblAlgn val="ctr"/>
        <c:lblOffset val="100"/>
        <c:noMultiLvlLbl val="0"/>
      </c:catAx>
      <c:valAx>
        <c:axId val="1366617392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solidFill>
              <a:srgbClr val="7F7F7F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36661131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776643797973087E-2"/>
          <c:y val="0.91959586211251831"/>
          <c:w val="0.89177366937015556"/>
          <c:h val="5.5225673880253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r>
              <a:rPr lang="en-IN" b="1"/>
              <a:t>Title</a:t>
            </a:r>
          </a:p>
        </c:rich>
      </c:tx>
      <c:layout>
        <c:manualLayout>
          <c:xMode val="edge"/>
          <c:yMode val="edge"/>
          <c:x val="0.45498223551633615"/>
          <c:y val="2.39618572514806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8251545891767368E-2"/>
          <c:y val="0.14237777094351228"/>
          <c:w val="0.92916428888978697"/>
          <c:h val="0.560833872632351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EF-4D30-AEEA-4582589260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EF-4D30-AEEA-4582589260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64246255"/>
        <c:axId val="12568959"/>
      </c:barChart>
      <c:catAx>
        <c:axId val="464246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2568959"/>
        <c:crosses val="autoZero"/>
        <c:auto val="1"/>
        <c:lblAlgn val="ctr"/>
        <c:lblOffset val="100"/>
        <c:noMultiLvlLbl val="0"/>
      </c:catAx>
      <c:valAx>
        <c:axId val="12568959"/>
        <c:scaling>
          <c:orientation val="minMax"/>
          <c:max val="5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64246255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548373002640692"/>
          <c:y val="0.88895071990491603"/>
          <c:w val="0.50675002958412163"/>
          <c:h val="0.108828812340922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3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FF-4242-8783-CC61BAC491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20784616"/>
        <c:axId val="520784288"/>
      </c:barChart>
      <c:catAx>
        <c:axId val="520784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0784288"/>
        <c:crosses val="autoZero"/>
        <c:auto val="1"/>
        <c:lblAlgn val="ctr"/>
        <c:lblOffset val="100"/>
        <c:noMultiLvlLbl val="0"/>
      </c:catAx>
      <c:valAx>
        <c:axId val="5207842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0784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28" b="0" i="0" u="none" strike="noStrike" kern="1200" spc="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r>
              <a:rPr lang="en-IN"/>
              <a:t>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28" b="0" i="0" u="none" strike="noStrike" kern="1200" spc="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1243863257288506E-2"/>
          <c:y val="0.10930166469250431"/>
          <c:w val="0.927494640523572"/>
          <c:h val="0.63079068241469816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nsert text here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B$1:$I$1</c:f>
              <c:strCache>
                <c:ptCount val="8"/>
                <c:pt idx="0">
                  <c:v>Q1 2020</c:v>
                </c:pt>
                <c:pt idx="1">
                  <c:v>Q2 2020</c:v>
                </c:pt>
                <c:pt idx="2">
                  <c:v>Q3 2020</c:v>
                </c:pt>
                <c:pt idx="3">
                  <c:v>Q4 2020</c:v>
                </c:pt>
                <c:pt idx="4">
                  <c:v>Q1 2021</c:v>
                </c:pt>
                <c:pt idx="5">
                  <c:v>Q2 2021</c:v>
                </c:pt>
                <c:pt idx="6">
                  <c:v>Q3 2021</c:v>
                </c:pt>
                <c:pt idx="7">
                  <c:v>Q4 2021</c:v>
                </c:pt>
              </c:strCache>
            </c:strRef>
          </c:cat>
          <c:val>
            <c:numRef>
              <c:f>Sheet1!$B$2:$I$2</c:f>
              <c:numCache>
                <c:formatCode>0%</c:formatCode>
                <c:ptCount val="8"/>
                <c:pt idx="0">
                  <c:v>4.2999999999999997E-2</c:v>
                </c:pt>
                <c:pt idx="1">
                  <c:v>0.05</c:v>
                </c:pt>
                <c:pt idx="2">
                  <c:v>5.8000000000000003E-2</c:v>
                </c:pt>
                <c:pt idx="3">
                  <c:v>6.2E-2</c:v>
                </c:pt>
                <c:pt idx="4">
                  <c:v>0.05</c:v>
                </c:pt>
                <c:pt idx="5">
                  <c:v>5.6000000000000001E-2</c:v>
                </c:pt>
                <c:pt idx="6">
                  <c:v>0.23</c:v>
                </c:pt>
                <c:pt idx="7">
                  <c:v>0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DC-4D2A-9B31-E18A87A5923E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Insert text here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B$1:$I$1</c:f>
              <c:strCache>
                <c:ptCount val="8"/>
                <c:pt idx="0">
                  <c:v>Q1 2020</c:v>
                </c:pt>
                <c:pt idx="1">
                  <c:v>Q2 2020</c:v>
                </c:pt>
                <c:pt idx="2">
                  <c:v>Q3 2020</c:v>
                </c:pt>
                <c:pt idx="3">
                  <c:v>Q4 2020</c:v>
                </c:pt>
                <c:pt idx="4">
                  <c:v>Q1 2021</c:v>
                </c:pt>
                <c:pt idx="5">
                  <c:v>Q2 2021</c:v>
                </c:pt>
                <c:pt idx="6">
                  <c:v>Q3 2021</c:v>
                </c:pt>
                <c:pt idx="7">
                  <c:v>Q4 2021</c:v>
                </c:pt>
              </c:strCache>
            </c:strRef>
          </c:cat>
          <c:val>
            <c:numRef>
              <c:f>Sheet1!$B$3:$I$3</c:f>
              <c:numCache>
                <c:formatCode>0%</c:formatCode>
                <c:ptCount val="8"/>
                <c:pt idx="0">
                  <c:v>0.12</c:v>
                </c:pt>
                <c:pt idx="1">
                  <c:v>0.1</c:v>
                </c:pt>
                <c:pt idx="2">
                  <c:v>0.12</c:v>
                </c:pt>
                <c:pt idx="3">
                  <c:v>0.1</c:v>
                </c:pt>
                <c:pt idx="4">
                  <c:v>0.12</c:v>
                </c:pt>
                <c:pt idx="5">
                  <c:v>0.14000000000000001</c:v>
                </c:pt>
                <c:pt idx="6">
                  <c:v>0.09</c:v>
                </c:pt>
                <c:pt idx="7">
                  <c:v>7.00000000000000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DC-4D2A-9B31-E18A87A5923E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Insert text here</c:v>
                </c:pt>
              </c:strCache>
            </c:strRef>
          </c:tx>
          <c:spPr>
            <a:ln w="381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B$1:$I$1</c:f>
              <c:strCache>
                <c:ptCount val="8"/>
                <c:pt idx="0">
                  <c:v>Q1 2020</c:v>
                </c:pt>
                <c:pt idx="1">
                  <c:v>Q2 2020</c:v>
                </c:pt>
                <c:pt idx="2">
                  <c:v>Q3 2020</c:v>
                </c:pt>
                <c:pt idx="3">
                  <c:v>Q4 2020</c:v>
                </c:pt>
                <c:pt idx="4">
                  <c:v>Q1 2021</c:v>
                </c:pt>
                <c:pt idx="5">
                  <c:v>Q2 2021</c:v>
                </c:pt>
                <c:pt idx="6">
                  <c:v>Q3 2021</c:v>
                </c:pt>
                <c:pt idx="7">
                  <c:v>Q4 2021</c:v>
                </c:pt>
              </c:strCache>
            </c:strRef>
          </c:cat>
          <c:val>
            <c:numRef>
              <c:f>Sheet1!$B$4:$I$4</c:f>
              <c:numCache>
                <c:formatCode>0%</c:formatCode>
                <c:ptCount val="8"/>
                <c:pt idx="0">
                  <c:v>0.27</c:v>
                </c:pt>
                <c:pt idx="1">
                  <c:v>0.28000000000000003</c:v>
                </c:pt>
                <c:pt idx="2">
                  <c:v>0.25</c:v>
                </c:pt>
                <c:pt idx="3">
                  <c:v>0.24</c:v>
                </c:pt>
                <c:pt idx="4">
                  <c:v>0.28999999999999998</c:v>
                </c:pt>
                <c:pt idx="5">
                  <c:v>0.25</c:v>
                </c:pt>
                <c:pt idx="6">
                  <c:v>0.23</c:v>
                </c:pt>
                <c:pt idx="7">
                  <c:v>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8DC-4D2A-9B31-E18A87A592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66611312"/>
        <c:axId val="1366617392"/>
      </c:lineChart>
      <c:catAx>
        <c:axId val="1366611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366617392"/>
        <c:crosses val="autoZero"/>
        <c:auto val="1"/>
        <c:lblAlgn val="ctr"/>
        <c:lblOffset val="100"/>
        <c:noMultiLvlLbl val="0"/>
      </c:catAx>
      <c:valAx>
        <c:axId val="1366617392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solidFill>
              <a:srgbClr val="7F7F7F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366611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5086316951288639E-2"/>
          <c:y val="0.84996540205201621"/>
          <c:w val="0.86358994467310113"/>
          <c:h val="0.143861611286294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0" b="0" i="0" u="none" strike="noStrike" kern="120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90">
          <a:solidFill>
            <a:schemeClr val="tx1"/>
          </a:solidFill>
          <a:latin typeface="+mn-lt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B1-459F-B2E8-2C93EF387CA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9B1-459F-B2E8-2C93EF387CA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9B1-459F-B2E8-2C93EF387CA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9B1-459F-B2E8-2C93EF387CA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9B1-459F-B2E8-2C93EF387CA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9B1-459F-B2E8-2C93EF387CA0}"/>
              </c:ext>
            </c:extLst>
          </c:dPt>
          <c:cat>
            <c:strRef>
              <c:f>Sheet1!$A$2:$A$7</c:f>
              <c:strCache>
                <c:ptCount val="6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50</c:v>
                </c:pt>
                <c:pt idx="1">
                  <c:v>60</c:v>
                </c:pt>
                <c:pt idx="2">
                  <c:v>45</c:v>
                </c:pt>
                <c:pt idx="3">
                  <c:v>55</c:v>
                </c:pt>
                <c:pt idx="4">
                  <c:v>70</c:v>
                </c:pt>
                <c:pt idx="5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B1-459F-B2E8-2C93EF387C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overlap val="-39"/>
        <c:axId val="81654815"/>
        <c:axId val="461216463"/>
      </c:barChart>
      <c:catAx>
        <c:axId val="816548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1216463"/>
        <c:crosses val="autoZero"/>
        <c:auto val="1"/>
        <c:lblAlgn val="ctr"/>
        <c:lblOffset val="100"/>
        <c:noMultiLvlLbl val="0"/>
      </c:catAx>
      <c:valAx>
        <c:axId val="461216463"/>
        <c:scaling>
          <c:orientation val="minMax"/>
          <c:max val="8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654815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</c:v>
                </c:pt>
                <c:pt idx="1">
                  <c:v>2</c:v>
                </c:pt>
                <c:pt idx="2">
                  <c:v>1</c:v>
                </c:pt>
                <c:pt idx="3">
                  <c:v>4.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E0E3-443B-80CE-D9BBCE85A8D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0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1-E0E3-443B-80CE-D9BBCE85A8D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7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9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0</c:v>
                </c:pt>
                <c:pt idx="1">
                  <c:v>3</c:v>
                </c:pt>
                <c:pt idx="2">
                  <c:v>2</c:v>
                </c:pt>
                <c:pt idx="3">
                  <c:v>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A-E0E3-443B-80CE-D9BBCE85A8D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0</c:v>
                </c:pt>
                <c:pt idx="1">
                  <c:v>6.1</c:v>
                </c:pt>
                <c:pt idx="2">
                  <c:v>4</c:v>
                </c:pt>
                <c:pt idx="3">
                  <c:v>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B-E0E3-443B-80CE-D9BBCE85A8D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D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F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1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3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0</c:v>
                </c:pt>
                <c:pt idx="1">
                  <c:v>7</c:v>
                </c:pt>
                <c:pt idx="2">
                  <c:v>5</c:v>
                </c:pt>
                <c:pt idx="3">
                  <c:v>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24-E0E3-443B-80CE-D9BBCE85A8D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6"/>
                </a:solidFill>
                <a:ln w="9525">
                  <a:solidFill>
                    <a:schemeClr val="accent6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6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6"/>
                </a:solidFill>
                <a:ln w="9525">
                  <a:solidFill>
                    <a:schemeClr val="accent6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8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6"/>
                </a:solidFill>
                <a:ln w="9525">
                  <a:solidFill>
                    <a:schemeClr val="accent6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A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6"/>
                </a:solidFill>
                <a:ln w="9525">
                  <a:solidFill>
                    <a:schemeClr val="accent6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C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0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2D-E0E3-443B-80CE-D9BBCE85A8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49919"/>
        <c:axId val="1999047327"/>
      </c:lineChart>
      <c:catAx>
        <c:axId val="22449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F2F2F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999047327"/>
        <c:crosses val="autoZero"/>
        <c:auto val="1"/>
        <c:lblAlgn val="ctr"/>
        <c:lblOffset val="100"/>
        <c:noMultiLvlLbl val="0"/>
      </c:catAx>
      <c:valAx>
        <c:axId val="19990473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244991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5DB-4EAB-95EB-6A45D97F5FE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5DB-4EAB-95EB-6A45D97F5FE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5DB-4EAB-95EB-6A45D97F5FE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5DB-4EAB-95EB-6A45D97F5FE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75DB-4EAB-95EB-6A45D97F5FE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5DB-4EAB-95EB-6A45D97F5FE9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75DB-4EAB-95EB-6A45D97F5FE9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5DB-4EAB-95EB-6A45D97F5FE9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75DB-4EAB-95EB-6A45D97F5FE9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75DB-4EAB-95EB-6A45D97F5FE9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75DB-4EAB-95EB-6A45D97F5FE9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75DB-4EAB-95EB-6A45D97F5FE9}"/>
              </c:ext>
            </c:extLst>
          </c:dPt>
          <c:dLbls>
            <c:spPr>
              <a:noFill/>
              <a:ln>
                <a:noFill/>
              </a:ln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December</c:v>
                </c:pt>
                <c:pt idx="1">
                  <c:v>November</c:v>
                </c:pt>
                <c:pt idx="2">
                  <c:v>October</c:v>
                </c:pt>
                <c:pt idx="3">
                  <c:v>September</c:v>
                </c:pt>
                <c:pt idx="4">
                  <c:v>August</c:v>
                </c:pt>
                <c:pt idx="5">
                  <c:v>July</c:v>
                </c:pt>
                <c:pt idx="6">
                  <c:v>June</c:v>
                </c:pt>
                <c:pt idx="7">
                  <c:v>May</c:v>
                </c:pt>
                <c:pt idx="8">
                  <c:v>April</c:v>
                </c:pt>
                <c:pt idx="9">
                  <c:v>March</c:v>
                </c:pt>
                <c:pt idx="10">
                  <c:v>February</c:v>
                </c:pt>
                <c:pt idx="11">
                  <c:v>January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25</c:v>
                </c:pt>
                <c:pt idx="1">
                  <c:v>0.36</c:v>
                </c:pt>
                <c:pt idx="2">
                  <c:v>0.85</c:v>
                </c:pt>
                <c:pt idx="3">
                  <c:v>0.41</c:v>
                </c:pt>
                <c:pt idx="4">
                  <c:v>0.62</c:v>
                </c:pt>
                <c:pt idx="5">
                  <c:v>0.75</c:v>
                </c:pt>
                <c:pt idx="6">
                  <c:v>0.46</c:v>
                </c:pt>
                <c:pt idx="7">
                  <c:v>0.55000000000000004</c:v>
                </c:pt>
                <c:pt idx="8">
                  <c:v>0.2</c:v>
                </c:pt>
                <c:pt idx="9">
                  <c:v>0.15</c:v>
                </c:pt>
                <c:pt idx="10">
                  <c:v>0.3</c:v>
                </c:pt>
                <c:pt idx="11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5DB-4EAB-95EB-6A45D97F5F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1"/>
        <c:axId val="484980879"/>
        <c:axId val="461215631"/>
      </c:barChart>
      <c:catAx>
        <c:axId val="4849808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rgbClr val="C6C6C6"/>
            </a:solidFill>
          </a:ln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461215631"/>
        <c:crosses val="autoZero"/>
        <c:auto val="1"/>
        <c:lblAlgn val="ctr"/>
        <c:lblOffset val="100"/>
        <c:noMultiLvlLbl val="0"/>
      </c:catAx>
      <c:valAx>
        <c:axId val="461215631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ln>
            <a:solidFill>
              <a:srgbClr val="C6C6C6"/>
            </a:solidFill>
          </a:ln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484980879"/>
        <c:crosses val="autoZero"/>
        <c:crossBetween val="between"/>
      </c:valAx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txPr>
    <a:bodyPr/>
    <a:lstStyle/>
    <a:p>
      <a:pPr>
        <a:defRPr sz="11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0F-44A8-BAB8-96D7FDD9E74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0F-44A8-BAB8-96D7FDD9E7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E0F-44A8-BAB8-96D7FDD9E74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4</c:v>
                </c:pt>
                <c:pt idx="1">
                  <c:v>5</c:v>
                </c:pt>
                <c:pt idx="2">
                  <c:v>4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E0F-44A8-BAB8-96D7FDD9E7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92138271"/>
        <c:axId val="1"/>
      </c:barChart>
      <c:catAx>
        <c:axId val="10921382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14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2138271"/>
        <c:crosses val="autoZero"/>
        <c:crossBetween val="between"/>
      </c:valAx>
      <c:spPr>
        <a:noFill/>
        <a:ln w="25370">
          <a:noFill/>
        </a:ln>
      </c:spPr>
    </c:plotArea>
    <c:legend>
      <c:legendPos val="b"/>
      <c:layout>
        <c:manualLayout>
          <c:xMode val="edge"/>
          <c:yMode val="edge"/>
          <c:x val="0.11410390745289602"/>
          <c:y val="0.92172936329978616"/>
          <c:w val="0.80297063903281518"/>
          <c:h val="6.86147564887722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0B5-44D1-A627-89C67CE85E8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0B5-44D1-A627-89C67CE85E8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0B5-44D1-A627-89C67CE85E85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0B5-44D1-A627-89C67CE85E85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0B5-44D1-A627-89C67CE85E85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0B5-44D1-A627-89C67CE85E8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0B5-44D1-A627-89C67CE85E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3F5-490D-8120-09546BAF2D1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F5-490D-8120-09546BAF2D1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3F5-490D-8120-09546BAF2D19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3F5-490D-8120-09546BAF2D19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39129713603016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3F5-490D-8120-09546BAF2D19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3F5-490D-8120-09546BAF2D1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50</c:v>
                </c:pt>
                <c:pt idx="1">
                  <c:v>101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3F5-490D-8120-09546BAF2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  <c:max val="2000"/>
        </c:scaling>
        <c:delete val="1"/>
        <c:axPos val="b"/>
        <c:numFmt formatCode="General" sourceLinked="1"/>
        <c:majorTickMark val="out"/>
        <c:minorTickMark val="none"/>
        <c:tickLblPos val="nextTo"/>
        <c:crossAx val="394669455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0D-4185-BDEE-6B7971651CF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0D-4185-BDEE-6B7971651CF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90D-4185-BDEE-6B7971651CF5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39129713603016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90D-4185-BDEE-6B7971651CF5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90D-4185-BDEE-6B7971651CF5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954322628656734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90D-4185-BDEE-6B7971651CF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350</c:v>
                </c:pt>
                <c:pt idx="1">
                  <c:v>1000</c:v>
                </c:pt>
                <c:pt idx="2">
                  <c:v>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90D-4185-BDEE-6B7971651C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267-47EB-9119-1AF569E9D81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267-47EB-9119-1AF569E9D81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267-47EB-9119-1AF569E9D81C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C267-47EB-9119-1AF569E9D81C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267-47EB-9119-1AF569E9D81C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267-47EB-9119-1AF569E9D81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00</c:v>
                </c:pt>
                <c:pt idx="1">
                  <c:v>1200</c:v>
                </c:pt>
                <c:pt idx="2">
                  <c:v>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67-47EB-9119-1AF569E9D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246-490E-B5FB-32992B5DB9F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246-490E-B5FB-32992B5DB9F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246-490E-B5FB-32992B5DB9FF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967942007804917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246-490E-B5FB-32992B5DB9FF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967942007804917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246-490E-B5FB-32992B5DB9FF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246-490E-B5FB-32992B5DB9F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46-490E-B5FB-32992B5DB9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382-4022-A40F-D809B4CBF68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382-4022-A40F-D809B4CBF68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382-4022-A40F-D809B4CBF68D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9382-4022-A40F-D809B4CBF68D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6508072777156384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382-4022-A40F-D809B4CBF68D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9382-4022-A40F-D809B4CBF68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100</c:v>
                </c:pt>
                <c:pt idx="1">
                  <c:v>1600</c:v>
                </c:pt>
                <c:pt idx="2">
                  <c:v>1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382-4022-A40F-D809B4CBF6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86-47BF-A105-5B6EFFA73AD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B86-47BF-A105-5B6EFFA73AD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B86-47BF-A105-5B6EFFA73ADF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B86-47BF-A105-5B6EFFA73ADF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B86-47BF-A105-5B6EFFA73ADF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B86-47BF-A105-5B6EFFA73AD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86-47BF-A105-5B6EFFA73A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348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BF01-459E-9FBB-38F2E4F7A7C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348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F01-459E-9FBB-38F2E4F7A7C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348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BF01-459E-9FBB-38F2E4F7A7C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348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BF01-459E-9FBB-38F2E4F7A7C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7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0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</c:v>
                </c:pt>
                <c:pt idx="1">
                  <c:v>0.3</c:v>
                </c:pt>
                <c:pt idx="2">
                  <c:v>0.2</c:v>
                </c:pt>
                <c:pt idx="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F01-459E-9FBB-38F2E4F7A7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AB-4019-9F5A-EA81CCC028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AB-4019-9F5A-EA81CCC028D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AB-4019-9F5A-EA81CCC028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37382943"/>
        <c:axId val="1"/>
      </c:barChart>
      <c:catAx>
        <c:axId val="337382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496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7382943"/>
        <c:crosses val="autoZero"/>
        <c:crossBetween val="between"/>
      </c:valAx>
      <c:spPr>
        <a:noFill/>
        <a:ln w="25324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302-405D-B894-0433916C447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302-405D-B894-0433916C447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302-405D-B894-0433916C447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302-405D-B894-0433916C447F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  <c:pt idx="3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302-405D-B894-0433916C4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435465445799004E-2"/>
          <c:y val="0"/>
          <c:w val="0.88550052578048233"/>
          <c:h val="0.8128797016423658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 Here 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B77-496A-9CEB-38BD93A09C5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B77-496A-9CEB-38BD93A09C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B77-496A-9CEB-38BD93A09C5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B77-496A-9CEB-38BD93A09C5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B77-496A-9CEB-38BD93A09C5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B77-496A-9CEB-38BD93A09C51}"/>
              </c:ext>
            </c:extLst>
          </c:dPt>
          <c:cat>
            <c:strRef>
              <c:f>Sheet1!$A$2:$A$7</c:f>
              <c:strCache>
                <c:ptCount val="6"/>
                <c:pt idx="0">
                  <c:v>Text 1</c:v>
                </c:pt>
                <c:pt idx="1">
                  <c:v>Text 2</c:v>
                </c:pt>
                <c:pt idx="2">
                  <c:v>Text 3</c:v>
                </c:pt>
                <c:pt idx="3">
                  <c:v>Text 4</c:v>
                </c:pt>
                <c:pt idx="4">
                  <c:v>Text 5</c:v>
                </c:pt>
                <c:pt idx="5">
                  <c:v>Text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5</c:v>
                </c:pt>
                <c:pt idx="1">
                  <c:v>37</c:v>
                </c:pt>
                <c:pt idx="2">
                  <c:v>26</c:v>
                </c:pt>
                <c:pt idx="3">
                  <c:v>22</c:v>
                </c:pt>
                <c:pt idx="4">
                  <c:v>15</c:v>
                </c:pt>
                <c:pt idx="5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B77-496A-9CEB-38BD93A09C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BB77-496A-9CEB-38BD93A09C5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BB77-496A-9CEB-38BD93A09C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BB77-496A-9CEB-38BD93A09C5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BB77-496A-9CEB-38BD93A09C5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BB77-496A-9CEB-38BD93A09C5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BB77-496A-9CEB-38BD93A09C51}"/>
              </c:ext>
            </c:extLst>
          </c:dPt>
          <c:cat>
            <c:strRef>
              <c:f>Sheet1!$A$2:$A$7</c:f>
              <c:strCache>
                <c:ptCount val="6"/>
                <c:pt idx="0">
                  <c:v>Text 1</c:v>
                </c:pt>
                <c:pt idx="1">
                  <c:v>Text 2</c:v>
                </c:pt>
                <c:pt idx="2">
                  <c:v>Text 3</c:v>
                </c:pt>
                <c:pt idx="3">
                  <c:v>Text 4</c:v>
                </c:pt>
                <c:pt idx="4">
                  <c:v>Text 5</c:v>
                </c:pt>
                <c:pt idx="5">
                  <c:v>Text 6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30</c:v>
                </c:pt>
                <c:pt idx="1">
                  <c:v>28</c:v>
                </c:pt>
                <c:pt idx="2">
                  <c:v>24</c:v>
                </c:pt>
                <c:pt idx="3">
                  <c:v>21</c:v>
                </c:pt>
                <c:pt idx="4">
                  <c:v>15</c:v>
                </c:pt>
                <c:pt idx="5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BB77-496A-9CEB-38BD93A09C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sert Text Here 2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BB77-496A-9CEB-38BD93A09C5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BB77-496A-9CEB-38BD93A09C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BB77-496A-9CEB-38BD93A09C5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BB77-496A-9CEB-38BD93A09C5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BB77-496A-9CEB-38BD93A09C5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BB77-496A-9CEB-38BD93A09C51}"/>
              </c:ext>
            </c:extLst>
          </c:dPt>
          <c:cat>
            <c:strRef>
              <c:f>Sheet1!$A$2:$A$7</c:f>
              <c:strCache>
                <c:ptCount val="6"/>
                <c:pt idx="0">
                  <c:v>Text 1</c:v>
                </c:pt>
                <c:pt idx="1">
                  <c:v>Text 2</c:v>
                </c:pt>
                <c:pt idx="2">
                  <c:v>Text 3</c:v>
                </c:pt>
                <c:pt idx="3">
                  <c:v>Text 4</c:v>
                </c:pt>
                <c:pt idx="4">
                  <c:v>Text 5</c:v>
                </c:pt>
                <c:pt idx="5">
                  <c:v>Text 6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35</c:v>
                </c:pt>
                <c:pt idx="1">
                  <c:v>35</c:v>
                </c:pt>
                <c:pt idx="2">
                  <c:v>50</c:v>
                </c:pt>
                <c:pt idx="3">
                  <c:v>57</c:v>
                </c:pt>
                <c:pt idx="4">
                  <c:v>69</c:v>
                </c:pt>
                <c:pt idx="5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BB77-496A-9CEB-38BD93A09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642994959"/>
        <c:axId val="231303903"/>
      </c:barChart>
      <c:catAx>
        <c:axId val="164299495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231303903"/>
        <c:crosses val="autoZero"/>
        <c:auto val="1"/>
        <c:lblAlgn val="ctr"/>
        <c:lblOffset val="100"/>
        <c:noMultiLvlLbl val="0"/>
      </c:catAx>
      <c:valAx>
        <c:axId val="231303903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1642994959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Neue Haas Unica"/>
              <a:cs typeface="Neue Haas Unica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7312</cdr:x>
      <cdr:y>0.62587</cdr:y>
    </cdr:from>
    <cdr:to>
      <cdr:x>0.21781</cdr:x>
      <cdr:y>0.73779</cdr:y>
    </cdr:to>
    <cdr:sp macro="" textlink="">
      <cdr:nvSpPr>
        <cdr:cNvPr id="2" name="Oval 1"/>
        <cdr:cNvSpPr/>
      </cdr:nvSpPr>
      <cdr:spPr>
        <a:xfrm xmlns:a="http://schemas.openxmlformats.org/drawingml/2006/main">
          <a:off x="1590122" y="2494351"/>
          <a:ext cx="446054" cy="446054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40046</cdr:x>
      <cdr:y>0.33261</cdr:y>
    </cdr:from>
    <cdr:to>
      <cdr:x>0.44515</cdr:x>
      <cdr:y>0.44453</cdr:y>
    </cdr:to>
    <cdr:sp macro="" textlink="">
      <cdr:nvSpPr>
        <cdr:cNvPr id="3" name="Oval 2"/>
        <cdr:cNvSpPr/>
      </cdr:nvSpPr>
      <cdr:spPr>
        <a:xfrm xmlns:a="http://schemas.openxmlformats.org/drawingml/2006/main">
          <a:off x="3870548" y="1325613"/>
          <a:ext cx="446054" cy="446054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61434</cdr:x>
      <cdr:y>0.27732</cdr:y>
    </cdr:from>
    <cdr:to>
      <cdr:x>0.65878</cdr:x>
      <cdr:y>0.38924</cdr:y>
    </cdr:to>
    <cdr:sp macro="" textlink="">
      <cdr:nvSpPr>
        <cdr:cNvPr id="4" name="Oval 3"/>
        <cdr:cNvSpPr/>
      </cdr:nvSpPr>
      <cdr:spPr>
        <a:xfrm xmlns:a="http://schemas.openxmlformats.org/drawingml/2006/main">
          <a:off x="6014800" y="1105255"/>
          <a:ext cx="446054" cy="446054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5/8/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8/5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hyperlink" Target="https://forms.gle/ALLZf3hUpsebCGJJA" TargetMode="Externa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1.xml"/><Relationship Id="rId4" Type="http://schemas.openxmlformats.org/officeDocument/2006/relationships/image" Target="../media/image2.emf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2.xml"/><Relationship Id="rId4" Type="http://schemas.openxmlformats.org/officeDocument/2006/relationships/image" Target="../media/image2.emf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3.xml"/><Relationship Id="rId4" Type="http://schemas.openxmlformats.org/officeDocument/2006/relationships/image" Target="../media/image2.emf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4.xml"/><Relationship Id="rId4" Type="http://schemas.openxmlformats.org/officeDocument/2006/relationships/image" Target="../media/image2.emf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5.xml"/><Relationship Id="rId4" Type="http://schemas.openxmlformats.org/officeDocument/2006/relationships/image" Target="../media/image2.emf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6.xml"/><Relationship Id="rId4" Type="http://schemas.openxmlformats.org/officeDocument/2006/relationships/image" Target="../media/image2.emf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7.xml"/><Relationship Id="rId4" Type="http://schemas.openxmlformats.org/officeDocument/2006/relationships/image" Target="../media/image2.emf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8.xml"/><Relationship Id="rId4" Type="http://schemas.openxmlformats.org/officeDocument/2006/relationships/image" Target="../media/image2.emf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9.xml"/><Relationship Id="rId4" Type="http://schemas.openxmlformats.org/officeDocument/2006/relationships/image" Target="../media/image2.emf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0.xml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1.xml"/><Relationship Id="rId4" Type="http://schemas.openxmlformats.org/officeDocument/2006/relationships/image" Target="../media/image2.emf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2.xml"/><Relationship Id="rId4" Type="http://schemas.openxmlformats.org/officeDocument/2006/relationships/image" Target="../media/image2.emf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3.xml"/><Relationship Id="rId4" Type="http://schemas.openxmlformats.org/officeDocument/2006/relationships/image" Target="../media/image2.emf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.xml"/><Relationship Id="rId4" Type="http://schemas.openxmlformats.org/officeDocument/2006/relationships/image" Target="../media/image2.emf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5.xml"/><Relationship Id="rId4" Type="http://schemas.openxmlformats.org/officeDocument/2006/relationships/image" Target="../media/image2.emf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6.xml"/><Relationship Id="rId4" Type="http://schemas.openxmlformats.org/officeDocument/2006/relationships/image" Target="../media/image2.emf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7.xml"/><Relationship Id="rId4" Type="http://schemas.openxmlformats.org/officeDocument/2006/relationships/image" Target="../media/image2.emf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8.xml"/><Relationship Id="rId5" Type="http://schemas.openxmlformats.org/officeDocument/2006/relationships/image" Target="../media/image6.jpeg"/><Relationship Id="rId4" Type="http://schemas.openxmlformats.org/officeDocument/2006/relationships/image" Target="../media/image2.emf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9.xml"/><Relationship Id="rId4" Type="http://schemas.openxmlformats.org/officeDocument/2006/relationships/image" Target="../media/image2.emf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0.xml"/><Relationship Id="rId4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1.xml"/><Relationship Id="rId5" Type="http://schemas.openxmlformats.org/officeDocument/2006/relationships/chart" Target="../charts/chart46.xml"/><Relationship Id="rId4" Type="http://schemas.openxmlformats.org/officeDocument/2006/relationships/image" Target="../media/image2.emf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2.xml"/><Relationship Id="rId6" Type="http://schemas.openxmlformats.org/officeDocument/2006/relationships/chart" Target="../charts/chart48.xml"/><Relationship Id="rId5" Type="http://schemas.openxmlformats.org/officeDocument/2006/relationships/chart" Target="../charts/chart47.xml"/><Relationship Id="rId4" Type="http://schemas.openxmlformats.org/officeDocument/2006/relationships/image" Target="../media/image2.emf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3.xml"/><Relationship Id="rId5" Type="http://schemas.openxmlformats.org/officeDocument/2006/relationships/chart" Target="../charts/chart49.xml"/><Relationship Id="rId4" Type="http://schemas.openxmlformats.org/officeDocument/2006/relationships/image" Target="../media/image2.emf"/></Relationships>
</file>

<file path=ppt/slides/_rels/slide1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3.xml"/><Relationship Id="rId3" Type="http://schemas.openxmlformats.org/officeDocument/2006/relationships/oleObject" Target="../embeddings/oleObject18.bin"/><Relationship Id="rId7" Type="http://schemas.openxmlformats.org/officeDocument/2006/relationships/chart" Target="../charts/chart5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4.xml"/><Relationship Id="rId6" Type="http://schemas.openxmlformats.org/officeDocument/2006/relationships/chart" Target="../charts/chart51.xml"/><Relationship Id="rId11" Type="http://schemas.openxmlformats.org/officeDocument/2006/relationships/chart" Target="../charts/chart56.xml"/><Relationship Id="rId5" Type="http://schemas.openxmlformats.org/officeDocument/2006/relationships/chart" Target="../charts/chart50.xml"/><Relationship Id="rId10" Type="http://schemas.openxmlformats.org/officeDocument/2006/relationships/chart" Target="../charts/chart55.xml"/><Relationship Id="rId4" Type="http://schemas.openxmlformats.org/officeDocument/2006/relationships/image" Target="../media/image2.emf"/><Relationship Id="rId9" Type="http://schemas.openxmlformats.org/officeDocument/2006/relationships/chart" Target="../charts/chart5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Relationship Id="rId4" Type="http://schemas.openxmlformats.org/officeDocument/2006/relationships/image" Target="../media/image2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5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4" Type="http://schemas.openxmlformats.org/officeDocument/2006/relationships/image" Target="../media/image2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Relationship Id="rId5" Type="http://schemas.openxmlformats.org/officeDocument/2006/relationships/chart" Target="../charts/chart2.xml"/><Relationship Id="rId4" Type="http://schemas.openxmlformats.org/officeDocument/2006/relationships/image" Target="../media/image2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Relationship Id="rId5" Type="http://schemas.openxmlformats.org/officeDocument/2006/relationships/chart" Target="../charts/chart3.xml"/><Relationship Id="rId4" Type="http://schemas.openxmlformats.org/officeDocument/2006/relationships/image" Target="../media/image2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0.xml"/><Relationship Id="rId5" Type="http://schemas.openxmlformats.org/officeDocument/2006/relationships/chart" Target="../charts/chart4.xml"/><Relationship Id="rId4" Type="http://schemas.openxmlformats.org/officeDocument/2006/relationships/image" Target="../media/image2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1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2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2.xml"/><Relationship Id="rId5" Type="http://schemas.openxmlformats.org/officeDocument/2006/relationships/chart" Target="../charts/chart7.xml"/><Relationship Id="rId4" Type="http://schemas.openxmlformats.org/officeDocument/2006/relationships/image" Target="../media/image2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3.xml"/><Relationship Id="rId5" Type="http://schemas.openxmlformats.org/officeDocument/2006/relationships/chart" Target="../charts/chart8.xml"/><Relationship Id="rId4" Type="http://schemas.openxmlformats.org/officeDocument/2006/relationships/image" Target="../media/image2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Relationship Id="rId5" Type="http://schemas.openxmlformats.org/officeDocument/2006/relationships/chart" Target="../charts/chart9.xml"/><Relationship Id="rId4" Type="http://schemas.openxmlformats.org/officeDocument/2006/relationships/image" Target="../media/image2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chart" Target="../charts/chart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5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chart" Target="../charts/chart1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6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image" Target="../media/image2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7.xml"/><Relationship Id="rId5" Type="http://schemas.openxmlformats.org/officeDocument/2006/relationships/chart" Target="../charts/chart16.xml"/><Relationship Id="rId4" Type="http://schemas.openxmlformats.org/officeDocument/2006/relationships/image" Target="../media/image2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8.xml"/><Relationship Id="rId5" Type="http://schemas.openxmlformats.org/officeDocument/2006/relationships/chart" Target="../charts/chart17.xml"/><Relationship Id="rId4" Type="http://schemas.openxmlformats.org/officeDocument/2006/relationships/image" Target="../media/image2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chart" Target="../charts/chart2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9.xml"/><Relationship Id="rId6" Type="http://schemas.openxmlformats.org/officeDocument/2006/relationships/chart" Target="../charts/chart19.xml"/><Relationship Id="rId5" Type="http://schemas.openxmlformats.org/officeDocument/2006/relationships/chart" Target="../charts/chart18.xml"/><Relationship Id="rId4" Type="http://schemas.openxmlformats.org/officeDocument/2006/relationships/image" Target="../media/image2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0.xml"/><Relationship Id="rId5" Type="http://schemas.openxmlformats.org/officeDocument/2006/relationships/chart" Target="../charts/chart21.xml"/><Relationship Id="rId4" Type="http://schemas.openxmlformats.org/officeDocument/2006/relationships/image" Target="../media/image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1.xml"/><Relationship Id="rId5" Type="http://schemas.openxmlformats.org/officeDocument/2006/relationships/chart" Target="../charts/chart22.xml"/><Relationship Id="rId4" Type="http://schemas.openxmlformats.org/officeDocument/2006/relationships/image" Target="../media/image2.emf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6.xml"/><Relationship Id="rId3" Type="http://schemas.openxmlformats.org/officeDocument/2006/relationships/oleObject" Target="../embeddings/oleObject18.bin"/><Relationship Id="rId7" Type="http://schemas.openxmlformats.org/officeDocument/2006/relationships/chart" Target="../charts/chart2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2.xml"/><Relationship Id="rId6" Type="http://schemas.openxmlformats.org/officeDocument/2006/relationships/chart" Target="../charts/chart24.xml"/><Relationship Id="rId5" Type="http://schemas.openxmlformats.org/officeDocument/2006/relationships/chart" Target="../charts/chart23.xml"/><Relationship Id="rId4" Type="http://schemas.openxmlformats.org/officeDocument/2006/relationships/image" Target="../media/image2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3.xml"/><Relationship Id="rId5" Type="http://schemas.openxmlformats.org/officeDocument/2006/relationships/chart" Target="../charts/chart27.xml"/><Relationship Id="rId4" Type="http://schemas.openxmlformats.org/officeDocument/2006/relationships/image" Target="../media/image2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4.xml"/><Relationship Id="rId5" Type="http://schemas.openxmlformats.org/officeDocument/2006/relationships/chart" Target="../charts/chart28.xml"/><Relationship Id="rId4" Type="http://schemas.openxmlformats.org/officeDocument/2006/relationships/image" Target="../media/image2.emf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2.xml"/><Relationship Id="rId3" Type="http://schemas.openxmlformats.org/officeDocument/2006/relationships/oleObject" Target="../embeddings/oleObject18.bin"/><Relationship Id="rId7" Type="http://schemas.openxmlformats.org/officeDocument/2006/relationships/chart" Target="../charts/chart3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5.xml"/><Relationship Id="rId6" Type="http://schemas.openxmlformats.org/officeDocument/2006/relationships/chart" Target="../charts/chart30.xml"/><Relationship Id="rId5" Type="http://schemas.openxmlformats.org/officeDocument/2006/relationships/chart" Target="../charts/chart29.xml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6.xml"/><Relationship Id="rId3" Type="http://schemas.openxmlformats.org/officeDocument/2006/relationships/oleObject" Target="../embeddings/oleObject18.bin"/><Relationship Id="rId7" Type="http://schemas.openxmlformats.org/officeDocument/2006/relationships/chart" Target="../charts/chart35.xml"/><Relationship Id="rId12" Type="http://schemas.openxmlformats.org/officeDocument/2006/relationships/chart" Target="../charts/chart4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6.xml"/><Relationship Id="rId6" Type="http://schemas.openxmlformats.org/officeDocument/2006/relationships/chart" Target="../charts/chart34.xml"/><Relationship Id="rId11" Type="http://schemas.openxmlformats.org/officeDocument/2006/relationships/chart" Target="../charts/chart39.xml"/><Relationship Id="rId5" Type="http://schemas.openxmlformats.org/officeDocument/2006/relationships/chart" Target="../charts/chart33.xml"/><Relationship Id="rId10" Type="http://schemas.openxmlformats.org/officeDocument/2006/relationships/chart" Target="../charts/chart38.xml"/><Relationship Id="rId4" Type="http://schemas.openxmlformats.org/officeDocument/2006/relationships/image" Target="../media/image2.emf"/><Relationship Id="rId9" Type="http://schemas.openxmlformats.org/officeDocument/2006/relationships/chart" Target="../charts/chart3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7.xml"/><Relationship Id="rId6" Type="http://schemas.openxmlformats.org/officeDocument/2006/relationships/chart" Target="../charts/chart42.xml"/><Relationship Id="rId5" Type="http://schemas.openxmlformats.org/officeDocument/2006/relationships/chart" Target="../charts/chart41.xml"/><Relationship Id="rId4" Type="http://schemas.openxmlformats.org/officeDocument/2006/relationships/image" Target="../media/image2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8.xml"/><Relationship Id="rId5" Type="http://schemas.openxmlformats.org/officeDocument/2006/relationships/chart" Target="../charts/chart43.xml"/><Relationship Id="rId4" Type="http://schemas.openxmlformats.org/officeDocument/2006/relationships/image" Target="../media/image2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9.xml"/><Relationship Id="rId4" Type="http://schemas.openxmlformats.org/officeDocument/2006/relationships/image" Target="../media/image2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0.xml"/><Relationship Id="rId5" Type="http://schemas.openxmlformats.org/officeDocument/2006/relationships/chart" Target="../charts/chart44.xml"/><Relationship Id="rId4" Type="http://schemas.openxmlformats.org/officeDocument/2006/relationships/image" Target="../media/image2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1.xml"/><Relationship Id="rId4" Type="http://schemas.openxmlformats.org/officeDocument/2006/relationships/image" Target="../media/image2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2.xml"/><Relationship Id="rId4" Type="http://schemas.openxmlformats.org/officeDocument/2006/relationships/image" Target="../media/image2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3.xml"/><Relationship Id="rId5" Type="http://schemas.openxmlformats.org/officeDocument/2006/relationships/chart" Target="../charts/chart45.xml"/><Relationship Id="rId4" Type="http://schemas.openxmlformats.org/officeDocument/2006/relationships/image" Target="../media/image2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4.xml"/><Relationship Id="rId4" Type="http://schemas.openxmlformats.org/officeDocument/2006/relationships/image" Target="../media/image2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5.xml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6.xml"/><Relationship Id="rId4" Type="http://schemas.openxmlformats.org/officeDocument/2006/relationships/image" Target="../media/image2.emf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6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image" Target="../media/image2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3.xml"/><Relationship Id="rId4" Type="http://schemas.openxmlformats.org/officeDocument/2006/relationships/image" Target="../media/image2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4.xml"/><Relationship Id="rId4" Type="http://schemas.openxmlformats.org/officeDocument/2006/relationships/image" Target="../media/image2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5.xml"/><Relationship Id="rId4" Type="http://schemas.openxmlformats.org/officeDocument/2006/relationships/image" Target="../media/image2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6.xml"/><Relationship Id="rId4" Type="http://schemas.openxmlformats.org/officeDocument/2006/relationships/image" Target="../media/image2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7.xml"/><Relationship Id="rId4" Type="http://schemas.openxmlformats.org/officeDocument/2006/relationships/image" Target="../media/image2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8.xml"/><Relationship Id="rId4" Type="http://schemas.openxmlformats.org/officeDocument/2006/relationships/image" Target="../media/image2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9.xml"/><Relationship Id="rId4" Type="http://schemas.openxmlformats.org/officeDocument/2006/relationships/image" Target="../media/image2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0.xml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1.xml"/><Relationship Id="rId4" Type="http://schemas.openxmlformats.org/officeDocument/2006/relationships/image" Target="../media/image2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2.xml"/><Relationship Id="rId4" Type="http://schemas.openxmlformats.org/officeDocument/2006/relationships/image" Target="../media/image2.emf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87.xml"/><Relationship Id="rId4" Type="http://schemas.openxmlformats.org/officeDocument/2006/relationships/tags" Target="../tags/tag86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90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5" Type="http://schemas.openxmlformats.org/officeDocument/2006/relationships/tags" Target="../tags/tag92.xml"/><Relationship Id="rId4" Type="http://schemas.openxmlformats.org/officeDocument/2006/relationships/tags" Target="../tags/tag91.xml"/><Relationship Id="rId9" Type="http://schemas.openxmlformats.org/officeDocument/2006/relationships/image" Target="../media/image2.emf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image" Target="../media/image2.emf"/><Relationship Id="rId4" Type="http://schemas.openxmlformats.org/officeDocument/2006/relationships/tags" Target="../tags/tag97.xml"/><Relationship Id="rId9" Type="http://schemas.openxmlformats.org/officeDocument/2006/relationships/oleObject" Target="../embeddings/oleObject34.bin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1.xml"/><Relationship Id="rId4" Type="http://schemas.openxmlformats.org/officeDocument/2006/relationships/image" Target="../media/image2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2.xml"/><Relationship Id="rId4" Type="http://schemas.openxmlformats.org/officeDocument/2006/relationships/image" Target="../media/image2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3.xml"/><Relationship Id="rId4" Type="http://schemas.openxmlformats.org/officeDocument/2006/relationships/image" Target="../media/image2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4.xml"/><Relationship Id="rId4" Type="http://schemas.openxmlformats.org/officeDocument/2006/relationships/image" Target="../media/image2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5.xml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6.xml"/><Relationship Id="rId4" Type="http://schemas.openxmlformats.org/officeDocument/2006/relationships/image" Target="../media/image2.emf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7.xml"/><Relationship Id="rId4" Type="http://schemas.openxmlformats.org/officeDocument/2006/relationships/image" Target="../media/image2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8.xml"/><Relationship Id="rId4" Type="http://schemas.openxmlformats.org/officeDocument/2006/relationships/image" Target="../media/image2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9.xml"/><Relationship Id="rId4" Type="http://schemas.openxmlformats.org/officeDocument/2006/relationships/image" Target="../media/image2.emf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0.xml"/><Relationship Id="rId4" Type="http://schemas.openxmlformats.org/officeDocument/2006/relationships/image" Target="../media/image2.emf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1.xml"/><Relationship Id="rId4" Type="http://schemas.openxmlformats.org/officeDocument/2006/relationships/image" Target="../media/image2.emf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2.xml"/><Relationship Id="rId4" Type="http://schemas.openxmlformats.org/officeDocument/2006/relationships/image" Target="../media/image2.emf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4" Type="http://schemas.openxmlformats.org/officeDocument/2006/relationships/image" Target="../media/image2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4.xml"/><Relationship Id="rId4" Type="http://schemas.openxmlformats.org/officeDocument/2006/relationships/image" Target="../media/image2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5.xml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6.xml"/><Relationship Id="rId4" Type="http://schemas.openxmlformats.org/officeDocument/2006/relationships/image" Target="../media/image2.emf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11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2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3.xml"/><Relationship Id="rId4" Type="http://schemas.openxmlformats.org/officeDocument/2006/relationships/image" Target="../media/image2.emf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4.xml"/><Relationship Id="rId4" Type="http://schemas.openxmlformats.org/officeDocument/2006/relationships/image" Target="../media/image2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5.xml"/><Relationship Id="rId4" Type="http://schemas.openxmlformats.org/officeDocument/2006/relationships/image" Target="../media/image2.emf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6.xml"/><Relationship Id="rId4" Type="http://schemas.openxmlformats.org/officeDocument/2006/relationships/image" Target="../media/image2.emf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7.xml"/><Relationship Id="rId4" Type="http://schemas.openxmlformats.org/officeDocument/2006/relationships/image" Target="../media/image2.emf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8.xml"/><Relationship Id="rId4" Type="http://schemas.openxmlformats.org/officeDocument/2006/relationships/image" Target="../media/image2.emf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9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0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8E3221-1199-4559-887A-81BFEE9ED6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8266C76-0FB3-315C-8137-B1F693131F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204D62-009B-05D3-0C18-C1A129DB1B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B4FA1B2-6F0A-E84A-6BFB-57AA19577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to use this template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A91C4ECE-67FC-1F3A-3638-F5DA91BF1D7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15FC7A-EC7C-D05A-A5CB-D96FD519F1BB}"/>
              </a:ext>
            </a:extLst>
          </p:cNvPr>
          <p:cNvSpPr txBox="1"/>
          <p:nvPr/>
        </p:nvSpPr>
        <p:spPr>
          <a:xfrm>
            <a:off x="609600" y="1633165"/>
            <a:ext cx="7203311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dirty="0"/>
              <a:t>This template is designed for flexibility — customize it to suit your business needs while maintaining the clean, structured design for clarity and consistency.</a:t>
            </a:r>
          </a:p>
        </p:txBody>
      </p:sp>
      <p:sp>
        <p:nvSpPr>
          <p:cNvPr id="38" name="Rectangle: Rounded Corners 19">
            <a:extLst>
              <a:ext uri="{FF2B5EF4-FFF2-40B4-BE49-F238E27FC236}">
                <a16:creationId xmlns:a16="http://schemas.microsoft.com/office/drawing/2014/main" id="{81197C60-B976-BB19-2BF9-90803BD8C38D}"/>
              </a:ext>
            </a:extLst>
          </p:cNvPr>
          <p:cNvSpPr/>
          <p:nvPr/>
        </p:nvSpPr>
        <p:spPr>
          <a:xfrm>
            <a:off x="609600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/>
              <a:t>Click on any text box to enter your own titles, subtitles, and content. Follow the existing formatting for a consistent, professional look.</a:t>
            </a:r>
          </a:p>
        </p:txBody>
      </p:sp>
      <p:sp>
        <p:nvSpPr>
          <p:cNvPr id="39" name="Rectangle: Rounded Corners 20">
            <a:extLst>
              <a:ext uri="{FF2B5EF4-FFF2-40B4-BE49-F238E27FC236}">
                <a16:creationId xmlns:a16="http://schemas.microsoft.com/office/drawing/2014/main" id="{AFDE038D-D3B7-B5B8-6AC4-E78DD856EC87}"/>
              </a:ext>
            </a:extLst>
          </p:cNvPr>
          <p:cNvSpPr/>
          <p:nvPr/>
        </p:nvSpPr>
        <p:spPr>
          <a:xfrm>
            <a:off x="2834222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/>
              <a:t>Right-click on any chart, select </a:t>
            </a:r>
            <a:r>
              <a:rPr lang="en-US" sz="1200" i="1" dirty="0"/>
              <a:t>Edit Data</a:t>
            </a:r>
            <a:r>
              <a:rPr lang="en-US" sz="1200" dirty="0"/>
              <a:t>, and input your actual figures in the linked Excel sheet. The charts will update automatically.</a:t>
            </a:r>
          </a:p>
        </p:txBody>
      </p:sp>
      <p:sp>
        <p:nvSpPr>
          <p:cNvPr id="40" name="Rectangle: Rounded Corners 21">
            <a:extLst>
              <a:ext uri="{FF2B5EF4-FFF2-40B4-BE49-F238E27FC236}">
                <a16:creationId xmlns:a16="http://schemas.microsoft.com/office/drawing/2014/main" id="{326F8A05-6F82-2135-37F0-55D658DA8B44}"/>
              </a:ext>
            </a:extLst>
          </p:cNvPr>
          <p:cNvSpPr/>
          <p:nvPr/>
        </p:nvSpPr>
        <p:spPr>
          <a:xfrm>
            <a:off x="5058845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/>
              <a:t>Click on any image placeholder, choose </a:t>
            </a:r>
            <a:r>
              <a:rPr lang="en-US" sz="1200" i="1" dirty="0"/>
              <a:t>Change Picture</a:t>
            </a:r>
            <a:r>
              <a:rPr lang="en-US" sz="1200" dirty="0"/>
              <a:t>, and insert your own visuals. Use high-resolution, relevant images for maximum impact.</a:t>
            </a:r>
          </a:p>
        </p:txBody>
      </p:sp>
      <p:sp>
        <p:nvSpPr>
          <p:cNvPr id="41" name="Rectangle: Rounded Corners 22">
            <a:extLst>
              <a:ext uri="{FF2B5EF4-FFF2-40B4-BE49-F238E27FC236}">
                <a16:creationId xmlns:a16="http://schemas.microsoft.com/office/drawing/2014/main" id="{EDEA2AEC-938D-4D37-DAD2-8AFCB4845683}"/>
              </a:ext>
            </a:extLst>
          </p:cNvPr>
          <p:cNvSpPr/>
          <p:nvPr/>
        </p:nvSpPr>
        <p:spPr>
          <a:xfrm>
            <a:off x="7283467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/>
              <a:t>If needed, adjust accent colors or fonts via the </a:t>
            </a:r>
            <a:r>
              <a:rPr lang="en-US" sz="1200" i="1" dirty="0"/>
              <a:t>Design</a:t>
            </a:r>
            <a:r>
              <a:rPr lang="en-US" sz="1200" dirty="0"/>
              <a:t> or </a:t>
            </a:r>
            <a:r>
              <a:rPr lang="en-US" sz="1200" i="1" dirty="0"/>
              <a:t>View &gt; Slide Master</a:t>
            </a:r>
            <a:r>
              <a:rPr lang="en-US" sz="1200" dirty="0"/>
              <a:t> tab to match your brand guidelines.</a:t>
            </a:r>
          </a:p>
        </p:txBody>
      </p:sp>
      <p:sp>
        <p:nvSpPr>
          <p:cNvPr id="42" name="Rectangle: Rounded Corners 23">
            <a:extLst>
              <a:ext uri="{FF2B5EF4-FFF2-40B4-BE49-F238E27FC236}">
                <a16:creationId xmlns:a16="http://schemas.microsoft.com/office/drawing/2014/main" id="{9E9AF51B-E02E-6C5D-0756-378CDB7E15EB}"/>
              </a:ext>
            </a:extLst>
          </p:cNvPr>
          <p:cNvSpPr/>
          <p:nvPr/>
        </p:nvSpPr>
        <p:spPr>
          <a:xfrm>
            <a:off x="9508090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/>
              <a:t>Add new sections or remove slides that aren’t relevant by right-clicking in the slide sorter view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1FCDE4E-24AA-AFA9-736A-3D6CC9513FFA}"/>
              </a:ext>
            </a:extLst>
          </p:cNvPr>
          <p:cNvSpPr txBox="1"/>
          <p:nvPr/>
        </p:nvSpPr>
        <p:spPr>
          <a:xfrm>
            <a:off x="609599" y="3342179"/>
            <a:ext cx="2074309" cy="584775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Replace Placeholder tex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7C725A7-5B9A-FD7F-9AD0-01242A87FE50}"/>
              </a:ext>
            </a:extLst>
          </p:cNvPr>
          <p:cNvSpPr txBox="1"/>
          <p:nvPr/>
        </p:nvSpPr>
        <p:spPr>
          <a:xfrm>
            <a:off x="2834220" y="3342179"/>
            <a:ext cx="2074309" cy="584775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Update Data in Chart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ADAD050-3D9B-3242-54CE-0DB2C269008D}"/>
              </a:ext>
            </a:extLst>
          </p:cNvPr>
          <p:cNvSpPr txBox="1"/>
          <p:nvPr/>
        </p:nvSpPr>
        <p:spPr>
          <a:xfrm>
            <a:off x="5058839" y="3342179"/>
            <a:ext cx="2074309" cy="338554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Swap Out Ima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F9B7432-F20C-48A5-132E-695E7E952313}"/>
              </a:ext>
            </a:extLst>
          </p:cNvPr>
          <p:cNvSpPr txBox="1"/>
          <p:nvPr/>
        </p:nvSpPr>
        <p:spPr>
          <a:xfrm>
            <a:off x="7283468" y="3342179"/>
            <a:ext cx="2074309" cy="584775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Adjust Colors and Styl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2D37916-8B9F-19B3-CCDD-C19762EC8C4D}"/>
              </a:ext>
            </a:extLst>
          </p:cNvPr>
          <p:cNvSpPr txBox="1"/>
          <p:nvPr/>
        </p:nvSpPr>
        <p:spPr>
          <a:xfrm>
            <a:off x="9508091" y="3342179"/>
            <a:ext cx="2074309" cy="584775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Duplicate or Remove Slid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2DEFB1B-31F5-59B8-ACBB-CC23420C40D8}"/>
              </a:ext>
            </a:extLst>
          </p:cNvPr>
          <p:cNvSpPr txBox="1"/>
          <p:nvPr/>
        </p:nvSpPr>
        <p:spPr>
          <a:xfrm>
            <a:off x="609600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1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6F882FB-6DA0-9989-0073-D7F828ACF95C}"/>
              </a:ext>
            </a:extLst>
          </p:cNvPr>
          <p:cNvSpPr txBox="1"/>
          <p:nvPr/>
        </p:nvSpPr>
        <p:spPr>
          <a:xfrm>
            <a:off x="2834213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2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B891F3B-1576-2F50-2C81-B2736F3CE3B6}"/>
              </a:ext>
            </a:extLst>
          </p:cNvPr>
          <p:cNvSpPr txBox="1"/>
          <p:nvPr/>
        </p:nvSpPr>
        <p:spPr>
          <a:xfrm>
            <a:off x="5058832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3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DBD2FF5-E44E-5DF3-1F91-9FE2CC175878}"/>
              </a:ext>
            </a:extLst>
          </p:cNvPr>
          <p:cNvSpPr txBox="1"/>
          <p:nvPr/>
        </p:nvSpPr>
        <p:spPr>
          <a:xfrm>
            <a:off x="7283455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4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BEE9CE7-13BD-0C16-3FFB-304F13061EF5}"/>
              </a:ext>
            </a:extLst>
          </p:cNvPr>
          <p:cNvSpPr txBox="1"/>
          <p:nvPr/>
        </p:nvSpPr>
        <p:spPr>
          <a:xfrm>
            <a:off x="9508089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5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B26AE2-27E4-4AE8-3E37-CD11E890097A}"/>
              </a:ext>
            </a:extLst>
          </p:cNvPr>
          <p:cNvSpPr txBox="1"/>
          <p:nvPr/>
        </p:nvSpPr>
        <p:spPr>
          <a:xfrm>
            <a:off x="8406347" y="103374"/>
            <a:ext cx="3673824" cy="22256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100" dirty="0"/>
              <a:t>What could make this template better? Please tell us </a:t>
            </a:r>
            <a:r>
              <a:rPr lang="en-US" sz="1100" dirty="0">
                <a:hlinkClick r:id="rId5"/>
              </a:rPr>
              <a:t>here</a:t>
            </a:r>
            <a:r>
              <a:rPr lang="en-US" sz="11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248627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8979A7-1CE7-7D25-B288-CB4ABBFFB5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8463307-105C-5B12-CE10-63519D3F94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463307-105C-5B12-CE10-63519D3F9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0D680B-C5C1-5E69-C2E2-BA09C6CFA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34EAB1A-BFF3-5CF8-309F-69AAC60187A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1" name="Google Shape;1178;g6b2a921a3a_2_763">
            <a:extLst>
              <a:ext uri="{FF2B5EF4-FFF2-40B4-BE49-F238E27FC236}">
                <a16:creationId xmlns:a16="http://schemas.microsoft.com/office/drawing/2014/main" id="{B772EFC5-502F-5F20-3DFC-0C38687698EC}"/>
              </a:ext>
            </a:extLst>
          </p:cNvPr>
          <p:cNvSpPr txBox="1"/>
          <p:nvPr/>
        </p:nvSpPr>
        <p:spPr>
          <a:xfrm>
            <a:off x="549930" y="1067489"/>
            <a:ext cx="25632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2" name="Google Shape;1185;g6b2a921a3a_2_763">
            <a:extLst>
              <a:ext uri="{FF2B5EF4-FFF2-40B4-BE49-F238E27FC236}">
                <a16:creationId xmlns:a16="http://schemas.microsoft.com/office/drawing/2014/main" id="{F8033770-7DF3-07CB-D81E-C70124306B91}"/>
              </a:ext>
            </a:extLst>
          </p:cNvPr>
          <p:cNvSpPr txBox="1"/>
          <p:nvPr/>
        </p:nvSpPr>
        <p:spPr>
          <a:xfrm>
            <a:off x="537213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3" name="Google Shape;1188;g6b2a921a3a_2_763">
            <a:extLst>
              <a:ext uri="{FF2B5EF4-FFF2-40B4-BE49-F238E27FC236}">
                <a16:creationId xmlns:a16="http://schemas.microsoft.com/office/drawing/2014/main" id="{F7298603-5114-8E6E-424D-6BBF745E1C67}"/>
              </a:ext>
            </a:extLst>
          </p:cNvPr>
          <p:cNvSpPr txBox="1"/>
          <p:nvPr/>
        </p:nvSpPr>
        <p:spPr>
          <a:xfrm>
            <a:off x="751362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4" name="Google Shape;1191;g6b2a921a3a_2_763">
            <a:extLst>
              <a:ext uri="{FF2B5EF4-FFF2-40B4-BE49-F238E27FC236}">
                <a16:creationId xmlns:a16="http://schemas.microsoft.com/office/drawing/2014/main" id="{7AD4CCB4-3092-2F94-D7CA-26A800E3F8DA}"/>
              </a:ext>
            </a:extLst>
          </p:cNvPr>
          <p:cNvSpPr txBox="1"/>
          <p:nvPr/>
        </p:nvSpPr>
        <p:spPr>
          <a:xfrm>
            <a:off x="9655114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5" name="Google Shape;1199;g6b2a921a3a_2_763">
            <a:extLst>
              <a:ext uri="{FF2B5EF4-FFF2-40B4-BE49-F238E27FC236}">
                <a16:creationId xmlns:a16="http://schemas.microsoft.com/office/drawing/2014/main" id="{A51EA97A-C05E-C15D-CA81-B6D19390A7B5}"/>
              </a:ext>
            </a:extLst>
          </p:cNvPr>
          <p:cNvSpPr txBox="1"/>
          <p:nvPr/>
        </p:nvSpPr>
        <p:spPr>
          <a:xfrm>
            <a:off x="3230645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76" name="Shape1_20210513_112140">
            <a:extLst>
              <a:ext uri="{FF2B5EF4-FFF2-40B4-BE49-F238E27FC236}">
                <a16:creationId xmlns:a16="http://schemas.microsoft.com/office/drawing/2014/main" id="{F80A8C43-3919-49A6-AA98-D76E8775B56F}"/>
              </a:ext>
            </a:extLst>
          </p:cNvPr>
          <p:cNvCxnSpPr/>
          <p:nvPr/>
        </p:nvCxnSpPr>
        <p:spPr>
          <a:xfrm>
            <a:off x="3230641" y="2952140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7" name="Shape2_20210513_112140">
            <a:extLst>
              <a:ext uri="{FF2B5EF4-FFF2-40B4-BE49-F238E27FC236}">
                <a16:creationId xmlns:a16="http://schemas.microsoft.com/office/drawing/2014/main" id="{4211B6E3-F242-6B05-BFF4-447A8CC86CF0}"/>
              </a:ext>
            </a:extLst>
          </p:cNvPr>
          <p:cNvCxnSpPr/>
          <p:nvPr/>
        </p:nvCxnSpPr>
        <p:spPr>
          <a:xfrm>
            <a:off x="3230641" y="44272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8" name="Google Shape;1179;g6b2a921a3a_2_763">
            <a:extLst>
              <a:ext uri="{FF2B5EF4-FFF2-40B4-BE49-F238E27FC236}">
                <a16:creationId xmlns:a16="http://schemas.microsoft.com/office/drawing/2014/main" id="{F0211D3C-8097-77C7-4F06-B37D1FAC4956}"/>
              </a:ext>
            </a:extLst>
          </p:cNvPr>
          <p:cNvSpPr txBox="1"/>
          <p:nvPr/>
        </p:nvSpPr>
        <p:spPr>
          <a:xfrm>
            <a:off x="549928" y="1602618"/>
            <a:ext cx="2563270" cy="1245025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79" name="Content Placeholder 2">
            <a:extLst>
              <a:ext uri="{FF2B5EF4-FFF2-40B4-BE49-F238E27FC236}">
                <a16:creationId xmlns:a16="http://schemas.microsoft.com/office/drawing/2014/main" id="{FAE761F1-DEFC-4DD1-4A96-7829F8B014D0}"/>
              </a:ext>
            </a:extLst>
          </p:cNvPr>
          <p:cNvSpPr txBox="1">
            <a:spLocks/>
          </p:cNvSpPr>
          <p:nvPr/>
        </p:nvSpPr>
        <p:spPr bwMode="auto">
          <a:xfrm>
            <a:off x="3230644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0" name="Content Placeholder 2~1">
            <a:extLst>
              <a:ext uri="{FF2B5EF4-FFF2-40B4-BE49-F238E27FC236}">
                <a16:creationId xmlns:a16="http://schemas.microsoft.com/office/drawing/2014/main" id="{6C92F3D4-49D5-E587-5A96-0FDF276FF136}"/>
              </a:ext>
            </a:extLst>
          </p:cNvPr>
          <p:cNvSpPr txBox="1">
            <a:spLocks/>
          </p:cNvSpPr>
          <p:nvPr/>
        </p:nvSpPr>
        <p:spPr bwMode="auto">
          <a:xfrm>
            <a:off x="5372133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1" name="Content Placeholder 2~2">
            <a:extLst>
              <a:ext uri="{FF2B5EF4-FFF2-40B4-BE49-F238E27FC236}">
                <a16:creationId xmlns:a16="http://schemas.microsoft.com/office/drawing/2014/main" id="{6C1C709D-D30C-B14F-79A8-17A7CB6FAB7E}"/>
              </a:ext>
            </a:extLst>
          </p:cNvPr>
          <p:cNvSpPr txBox="1">
            <a:spLocks/>
          </p:cNvSpPr>
          <p:nvPr/>
        </p:nvSpPr>
        <p:spPr bwMode="auto">
          <a:xfrm>
            <a:off x="7511136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2" name="Content Placeholder 2~3">
            <a:extLst>
              <a:ext uri="{FF2B5EF4-FFF2-40B4-BE49-F238E27FC236}">
                <a16:creationId xmlns:a16="http://schemas.microsoft.com/office/drawing/2014/main" id="{34DAF421-1F06-C416-9BDF-957205D13690}"/>
              </a:ext>
            </a:extLst>
          </p:cNvPr>
          <p:cNvSpPr txBox="1">
            <a:spLocks/>
          </p:cNvSpPr>
          <p:nvPr/>
        </p:nvSpPr>
        <p:spPr bwMode="auto">
          <a:xfrm>
            <a:off x="9650137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3" name="Google Shape;1180;g6b2a921a3a_2_763">
            <a:extLst>
              <a:ext uri="{FF2B5EF4-FFF2-40B4-BE49-F238E27FC236}">
                <a16:creationId xmlns:a16="http://schemas.microsoft.com/office/drawing/2014/main" id="{D2482282-27A2-1985-9791-4ECB3B432B13}"/>
              </a:ext>
            </a:extLst>
          </p:cNvPr>
          <p:cNvSpPr txBox="1"/>
          <p:nvPr/>
        </p:nvSpPr>
        <p:spPr>
          <a:xfrm>
            <a:off x="549928" y="3077683"/>
            <a:ext cx="2563270" cy="1245025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84" name="Content Placeholder 2~4">
            <a:extLst>
              <a:ext uri="{FF2B5EF4-FFF2-40B4-BE49-F238E27FC236}">
                <a16:creationId xmlns:a16="http://schemas.microsoft.com/office/drawing/2014/main" id="{F32281A0-E779-DF6B-D7C1-6627DEA57996}"/>
              </a:ext>
            </a:extLst>
          </p:cNvPr>
          <p:cNvSpPr txBox="1">
            <a:spLocks/>
          </p:cNvSpPr>
          <p:nvPr/>
        </p:nvSpPr>
        <p:spPr bwMode="auto">
          <a:xfrm>
            <a:off x="3230644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5" name="Content Placeholder 2~5">
            <a:extLst>
              <a:ext uri="{FF2B5EF4-FFF2-40B4-BE49-F238E27FC236}">
                <a16:creationId xmlns:a16="http://schemas.microsoft.com/office/drawing/2014/main" id="{98937D85-23F8-AE34-8524-377737558197}"/>
              </a:ext>
            </a:extLst>
          </p:cNvPr>
          <p:cNvSpPr txBox="1">
            <a:spLocks/>
          </p:cNvSpPr>
          <p:nvPr/>
        </p:nvSpPr>
        <p:spPr bwMode="auto">
          <a:xfrm>
            <a:off x="5372133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6" name="Content Placeholder 2~6">
            <a:extLst>
              <a:ext uri="{FF2B5EF4-FFF2-40B4-BE49-F238E27FC236}">
                <a16:creationId xmlns:a16="http://schemas.microsoft.com/office/drawing/2014/main" id="{8BCDA8F2-DC5E-824D-2168-407AE923D6FC}"/>
              </a:ext>
            </a:extLst>
          </p:cNvPr>
          <p:cNvSpPr txBox="1">
            <a:spLocks/>
          </p:cNvSpPr>
          <p:nvPr/>
        </p:nvSpPr>
        <p:spPr bwMode="auto">
          <a:xfrm>
            <a:off x="7511136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7" name="Content Placeholder 2~7">
            <a:extLst>
              <a:ext uri="{FF2B5EF4-FFF2-40B4-BE49-F238E27FC236}">
                <a16:creationId xmlns:a16="http://schemas.microsoft.com/office/drawing/2014/main" id="{E49EBD55-8E8D-1B3B-8361-7ABFF15663C7}"/>
              </a:ext>
            </a:extLst>
          </p:cNvPr>
          <p:cNvSpPr txBox="1">
            <a:spLocks/>
          </p:cNvSpPr>
          <p:nvPr/>
        </p:nvSpPr>
        <p:spPr bwMode="auto">
          <a:xfrm>
            <a:off x="9650137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8" name="Google Shape;1181;g6b2a921a3a_2_763">
            <a:extLst>
              <a:ext uri="{FF2B5EF4-FFF2-40B4-BE49-F238E27FC236}">
                <a16:creationId xmlns:a16="http://schemas.microsoft.com/office/drawing/2014/main" id="{EE35059D-7368-D020-D70D-D1AAF97D6F92}"/>
              </a:ext>
            </a:extLst>
          </p:cNvPr>
          <p:cNvSpPr txBox="1"/>
          <p:nvPr/>
        </p:nvSpPr>
        <p:spPr>
          <a:xfrm>
            <a:off x="549928" y="4552746"/>
            <a:ext cx="2563270" cy="1245025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89" name="Content Placeholder 2~8">
            <a:extLst>
              <a:ext uri="{FF2B5EF4-FFF2-40B4-BE49-F238E27FC236}">
                <a16:creationId xmlns:a16="http://schemas.microsoft.com/office/drawing/2014/main" id="{7FA3D511-6E4E-FF96-6D74-7908CECBDC05}"/>
              </a:ext>
            </a:extLst>
          </p:cNvPr>
          <p:cNvSpPr txBox="1">
            <a:spLocks/>
          </p:cNvSpPr>
          <p:nvPr/>
        </p:nvSpPr>
        <p:spPr bwMode="auto">
          <a:xfrm>
            <a:off x="3230644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0" name="Content Placeholder 2~9">
            <a:extLst>
              <a:ext uri="{FF2B5EF4-FFF2-40B4-BE49-F238E27FC236}">
                <a16:creationId xmlns:a16="http://schemas.microsoft.com/office/drawing/2014/main" id="{AB2B8BD3-1212-56BC-A7C5-635C5436C655}"/>
              </a:ext>
            </a:extLst>
          </p:cNvPr>
          <p:cNvSpPr txBox="1">
            <a:spLocks/>
          </p:cNvSpPr>
          <p:nvPr/>
        </p:nvSpPr>
        <p:spPr bwMode="auto">
          <a:xfrm>
            <a:off x="5372133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1" name="Content Placeholder 2~10">
            <a:extLst>
              <a:ext uri="{FF2B5EF4-FFF2-40B4-BE49-F238E27FC236}">
                <a16:creationId xmlns:a16="http://schemas.microsoft.com/office/drawing/2014/main" id="{BC386A87-1E25-0646-14DC-E679BC1513EB}"/>
              </a:ext>
            </a:extLst>
          </p:cNvPr>
          <p:cNvSpPr txBox="1">
            <a:spLocks/>
          </p:cNvSpPr>
          <p:nvPr/>
        </p:nvSpPr>
        <p:spPr bwMode="auto">
          <a:xfrm>
            <a:off x="7511136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2" name="Content Placeholder 2~11">
            <a:extLst>
              <a:ext uri="{FF2B5EF4-FFF2-40B4-BE49-F238E27FC236}">
                <a16:creationId xmlns:a16="http://schemas.microsoft.com/office/drawing/2014/main" id="{1E4FFF23-E9A6-F003-25B5-3EE2294C88F3}"/>
              </a:ext>
            </a:extLst>
          </p:cNvPr>
          <p:cNvSpPr txBox="1">
            <a:spLocks/>
          </p:cNvSpPr>
          <p:nvPr/>
        </p:nvSpPr>
        <p:spPr bwMode="auto">
          <a:xfrm>
            <a:off x="9650137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cxnSp>
        <p:nvCxnSpPr>
          <p:cNvPr id="93" name="Google Shape;1186;g6b2a921a3a_2_763">
            <a:extLst>
              <a:ext uri="{FF2B5EF4-FFF2-40B4-BE49-F238E27FC236}">
                <a16:creationId xmlns:a16="http://schemas.microsoft.com/office/drawing/2014/main" id="{F4450B0A-F4B6-AC6B-DF14-8E41CC18D1F4}"/>
              </a:ext>
            </a:extLst>
          </p:cNvPr>
          <p:cNvCxnSpPr/>
          <p:nvPr/>
        </p:nvCxnSpPr>
        <p:spPr>
          <a:xfrm>
            <a:off x="537213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4" name="Google Shape;1189;g6b2a921a3a_2_763">
            <a:extLst>
              <a:ext uri="{FF2B5EF4-FFF2-40B4-BE49-F238E27FC236}">
                <a16:creationId xmlns:a16="http://schemas.microsoft.com/office/drawing/2014/main" id="{7D9C2539-1BAB-E652-DC3B-FF9D4C30087D}"/>
              </a:ext>
            </a:extLst>
          </p:cNvPr>
          <p:cNvCxnSpPr/>
          <p:nvPr/>
        </p:nvCxnSpPr>
        <p:spPr>
          <a:xfrm>
            <a:off x="751362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" name="Google Shape;1192;g6b2a921a3a_2_763">
            <a:extLst>
              <a:ext uri="{FF2B5EF4-FFF2-40B4-BE49-F238E27FC236}">
                <a16:creationId xmlns:a16="http://schemas.microsoft.com/office/drawing/2014/main" id="{6A5AFC82-45BE-B946-2828-333DCDA169F2}"/>
              </a:ext>
            </a:extLst>
          </p:cNvPr>
          <p:cNvCxnSpPr/>
          <p:nvPr/>
        </p:nvCxnSpPr>
        <p:spPr>
          <a:xfrm>
            <a:off x="965511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6" name="Google Shape;1200;g6b2a921a3a_2_763">
            <a:extLst>
              <a:ext uri="{FF2B5EF4-FFF2-40B4-BE49-F238E27FC236}">
                <a16:creationId xmlns:a16="http://schemas.microsoft.com/office/drawing/2014/main" id="{5D5FB7BF-0B18-9A6E-8A5F-FE5A5CCCB984}"/>
              </a:ext>
            </a:extLst>
          </p:cNvPr>
          <p:cNvCxnSpPr/>
          <p:nvPr/>
        </p:nvCxnSpPr>
        <p:spPr>
          <a:xfrm>
            <a:off x="3230644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081023204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AF71E23-9F27-4CEA-1AFF-86A958932D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F71E23-9F27-4CEA-1AFF-86A958932D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12827DB-898D-4E2B-A23E-278228D172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1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88FFCEA-EC10-4E49-839B-4B8EF4139F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WOT </a:t>
            </a:r>
          </a:p>
        </p:txBody>
      </p:sp>
    </p:spTree>
    <p:extLst>
      <p:ext uri="{BB962C8B-B14F-4D97-AF65-F5344CB8AC3E}">
        <p14:creationId xmlns:p14="http://schemas.microsoft.com/office/powerpoint/2010/main" val="2344692429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E674B39-446F-EDC4-45EE-73333C860E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674B39-446F-EDC4-45EE-73333C860E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09B5BA7-BCBB-BB66-4481-1FA18072D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33" name="Google Shape;1997;p32">
            <a:extLst>
              <a:ext uri="{FF2B5EF4-FFF2-40B4-BE49-F238E27FC236}">
                <a16:creationId xmlns:a16="http://schemas.microsoft.com/office/drawing/2014/main" id="{724B62EA-8230-6F7D-3DF1-53C437FD93CE}"/>
              </a:ext>
            </a:extLst>
          </p:cNvPr>
          <p:cNvSpPr/>
          <p:nvPr/>
        </p:nvSpPr>
        <p:spPr>
          <a:xfrm>
            <a:off x="465019" y="898506"/>
            <a:ext cx="11261963" cy="5555294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600">
              <a:solidFill>
                <a:schemeClr val="lt1"/>
              </a:solidFill>
              <a:cs typeface="Arial"/>
              <a:sym typeface="Arial"/>
            </a:endParaRPr>
          </a:p>
        </p:txBody>
      </p:sp>
      <p:sp>
        <p:nvSpPr>
          <p:cNvPr id="34" name="Google Shape;1998;p32">
            <a:extLst>
              <a:ext uri="{FF2B5EF4-FFF2-40B4-BE49-F238E27FC236}">
                <a16:creationId xmlns:a16="http://schemas.microsoft.com/office/drawing/2014/main" id="{662B82F9-5A7A-1466-F39D-3CFD60A257C5}"/>
              </a:ext>
            </a:extLst>
          </p:cNvPr>
          <p:cNvSpPr txBox="1"/>
          <p:nvPr/>
        </p:nvSpPr>
        <p:spPr>
          <a:xfrm>
            <a:off x="661210" y="1027029"/>
            <a:ext cx="181147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1"/>
                </a:solidFill>
                <a:ea typeface="Arial"/>
                <a:cs typeface="Arial"/>
                <a:sym typeface="Arial"/>
              </a:rPr>
              <a:t>STRENGTHS</a:t>
            </a:r>
            <a:endParaRPr sz="1600" dirty="0"/>
          </a:p>
        </p:txBody>
      </p:sp>
      <p:sp>
        <p:nvSpPr>
          <p:cNvPr id="35" name="Google Shape;1999;p32">
            <a:extLst>
              <a:ext uri="{FF2B5EF4-FFF2-40B4-BE49-F238E27FC236}">
                <a16:creationId xmlns:a16="http://schemas.microsoft.com/office/drawing/2014/main" id="{61FD0118-5829-A4F1-AEAD-D11C4FF7B4B9}"/>
              </a:ext>
            </a:extLst>
          </p:cNvPr>
          <p:cNvSpPr txBox="1"/>
          <p:nvPr/>
        </p:nvSpPr>
        <p:spPr>
          <a:xfrm>
            <a:off x="9186471" y="1027029"/>
            <a:ext cx="23500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2"/>
                </a:solidFill>
                <a:ea typeface="Arial"/>
                <a:cs typeface="Arial"/>
                <a:sym typeface="Arial"/>
              </a:rPr>
              <a:t>WEAKNESSES</a:t>
            </a:r>
            <a:endParaRPr sz="1600" dirty="0"/>
          </a:p>
        </p:txBody>
      </p:sp>
      <p:sp>
        <p:nvSpPr>
          <p:cNvPr id="36" name="Google Shape;2000;p32">
            <a:extLst>
              <a:ext uri="{FF2B5EF4-FFF2-40B4-BE49-F238E27FC236}">
                <a16:creationId xmlns:a16="http://schemas.microsoft.com/office/drawing/2014/main" id="{CF6FF110-1A03-674A-8DFA-208D8B4ADA1C}"/>
              </a:ext>
            </a:extLst>
          </p:cNvPr>
          <p:cNvSpPr txBox="1"/>
          <p:nvPr/>
        </p:nvSpPr>
        <p:spPr>
          <a:xfrm>
            <a:off x="661210" y="3779567"/>
            <a:ext cx="1668774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i="0" u="none" strike="noStrike" dirty="0">
                <a:solidFill>
                  <a:schemeClr val="accent5"/>
                </a:solidFill>
                <a:ea typeface="Arial"/>
                <a:cs typeface="Arial"/>
                <a:sym typeface="Arial"/>
              </a:rPr>
              <a:t>THREATS</a:t>
            </a:r>
            <a:endParaRPr sz="1600" dirty="0">
              <a:solidFill>
                <a:schemeClr val="accent5"/>
              </a:solidFill>
            </a:endParaRPr>
          </a:p>
        </p:txBody>
      </p:sp>
      <p:sp>
        <p:nvSpPr>
          <p:cNvPr id="37" name="Google Shape;2001;p32">
            <a:extLst>
              <a:ext uri="{FF2B5EF4-FFF2-40B4-BE49-F238E27FC236}">
                <a16:creationId xmlns:a16="http://schemas.microsoft.com/office/drawing/2014/main" id="{B2E7EC60-5DF9-3BC8-CCCB-9DFFA5E948C6}"/>
              </a:ext>
            </a:extLst>
          </p:cNvPr>
          <p:cNvSpPr txBox="1"/>
          <p:nvPr/>
        </p:nvSpPr>
        <p:spPr>
          <a:xfrm>
            <a:off x="9039059" y="3779567"/>
            <a:ext cx="249745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i="0" u="none" strike="noStrike" dirty="0">
                <a:solidFill>
                  <a:schemeClr val="accent4"/>
                </a:solidFill>
                <a:ea typeface="Arial"/>
                <a:cs typeface="Arial"/>
                <a:sym typeface="Arial"/>
              </a:rPr>
              <a:t>OPPORTUNITIES</a:t>
            </a:r>
            <a:endParaRPr sz="1600" dirty="0">
              <a:solidFill>
                <a:schemeClr val="accent4"/>
              </a:solidFill>
            </a:endParaRPr>
          </a:p>
        </p:txBody>
      </p:sp>
      <p:sp>
        <p:nvSpPr>
          <p:cNvPr id="38" name="Google Shape;2002;p32">
            <a:extLst>
              <a:ext uri="{FF2B5EF4-FFF2-40B4-BE49-F238E27FC236}">
                <a16:creationId xmlns:a16="http://schemas.microsoft.com/office/drawing/2014/main" id="{78C7A8C0-7729-5A10-EB16-C820191A4DFE}"/>
              </a:ext>
            </a:extLst>
          </p:cNvPr>
          <p:cNvSpPr txBox="1"/>
          <p:nvPr/>
        </p:nvSpPr>
        <p:spPr>
          <a:xfrm>
            <a:off x="661210" y="1404516"/>
            <a:ext cx="172639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39" name="Google Shape;2003;p32">
            <a:extLst>
              <a:ext uri="{FF2B5EF4-FFF2-40B4-BE49-F238E27FC236}">
                <a16:creationId xmlns:a16="http://schemas.microsoft.com/office/drawing/2014/main" id="{A3045844-EA8C-40A9-2BD3-A641150213BD}"/>
              </a:ext>
            </a:extLst>
          </p:cNvPr>
          <p:cNvSpPr txBox="1"/>
          <p:nvPr/>
        </p:nvSpPr>
        <p:spPr>
          <a:xfrm>
            <a:off x="9810122" y="1404516"/>
            <a:ext cx="172639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40" name="Google Shape;2004;p32">
            <a:extLst>
              <a:ext uri="{FF2B5EF4-FFF2-40B4-BE49-F238E27FC236}">
                <a16:creationId xmlns:a16="http://schemas.microsoft.com/office/drawing/2014/main" id="{52F0BBB0-AE41-3B66-B8BC-F7AAA6163517}"/>
              </a:ext>
            </a:extLst>
          </p:cNvPr>
          <p:cNvSpPr txBox="1"/>
          <p:nvPr/>
        </p:nvSpPr>
        <p:spPr>
          <a:xfrm>
            <a:off x="661210" y="4149086"/>
            <a:ext cx="172639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41" name="Google Shape;2005;p32">
            <a:extLst>
              <a:ext uri="{FF2B5EF4-FFF2-40B4-BE49-F238E27FC236}">
                <a16:creationId xmlns:a16="http://schemas.microsoft.com/office/drawing/2014/main" id="{596ADA7A-8B32-DE76-7114-66BAD5EE4E6E}"/>
              </a:ext>
            </a:extLst>
          </p:cNvPr>
          <p:cNvSpPr txBox="1"/>
          <p:nvPr/>
        </p:nvSpPr>
        <p:spPr>
          <a:xfrm>
            <a:off x="9810122" y="4149086"/>
            <a:ext cx="172639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grpSp>
        <p:nvGrpSpPr>
          <p:cNvPr id="42" name="Google Shape;2006;p32">
            <a:extLst>
              <a:ext uri="{FF2B5EF4-FFF2-40B4-BE49-F238E27FC236}">
                <a16:creationId xmlns:a16="http://schemas.microsoft.com/office/drawing/2014/main" id="{B8789C8D-D51A-65BF-7C35-6AD497505021}"/>
              </a:ext>
            </a:extLst>
          </p:cNvPr>
          <p:cNvGrpSpPr/>
          <p:nvPr/>
        </p:nvGrpSpPr>
        <p:grpSpPr>
          <a:xfrm>
            <a:off x="4231033" y="1811187"/>
            <a:ext cx="3729935" cy="3729932"/>
            <a:chOff x="4643972" y="2423519"/>
            <a:chExt cx="2604324" cy="2604325"/>
          </a:xfrm>
        </p:grpSpPr>
        <p:sp>
          <p:nvSpPr>
            <p:cNvPr id="52" name="Google Shape;2007;p32">
              <a:extLst>
                <a:ext uri="{FF2B5EF4-FFF2-40B4-BE49-F238E27FC236}">
                  <a16:creationId xmlns:a16="http://schemas.microsoft.com/office/drawing/2014/main" id="{D9279E51-E73F-56CF-F771-694A7646D2B7}"/>
                </a:ext>
              </a:extLst>
            </p:cNvPr>
            <p:cNvSpPr/>
            <p:nvPr/>
          </p:nvSpPr>
          <p:spPr>
            <a:xfrm>
              <a:off x="5946134" y="3725682"/>
              <a:ext cx="1302162" cy="1302162"/>
            </a:xfrm>
            <a:custGeom>
              <a:avLst/>
              <a:gdLst/>
              <a:ahLst/>
              <a:cxnLst/>
              <a:rect l="l" t="t" r="r" b="b"/>
              <a:pathLst>
                <a:path w="1302162" h="1302162" extrusionOk="0">
                  <a:moveTo>
                    <a:pt x="0" y="0"/>
                  </a:moveTo>
                  <a:lnTo>
                    <a:pt x="0" y="1302163"/>
                  </a:lnTo>
                  <a:cubicBezTo>
                    <a:pt x="719138" y="1302163"/>
                    <a:pt x="1302163" y="719233"/>
                    <a:pt x="130216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dk1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3" name="Google Shape;2008;p32">
              <a:extLst>
                <a:ext uri="{FF2B5EF4-FFF2-40B4-BE49-F238E27FC236}">
                  <a16:creationId xmlns:a16="http://schemas.microsoft.com/office/drawing/2014/main" id="{60C1971C-DA90-A091-9ECA-E0637D8013A0}"/>
                </a:ext>
              </a:extLst>
            </p:cNvPr>
            <p:cNvSpPr/>
            <p:nvPr/>
          </p:nvSpPr>
          <p:spPr>
            <a:xfrm>
              <a:off x="4643972" y="3725682"/>
              <a:ext cx="1302162" cy="1302162"/>
            </a:xfrm>
            <a:custGeom>
              <a:avLst/>
              <a:gdLst/>
              <a:ahLst/>
              <a:cxnLst/>
              <a:rect l="l" t="t" r="r" b="b"/>
              <a:pathLst>
                <a:path w="1302162" h="1302162" extrusionOk="0">
                  <a:moveTo>
                    <a:pt x="0" y="0"/>
                  </a:moveTo>
                  <a:cubicBezTo>
                    <a:pt x="0" y="719138"/>
                    <a:pt x="583025" y="1302163"/>
                    <a:pt x="1302163" y="1302163"/>
                  </a:cubicBezTo>
                  <a:lnTo>
                    <a:pt x="130216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dk1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2009;p32">
              <a:extLst>
                <a:ext uri="{FF2B5EF4-FFF2-40B4-BE49-F238E27FC236}">
                  <a16:creationId xmlns:a16="http://schemas.microsoft.com/office/drawing/2014/main" id="{321B48B5-68E2-EB8B-6AE6-F4AF5B3EC249}"/>
                </a:ext>
              </a:extLst>
            </p:cNvPr>
            <p:cNvSpPr/>
            <p:nvPr/>
          </p:nvSpPr>
          <p:spPr>
            <a:xfrm>
              <a:off x="5946039" y="2423519"/>
              <a:ext cx="1302162" cy="1302162"/>
            </a:xfrm>
            <a:custGeom>
              <a:avLst/>
              <a:gdLst/>
              <a:ahLst/>
              <a:cxnLst/>
              <a:rect l="l" t="t" r="r" b="b"/>
              <a:pathLst>
                <a:path w="1302162" h="1302162" extrusionOk="0">
                  <a:moveTo>
                    <a:pt x="1302163" y="1302163"/>
                  </a:moveTo>
                  <a:cubicBezTo>
                    <a:pt x="1302163" y="583025"/>
                    <a:pt x="719138" y="0"/>
                    <a:pt x="0" y="0"/>
                  </a:cubicBezTo>
                  <a:lnTo>
                    <a:pt x="0" y="1302163"/>
                  </a:lnTo>
                  <a:lnTo>
                    <a:pt x="1302163" y="130216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dk1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5" name="Google Shape;2010;p32">
              <a:extLst>
                <a:ext uri="{FF2B5EF4-FFF2-40B4-BE49-F238E27FC236}">
                  <a16:creationId xmlns:a16="http://schemas.microsoft.com/office/drawing/2014/main" id="{98CD4DD6-FFB3-C15B-A852-E80FD0344A77}"/>
                </a:ext>
              </a:extLst>
            </p:cNvPr>
            <p:cNvSpPr/>
            <p:nvPr/>
          </p:nvSpPr>
          <p:spPr>
            <a:xfrm>
              <a:off x="4643972" y="2423519"/>
              <a:ext cx="1302162" cy="1302162"/>
            </a:xfrm>
            <a:custGeom>
              <a:avLst/>
              <a:gdLst/>
              <a:ahLst/>
              <a:cxnLst/>
              <a:rect l="l" t="t" r="r" b="b"/>
              <a:pathLst>
                <a:path w="1302162" h="1302162" extrusionOk="0">
                  <a:moveTo>
                    <a:pt x="1302163" y="0"/>
                  </a:moveTo>
                  <a:cubicBezTo>
                    <a:pt x="583025" y="0"/>
                    <a:pt x="0" y="583025"/>
                    <a:pt x="0" y="1302163"/>
                  </a:cubicBezTo>
                  <a:lnTo>
                    <a:pt x="1302163" y="1302163"/>
                  </a:lnTo>
                  <a:lnTo>
                    <a:pt x="130216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dk1"/>
                </a:solidFill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3" name="Google Shape;2011;p32">
            <a:extLst>
              <a:ext uri="{FF2B5EF4-FFF2-40B4-BE49-F238E27FC236}">
                <a16:creationId xmlns:a16="http://schemas.microsoft.com/office/drawing/2014/main" id="{592808F6-8151-EE7C-477B-2343FF3FE842}"/>
              </a:ext>
            </a:extLst>
          </p:cNvPr>
          <p:cNvSpPr/>
          <p:nvPr/>
        </p:nvSpPr>
        <p:spPr>
          <a:xfrm>
            <a:off x="4856235" y="2436389"/>
            <a:ext cx="2479393" cy="2479391"/>
          </a:xfrm>
          <a:custGeom>
            <a:avLst/>
            <a:gdLst/>
            <a:ahLst/>
            <a:cxnLst/>
            <a:rect l="l" t="t" r="r" b="b"/>
            <a:pathLst>
              <a:path w="1731168" h="1731168" extrusionOk="0">
                <a:moveTo>
                  <a:pt x="865537" y="1731169"/>
                </a:moveTo>
                <a:cubicBezTo>
                  <a:pt x="1343597" y="1731169"/>
                  <a:pt x="1731169" y="1343692"/>
                  <a:pt x="1731169" y="865632"/>
                </a:cubicBezTo>
                <a:cubicBezTo>
                  <a:pt x="1731169" y="387667"/>
                  <a:pt x="1343597" y="0"/>
                  <a:pt x="865537" y="0"/>
                </a:cubicBezTo>
                <a:cubicBezTo>
                  <a:pt x="387477" y="0"/>
                  <a:pt x="0" y="387572"/>
                  <a:pt x="0" y="865632"/>
                </a:cubicBezTo>
                <a:cubicBezTo>
                  <a:pt x="0" y="1343692"/>
                  <a:pt x="387477" y="1731169"/>
                  <a:pt x="865537" y="173116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>
                <a:solidFill>
                  <a:schemeClr val="dk1"/>
                </a:solidFill>
                <a:ea typeface="Arial"/>
                <a:cs typeface="Arial"/>
                <a:sym typeface="Arial"/>
              </a:rPr>
              <a:t>SWOT</a:t>
            </a:r>
            <a:endParaRPr sz="32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4" name="Google Shape;2012;p32">
            <a:extLst>
              <a:ext uri="{FF2B5EF4-FFF2-40B4-BE49-F238E27FC236}">
                <a16:creationId xmlns:a16="http://schemas.microsoft.com/office/drawing/2014/main" id="{E2C90B5F-1985-A730-DF71-7EDCC8425422}"/>
              </a:ext>
            </a:extLst>
          </p:cNvPr>
          <p:cNvSpPr/>
          <p:nvPr/>
        </p:nvSpPr>
        <p:spPr>
          <a:xfrm>
            <a:off x="4874242" y="4612933"/>
            <a:ext cx="215949" cy="272698"/>
          </a:xfrm>
          <a:custGeom>
            <a:avLst/>
            <a:gdLst/>
            <a:ahLst/>
            <a:cxnLst/>
            <a:rect l="l" t="t" r="r" b="b"/>
            <a:pathLst>
              <a:path w="150780" h="190404" extrusionOk="0">
                <a:moveTo>
                  <a:pt x="150781" y="31718"/>
                </a:moveTo>
                <a:lnTo>
                  <a:pt x="95155" y="31718"/>
                </a:lnTo>
                <a:lnTo>
                  <a:pt x="95155" y="190405"/>
                </a:lnTo>
                <a:lnTo>
                  <a:pt x="55626" y="190405"/>
                </a:lnTo>
                <a:lnTo>
                  <a:pt x="55626" y="31718"/>
                </a:lnTo>
                <a:lnTo>
                  <a:pt x="0" y="31718"/>
                </a:lnTo>
                <a:lnTo>
                  <a:pt x="0" y="0"/>
                </a:lnTo>
                <a:lnTo>
                  <a:pt x="150781" y="0"/>
                </a:lnTo>
                <a:lnTo>
                  <a:pt x="150781" y="3171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5" name="Google Shape;2013;p32">
            <a:extLst>
              <a:ext uri="{FF2B5EF4-FFF2-40B4-BE49-F238E27FC236}">
                <a16:creationId xmlns:a16="http://schemas.microsoft.com/office/drawing/2014/main" id="{060C9A7A-9B29-6EDF-8407-79B83B2F3309}"/>
              </a:ext>
            </a:extLst>
          </p:cNvPr>
          <p:cNvSpPr/>
          <p:nvPr/>
        </p:nvSpPr>
        <p:spPr>
          <a:xfrm>
            <a:off x="7046696" y="4633396"/>
            <a:ext cx="279656" cy="278701"/>
          </a:xfrm>
          <a:custGeom>
            <a:avLst/>
            <a:gdLst/>
            <a:ahLst/>
            <a:cxnLst/>
            <a:rect l="l" t="t" r="r" b="b"/>
            <a:pathLst>
              <a:path w="195262" h="194595" extrusionOk="0">
                <a:moveTo>
                  <a:pt x="195263" y="97250"/>
                </a:moveTo>
                <a:cubicBezTo>
                  <a:pt x="195263" y="111157"/>
                  <a:pt x="192881" y="124111"/>
                  <a:pt x="188214" y="135922"/>
                </a:cubicBezTo>
                <a:cubicBezTo>
                  <a:pt x="183547" y="147828"/>
                  <a:pt x="176975" y="158115"/>
                  <a:pt x="168402" y="166783"/>
                </a:cubicBezTo>
                <a:cubicBezTo>
                  <a:pt x="159829" y="175450"/>
                  <a:pt x="149638" y="182213"/>
                  <a:pt x="137636" y="187166"/>
                </a:cubicBezTo>
                <a:cubicBezTo>
                  <a:pt x="125635" y="192119"/>
                  <a:pt x="112395" y="194596"/>
                  <a:pt x="97727" y="194596"/>
                </a:cubicBezTo>
                <a:cubicBezTo>
                  <a:pt x="83153" y="194596"/>
                  <a:pt x="69818" y="192119"/>
                  <a:pt x="57817" y="187166"/>
                </a:cubicBezTo>
                <a:cubicBezTo>
                  <a:pt x="45815" y="182213"/>
                  <a:pt x="35528" y="175450"/>
                  <a:pt x="26956" y="166783"/>
                </a:cubicBezTo>
                <a:cubicBezTo>
                  <a:pt x="18383" y="158115"/>
                  <a:pt x="11716" y="147828"/>
                  <a:pt x="7048" y="135922"/>
                </a:cubicBezTo>
                <a:cubicBezTo>
                  <a:pt x="2381" y="124015"/>
                  <a:pt x="0" y="111157"/>
                  <a:pt x="0" y="97250"/>
                </a:cubicBezTo>
                <a:cubicBezTo>
                  <a:pt x="0" y="83344"/>
                  <a:pt x="2381" y="70485"/>
                  <a:pt x="7048" y="58579"/>
                </a:cubicBezTo>
                <a:cubicBezTo>
                  <a:pt x="11716" y="46768"/>
                  <a:pt x="18383" y="36481"/>
                  <a:pt x="26956" y="27813"/>
                </a:cubicBezTo>
                <a:cubicBezTo>
                  <a:pt x="35528" y="19145"/>
                  <a:pt x="45815" y="12382"/>
                  <a:pt x="57817" y="7429"/>
                </a:cubicBezTo>
                <a:cubicBezTo>
                  <a:pt x="69818" y="2476"/>
                  <a:pt x="83058" y="0"/>
                  <a:pt x="97727" y="0"/>
                </a:cubicBezTo>
                <a:cubicBezTo>
                  <a:pt x="112300" y="0"/>
                  <a:pt x="125635" y="2476"/>
                  <a:pt x="137636" y="7429"/>
                </a:cubicBezTo>
                <a:cubicBezTo>
                  <a:pt x="149638" y="12382"/>
                  <a:pt x="159829" y="19240"/>
                  <a:pt x="168402" y="27908"/>
                </a:cubicBezTo>
                <a:cubicBezTo>
                  <a:pt x="176975" y="36576"/>
                  <a:pt x="183547" y="46863"/>
                  <a:pt x="188214" y="58769"/>
                </a:cubicBezTo>
                <a:cubicBezTo>
                  <a:pt x="192881" y="70580"/>
                  <a:pt x="195263" y="83439"/>
                  <a:pt x="195263" y="97250"/>
                </a:cubicBezTo>
                <a:close/>
                <a:moveTo>
                  <a:pt x="154972" y="97250"/>
                </a:moveTo>
                <a:cubicBezTo>
                  <a:pt x="154972" y="87249"/>
                  <a:pt x="153638" y="78296"/>
                  <a:pt x="151066" y="70390"/>
                </a:cubicBezTo>
                <a:cubicBezTo>
                  <a:pt x="148400" y="62484"/>
                  <a:pt x="144685" y="55721"/>
                  <a:pt x="139732" y="50197"/>
                </a:cubicBezTo>
                <a:cubicBezTo>
                  <a:pt x="134779" y="44672"/>
                  <a:pt x="128778" y="40386"/>
                  <a:pt x="121729" y="37433"/>
                </a:cubicBezTo>
                <a:cubicBezTo>
                  <a:pt x="114681" y="34480"/>
                  <a:pt x="106680" y="33052"/>
                  <a:pt x="97822" y="33052"/>
                </a:cubicBezTo>
                <a:cubicBezTo>
                  <a:pt x="88868" y="33052"/>
                  <a:pt x="80867" y="34480"/>
                  <a:pt x="73819" y="37433"/>
                </a:cubicBezTo>
                <a:cubicBezTo>
                  <a:pt x="66770" y="40386"/>
                  <a:pt x="60674" y="44577"/>
                  <a:pt x="55816" y="50197"/>
                </a:cubicBezTo>
                <a:cubicBezTo>
                  <a:pt x="50864" y="55721"/>
                  <a:pt x="47054" y="62484"/>
                  <a:pt x="44482" y="70390"/>
                </a:cubicBezTo>
                <a:cubicBezTo>
                  <a:pt x="41815" y="78296"/>
                  <a:pt x="40577" y="87249"/>
                  <a:pt x="40577" y="97250"/>
                </a:cubicBezTo>
                <a:cubicBezTo>
                  <a:pt x="40577" y="107347"/>
                  <a:pt x="41910" y="116300"/>
                  <a:pt x="44482" y="124206"/>
                </a:cubicBezTo>
                <a:cubicBezTo>
                  <a:pt x="47149" y="132112"/>
                  <a:pt x="50864" y="138874"/>
                  <a:pt x="55816" y="144399"/>
                </a:cubicBezTo>
                <a:cubicBezTo>
                  <a:pt x="60770" y="149923"/>
                  <a:pt x="66770" y="154114"/>
                  <a:pt x="73819" y="157067"/>
                </a:cubicBezTo>
                <a:cubicBezTo>
                  <a:pt x="80867" y="160020"/>
                  <a:pt x="88868" y="161449"/>
                  <a:pt x="97822" y="161449"/>
                </a:cubicBezTo>
                <a:cubicBezTo>
                  <a:pt x="106775" y="161449"/>
                  <a:pt x="114681" y="160020"/>
                  <a:pt x="121729" y="157067"/>
                </a:cubicBezTo>
                <a:cubicBezTo>
                  <a:pt x="128778" y="154114"/>
                  <a:pt x="134779" y="149923"/>
                  <a:pt x="139732" y="144399"/>
                </a:cubicBezTo>
                <a:cubicBezTo>
                  <a:pt x="144685" y="138874"/>
                  <a:pt x="148495" y="132207"/>
                  <a:pt x="151066" y="124206"/>
                </a:cubicBezTo>
                <a:cubicBezTo>
                  <a:pt x="153638" y="116300"/>
                  <a:pt x="154972" y="107347"/>
                  <a:pt x="154972" y="972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6" name="Google Shape;2014;p32">
            <a:extLst>
              <a:ext uri="{FF2B5EF4-FFF2-40B4-BE49-F238E27FC236}">
                <a16:creationId xmlns:a16="http://schemas.microsoft.com/office/drawing/2014/main" id="{3DD24720-FF1C-34D5-284F-33C0E40966E9}"/>
              </a:ext>
            </a:extLst>
          </p:cNvPr>
          <p:cNvSpPr/>
          <p:nvPr/>
        </p:nvSpPr>
        <p:spPr>
          <a:xfrm>
            <a:off x="7004952" y="2462445"/>
            <a:ext cx="393292" cy="272971"/>
          </a:xfrm>
          <a:custGeom>
            <a:avLst/>
            <a:gdLst/>
            <a:ahLst/>
            <a:cxnLst/>
            <a:rect l="l" t="t" r="r" b="b"/>
            <a:pathLst>
              <a:path w="274605" h="190595" extrusionOk="0">
                <a:moveTo>
                  <a:pt x="274606" y="190"/>
                </a:moveTo>
                <a:lnTo>
                  <a:pt x="215551" y="190595"/>
                </a:lnTo>
                <a:lnTo>
                  <a:pt x="180023" y="190595"/>
                </a:lnTo>
                <a:lnTo>
                  <a:pt x="141065" y="66103"/>
                </a:lnTo>
                <a:cubicBezTo>
                  <a:pt x="140494" y="64389"/>
                  <a:pt x="139827" y="62389"/>
                  <a:pt x="139255" y="60293"/>
                </a:cubicBezTo>
                <a:cubicBezTo>
                  <a:pt x="138684" y="58198"/>
                  <a:pt x="138113" y="56007"/>
                  <a:pt x="137541" y="53626"/>
                </a:cubicBezTo>
                <a:cubicBezTo>
                  <a:pt x="136970" y="56007"/>
                  <a:pt x="136398" y="58198"/>
                  <a:pt x="135827" y="60293"/>
                </a:cubicBezTo>
                <a:cubicBezTo>
                  <a:pt x="135255" y="62389"/>
                  <a:pt x="134588" y="64294"/>
                  <a:pt x="134017" y="66103"/>
                </a:cubicBezTo>
                <a:lnTo>
                  <a:pt x="94679" y="190595"/>
                </a:lnTo>
                <a:lnTo>
                  <a:pt x="58960" y="190595"/>
                </a:lnTo>
                <a:lnTo>
                  <a:pt x="0" y="190"/>
                </a:lnTo>
                <a:lnTo>
                  <a:pt x="33051" y="190"/>
                </a:lnTo>
                <a:cubicBezTo>
                  <a:pt x="36481" y="190"/>
                  <a:pt x="39338" y="952"/>
                  <a:pt x="41624" y="2572"/>
                </a:cubicBezTo>
                <a:cubicBezTo>
                  <a:pt x="43910" y="4191"/>
                  <a:pt x="45434" y="6286"/>
                  <a:pt x="46196" y="8858"/>
                </a:cubicBezTo>
                <a:lnTo>
                  <a:pt x="75724" y="116205"/>
                </a:lnTo>
                <a:cubicBezTo>
                  <a:pt x="76391" y="119158"/>
                  <a:pt x="77152" y="122396"/>
                  <a:pt x="77914" y="125825"/>
                </a:cubicBezTo>
                <a:cubicBezTo>
                  <a:pt x="78677" y="129254"/>
                  <a:pt x="79343" y="132969"/>
                  <a:pt x="80105" y="136779"/>
                </a:cubicBezTo>
                <a:cubicBezTo>
                  <a:pt x="80867" y="132874"/>
                  <a:pt x="81725" y="129159"/>
                  <a:pt x="82582" y="125730"/>
                </a:cubicBezTo>
                <a:cubicBezTo>
                  <a:pt x="83439" y="122301"/>
                  <a:pt x="84391" y="119158"/>
                  <a:pt x="85439" y="116110"/>
                </a:cubicBezTo>
                <a:lnTo>
                  <a:pt x="119825" y="8763"/>
                </a:lnTo>
                <a:cubicBezTo>
                  <a:pt x="120491" y="6572"/>
                  <a:pt x="122015" y="4572"/>
                  <a:pt x="124396" y="2762"/>
                </a:cubicBezTo>
                <a:cubicBezTo>
                  <a:pt x="126682" y="952"/>
                  <a:pt x="129540" y="95"/>
                  <a:pt x="132874" y="95"/>
                </a:cubicBezTo>
                <a:lnTo>
                  <a:pt x="144399" y="95"/>
                </a:lnTo>
                <a:cubicBezTo>
                  <a:pt x="147828" y="95"/>
                  <a:pt x="150590" y="952"/>
                  <a:pt x="152781" y="2476"/>
                </a:cubicBezTo>
                <a:cubicBezTo>
                  <a:pt x="154877" y="4096"/>
                  <a:pt x="156496" y="6191"/>
                  <a:pt x="157543" y="8668"/>
                </a:cubicBezTo>
                <a:lnTo>
                  <a:pt x="191834" y="116014"/>
                </a:lnTo>
                <a:cubicBezTo>
                  <a:pt x="192881" y="118777"/>
                  <a:pt x="193834" y="121825"/>
                  <a:pt x="194691" y="125158"/>
                </a:cubicBezTo>
                <a:cubicBezTo>
                  <a:pt x="195548" y="128397"/>
                  <a:pt x="196405" y="131921"/>
                  <a:pt x="197168" y="135636"/>
                </a:cubicBezTo>
                <a:cubicBezTo>
                  <a:pt x="197834" y="131921"/>
                  <a:pt x="198501" y="128492"/>
                  <a:pt x="199168" y="125158"/>
                </a:cubicBezTo>
                <a:cubicBezTo>
                  <a:pt x="199834" y="121920"/>
                  <a:pt x="200501" y="118872"/>
                  <a:pt x="201168" y="116014"/>
                </a:cubicBezTo>
                <a:lnTo>
                  <a:pt x="230695" y="8668"/>
                </a:lnTo>
                <a:cubicBezTo>
                  <a:pt x="231267" y="6382"/>
                  <a:pt x="232791" y="4381"/>
                  <a:pt x="235172" y="2667"/>
                </a:cubicBezTo>
                <a:cubicBezTo>
                  <a:pt x="237554" y="952"/>
                  <a:pt x="240411" y="0"/>
                  <a:pt x="243744" y="0"/>
                </a:cubicBezTo>
                <a:lnTo>
                  <a:pt x="27460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7" name="Google Shape;2015;p32">
            <a:extLst>
              <a:ext uri="{FF2B5EF4-FFF2-40B4-BE49-F238E27FC236}">
                <a16:creationId xmlns:a16="http://schemas.microsoft.com/office/drawing/2014/main" id="{8069821D-7DAA-3C9A-D6D8-2FBB192C4819}"/>
              </a:ext>
            </a:extLst>
          </p:cNvPr>
          <p:cNvSpPr/>
          <p:nvPr/>
        </p:nvSpPr>
        <p:spPr>
          <a:xfrm>
            <a:off x="4903844" y="2460262"/>
            <a:ext cx="187574" cy="278564"/>
          </a:xfrm>
          <a:custGeom>
            <a:avLst/>
            <a:gdLst/>
            <a:ahLst/>
            <a:cxnLst/>
            <a:rect l="l" t="t" r="r" b="b"/>
            <a:pathLst>
              <a:path w="130968" h="194500" extrusionOk="0">
                <a:moveTo>
                  <a:pt x="118205" y="38195"/>
                </a:moveTo>
                <a:cubicBezTo>
                  <a:pt x="116967" y="40196"/>
                  <a:pt x="115729" y="41719"/>
                  <a:pt x="114491" y="42577"/>
                </a:cubicBezTo>
                <a:cubicBezTo>
                  <a:pt x="113252" y="43529"/>
                  <a:pt x="111538" y="44005"/>
                  <a:pt x="109538" y="44005"/>
                </a:cubicBezTo>
                <a:cubicBezTo>
                  <a:pt x="107633" y="44005"/>
                  <a:pt x="105537" y="43339"/>
                  <a:pt x="103346" y="42005"/>
                </a:cubicBezTo>
                <a:cubicBezTo>
                  <a:pt x="101156" y="40672"/>
                  <a:pt x="98489" y="39148"/>
                  <a:pt x="95536" y="37624"/>
                </a:cubicBezTo>
                <a:cubicBezTo>
                  <a:pt x="92583" y="36004"/>
                  <a:pt x="89154" y="34576"/>
                  <a:pt x="85344" y="33242"/>
                </a:cubicBezTo>
                <a:cubicBezTo>
                  <a:pt x="81534" y="31909"/>
                  <a:pt x="76962" y="31242"/>
                  <a:pt x="71819" y="31242"/>
                </a:cubicBezTo>
                <a:cubicBezTo>
                  <a:pt x="62675" y="31242"/>
                  <a:pt x="55912" y="33242"/>
                  <a:pt x="51340" y="37338"/>
                </a:cubicBezTo>
                <a:cubicBezTo>
                  <a:pt x="46768" y="41434"/>
                  <a:pt x="44482" y="46672"/>
                  <a:pt x="44482" y="53245"/>
                </a:cubicBezTo>
                <a:cubicBezTo>
                  <a:pt x="44482" y="57436"/>
                  <a:pt x="45720" y="60960"/>
                  <a:pt x="48197" y="63722"/>
                </a:cubicBezTo>
                <a:cubicBezTo>
                  <a:pt x="50673" y="66484"/>
                  <a:pt x="54007" y="68866"/>
                  <a:pt x="58008" y="70866"/>
                </a:cubicBezTo>
                <a:cubicBezTo>
                  <a:pt x="62103" y="72866"/>
                  <a:pt x="66675" y="74676"/>
                  <a:pt x="71819" y="76295"/>
                </a:cubicBezTo>
                <a:cubicBezTo>
                  <a:pt x="76962" y="77914"/>
                  <a:pt x="82296" y="79629"/>
                  <a:pt x="87725" y="81439"/>
                </a:cubicBezTo>
                <a:cubicBezTo>
                  <a:pt x="93155" y="83344"/>
                  <a:pt x="98393" y="85534"/>
                  <a:pt x="103632" y="88106"/>
                </a:cubicBezTo>
                <a:cubicBezTo>
                  <a:pt x="108776" y="90678"/>
                  <a:pt x="113443" y="93821"/>
                  <a:pt x="117443" y="97726"/>
                </a:cubicBezTo>
                <a:cubicBezTo>
                  <a:pt x="121539" y="101537"/>
                  <a:pt x="124778" y="106299"/>
                  <a:pt x="127254" y="111823"/>
                </a:cubicBezTo>
                <a:cubicBezTo>
                  <a:pt x="129731" y="117348"/>
                  <a:pt x="130969" y="124111"/>
                  <a:pt x="130969" y="132112"/>
                </a:cubicBezTo>
                <a:cubicBezTo>
                  <a:pt x="130969" y="140779"/>
                  <a:pt x="129445" y="148876"/>
                  <a:pt x="126397" y="156496"/>
                </a:cubicBezTo>
                <a:cubicBezTo>
                  <a:pt x="123349" y="164021"/>
                  <a:pt x="119063" y="170688"/>
                  <a:pt x="113348" y="176308"/>
                </a:cubicBezTo>
                <a:cubicBezTo>
                  <a:pt x="107633" y="181927"/>
                  <a:pt x="100679" y="186404"/>
                  <a:pt x="92297" y="189643"/>
                </a:cubicBezTo>
                <a:cubicBezTo>
                  <a:pt x="83916" y="192881"/>
                  <a:pt x="74486" y="194500"/>
                  <a:pt x="63913" y="194500"/>
                </a:cubicBezTo>
                <a:cubicBezTo>
                  <a:pt x="57912" y="194500"/>
                  <a:pt x="51816" y="193929"/>
                  <a:pt x="45911" y="192691"/>
                </a:cubicBezTo>
                <a:cubicBezTo>
                  <a:pt x="39910" y="191452"/>
                  <a:pt x="34100" y="189738"/>
                  <a:pt x="28575" y="187547"/>
                </a:cubicBezTo>
                <a:cubicBezTo>
                  <a:pt x="23051" y="185356"/>
                  <a:pt x="17812" y="182785"/>
                  <a:pt x="12859" y="179642"/>
                </a:cubicBezTo>
                <a:cubicBezTo>
                  <a:pt x="8001" y="176593"/>
                  <a:pt x="3715" y="173164"/>
                  <a:pt x="0" y="169450"/>
                </a:cubicBezTo>
                <a:lnTo>
                  <a:pt x="11525" y="150781"/>
                </a:lnTo>
                <a:cubicBezTo>
                  <a:pt x="12478" y="149352"/>
                  <a:pt x="13716" y="148209"/>
                  <a:pt x="15335" y="147256"/>
                </a:cubicBezTo>
                <a:cubicBezTo>
                  <a:pt x="16955" y="146304"/>
                  <a:pt x="18574" y="145923"/>
                  <a:pt x="20288" y="145923"/>
                </a:cubicBezTo>
                <a:cubicBezTo>
                  <a:pt x="22670" y="145923"/>
                  <a:pt x="25146" y="146780"/>
                  <a:pt x="27813" y="148590"/>
                </a:cubicBezTo>
                <a:cubicBezTo>
                  <a:pt x="30480" y="150304"/>
                  <a:pt x="33433" y="152305"/>
                  <a:pt x="36862" y="154400"/>
                </a:cubicBezTo>
                <a:cubicBezTo>
                  <a:pt x="40291" y="156496"/>
                  <a:pt x="44196" y="158401"/>
                  <a:pt x="48768" y="160210"/>
                </a:cubicBezTo>
                <a:cubicBezTo>
                  <a:pt x="53245" y="161925"/>
                  <a:pt x="58674" y="162877"/>
                  <a:pt x="64961" y="162877"/>
                </a:cubicBezTo>
                <a:cubicBezTo>
                  <a:pt x="74105" y="162877"/>
                  <a:pt x="81249" y="160782"/>
                  <a:pt x="86297" y="156591"/>
                </a:cubicBezTo>
                <a:cubicBezTo>
                  <a:pt x="91345" y="152400"/>
                  <a:pt x="93821" y="146113"/>
                  <a:pt x="93821" y="137827"/>
                </a:cubicBezTo>
                <a:cubicBezTo>
                  <a:pt x="93821" y="133064"/>
                  <a:pt x="92583" y="129159"/>
                  <a:pt x="90107" y="126111"/>
                </a:cubicBezTo>
                <a:cubicBezTo>
                  <a:pt x="87630" y="123158"/>
                  <a:pt x="84392" y="120682"/>
                  <a:pt x="80296" y="118586"/>
                </a:cubicBezTo>
                <a:cubicBezTo>
                  <a:pt x="76295" y="116586"/>
                  <a:pt x="71724" y="114871"/>
                  <a:pt x="66485" y="113443"/>
                </a:cubicBezTo>
                <a:cubicBezTo>
                  <a:pt x="61341" y="112014"/>
                  <a:pt x="56007" y="110395"/>
                  <a:pt x="50578" y="108680"/>
                </a:cubicBezTo>
                <a:cubicBezTo>
                  <a:pt x="45149" y="106966"/>
                  <a:pt x="39815" y="104870"/>
                  <a:pt x="34671" y="102394"/>
                </a:cubicBezTo>
                <a:cubicBezTo>
                  <a:pt x="29528" y="99917"/>
                  <a:pt x="24956" y="96679"/>
                  <a:pt x="20860" y="92678"/>
                </a:cubicBezTo>
                <a:cubicBezTo>
                  <a:pt x="16859" y="88678"/>
                  <a:pt x="13621" y="83629"/>
                  <a:pt x="11049" y="77724"/>
                </a:cubicBezTo>
                <a:cubicBezTo>
                  <a:pt x="8573" y="71818"/>
                  <a:pt x="7334" y="64389"/>
                  <a:pt x="7334" y="55531"/>
                </a:cubicBezTo>
                <a:cubicBezTo>
                  <a:pt x="7334" y="48482"/>
                  <a:pt x="8763" y="41624"/>
                  <a:pt x="11525" y="34957"/>
                </a:cubicBezTo>
                <a:cubicBezTo>
                  <a:pt x="14288" y="28289"/>
                  <a:pt x="18479" y="22384"/>
                  <a:pt x="23813" y="17240"/>
                </a:cubicBezTo>
                <a:cubicBezTo>
                  <a:pt x="29242" y="12097"/>
                  <a:pt x="35909" y="7906"/>
                  <a:pt x="43815" y="4763"/>
                </a:cubicBezTo>
                <a:cubicBezTo>
                  <a:pt x="51721" y="1619"/>
                  <a:pt x="60770" y="0"/>
                  <a:pt x="71057" y="0"/>
                </a:cubicBezTo>
                <a:cubicBezTo>
                  <a:pt x="82487" y="0"/>
                  <a:pt x="93155" y="1810"/>
                  <a:pt x="102870" y="5334"/>
                </a:cubicBezTo>
                <a:cubicBezTo>
                  <a:pt x="112586" y="8858"/>
                  <a:pt x="120872" y="13811"/>
                  <a:pt x="127635" y="20098"/>
                </a:cubicBezTo>
                <a:lnTo>
                  <a:pt x="118205" y="3819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cxnSp>
        <p:nvCxnSpPr>
          <p:cNvPr id="48" name="Google Shape;2016;p32">
            <a:extLst>
              <a:ext uri="{FF2B5EF4-FFF2-40B4-BE49-F238E27FC236}">
                <a16:creationId xmlns:a16="http://schemas.microsoft.com/office/drawing/2014/main" id="{2D4995D5-D458-F914-FB30-29901F535774}"/>
              </a:ext>
            </a:extLst>
          </p:cNvPr>
          <p:cNvCxnSpPr/>
          <p:nvPr/>
        </p:nvCxnSpPr>
        <p:spPr>
          <a:xfrm>
            <a:off x="7326694" y="3676153"/>
            <a:ext cx="4391216" cy="1"/>
          </a:xfrm>
          <a:prstGeom prst="straightConnector1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9" name="Google Shape;2017;p32">
            <a:extLst>
              <a:ext uri="{FF2B5EF4-FFF2-40B4-BE49-F238E27FC236}">
                <a16:creationId xmlns:a16="http://schemas.microsoft.com/office/drawing/2014/main" id="{B03EA877-8086-E5D9-976C-706282280FF0}"/>
              </a:ext>
            </a:extLst>
          </p:cNvPr>
          <p:cNvCxnSpPr/>
          <p:nvPr/>
        </p:nvCxnSpPr>
        <p:spPr>
          <a:xfrm>
            <a:off x="465019" y="3676153"/>
            <a:ext cx="4391216" cy="0"/>
          </a:xfrm>
          <a:prstGeom prst="straightConnector1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0" name="Google Shape;2018;p32">
            <a:extLst>
              <a:ext uri="{FF2B5EF4-FFF2-40B4-BE49-F238E27FC236}">
                <a16:creationId xmlns:a16="http://schemas.microsoft.com/office/drawing/2014/main" id="{76966009-9226-0EF1-B196-8C44A1661201}"/>
              </a:ext>
            </a:extLst>
          </p:cNvPr>
          <p:cNvCxnSpPr/>
          <p:nvPr/>
        </p:nvCxnSpPr>
        <p:spPr>
          <a:xfrm>
            <a:off x="6096001" y="898506"/>
            <a:ext cx="0" cy="1537883"/>
          </a:xfrm>
          <a:prstGeom prst="straightConnector1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1" name="Google Shape;2019;p32">
            <a:extLst>
              <a:ext uri="{FF2B5EF4-FFF2-40B4-BE49-F238E27FC236}">
                <a16:creationId xmlns:a16="http://schemas.microsoft.com/office/drawing/2014/main" id="{67791CDD-6074-6D0F-FB8F-68FAF2D40FF2}"/>
              </a:ext>
            </a:extLst>
          </p:cNvPr>
          <p:cNvCxnSpPr/>
          <p:nvPr/>
        </p:nvCxnSpPr>
        <p:spPr>
          <a:xfrm>
            <a:off x="6096001" y="4912096"/>
            <a:ext cx="0" cy="1541704"/>
          </a:xfrm>
          <a:prstGeom prst="straightConnector1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" name="Slide Number Placeholder 2">
            <a:extLst>
              <a:ext uri="{FF2B5EF4-FFF2-40B4-BE49-F238E27FC236}">
                <a16:creationId xmlns:a16="http://schemas.microsoft.com/office/drawing/2014/main" id="{2F43C492-9C40-2F52-80BD-8D417B701C4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01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373066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73320-0C10-FA06-8D95-D4E872E204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856D339-344E-C0C0-CE8E-868DA14A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56D339-344E-C0C0-CE8E-868DA14A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0B59D40-87CC-C99D-5657-05097F568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2" name="Google Shape;1768;p22">
            <a:extLst>
              <a:ext uri="{FF2B5EF4-FFF2-40B4-BE49-F238E27FC236}">
                <a16:creationId xmlns:a16="http://schemas.microsoft.com/office/drawing/2014/main" id="{BE52290C-3F26-7DFD-6206-27CE7BE954D6}"/>
              </a:ext>
            </a:extLst>
          </p:cNvPr>
          <p:cNvSpPr txBox="1"/>
          <p:nvPr/>
        </p:nvSpPr>
        <p:spPr>
          <a:xfrm>
            <a:off x="709538" y="1256767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accent1"/>
                </a:solidFill>
                <a:ea typeface="Arial"/>
                <a:cs typeface="Arial"/>
                <a:sym typeface="Arial"/>
              </a:rPr>
              <a:t>STRENGTHS</a:t>
            </a:r>
            <a:endParaRPr sz="2000" b="1">
              <a:solidFill>
                <a:schemeClr val="accen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" name="Google Shape;1769;p22">
            <a:extLst>
              <a:ext uri="{FF2B5EF4-FFF2-40B4-BE49-F238E27FC236}">
                <a16:creationId xmlns:a16="http://schemas.microsoft.com/office/drawing/2014/main" id="{4BB691F3-0B04-A92D-767D-C298EB8B965D}"/>
              </a:ext>
            </a:extLst>
          </p:cNvPr>
          <p:cNvSpPr txBox="1"/>
          <p:nvPr/>
        </p:nvSpPr>
        <p:spPr>
          <a:xfrm>
            <a:off x="709538" y="1656585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5" name="Google Shape;1770;p22">
            <a:extLst>
              <a:ext uri="{FF2B5EF4-FFF2-40B4-BE49-F238E27FC236}">
                <a16:creationId xmlns:a16="http://schemas.microsoft.com/office/drawing/2014/main" id="{E994154C-FC5E-1417-DC81-F023A362589B}"/>
              </a:ext>
            </a:extLst>
          </p:cNvPr>
          <p:cNvSpPr txBox="1"/>
          <p:nvPr/>
        </p:nvSpPr>
        <p:spPr>
          <a:xfrm>
            <a:off x="709538" y="4093261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4"/>
                </a:solidFill>
                <a:ea typeface="Arial"/>
                <a:cs typeface="Arial"/>
                <a:sym typeface="Arial"/>
              </a:rPr>
              <a:t>OPPORTUNITIES</a:t>
            </a:r>
            <a:endParaRPr sz="1600" dirty="0">
              <a:solidFill>
                <a:schemeClr val="accent4"/>
              </a:solidFill>
            </a:endParaRPr>
          </a:p>
        </p:txBody>
      </p:sp>
      <p:sp>
        <p:nvSpPr>
          <p:cNvPr id="6" name="Google Shape;1771;p22">
            <a:extLst>
              <a:ext uri="{FF2B5EF4-FFF2-40B4-BE49-F238E27FC236}">
                <a16:creationId xmlns:a16="http://schemas.microsoft.com/office/drawing/2014/main" id="{DBB8C4F7-D361-620C-A6F7-2C9B5A71A2B8}"/>
              </a:ext>
            </a:extLst>
          </p:cNvPr>
          <p:cNvSpPr txBox="1"/>
          <p:nvPr/>
        </p:nvSpPr>
        <p:spPr>
          <a:xfrm>
            <a:off x="709538" y="4493079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8" name="Google Shape;1772;p22">
            <a:extLst>
              <a:ext uri="{FF2B5EF4-FFF2-40B4-BE49-F238E27FC236}">
                <a16:creationId xmlns:a16="http://schemas.microsoft.com/office/drawing/2014/main" id="{40608681-5AA5-5C24-5E4E-646C22047D6D}"/>
              </a:ext>
            </a:extLst>
          </p:cNvPr>
          <p:cNvSpPr txBox="1"/>
          <p:nvPr/>
        </p:nvSpPr>
        <p:spPr>
          <a:xfrm>
            <a:off x="8935102" y="1256769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2"/>
                </a:solidFill>
                <a:ea typeface="Arial"/>
                <a:cs typeface="Arial"/>
                <a:sym typeface="Arial"/>
              </a:rPr>
              <a:t>WEAKNESSES</a:t>
            </a:r>
            <a:endParaRPr sz="1600" dirty="0"/>
          </a:p>
        </p:txBody>
      </p:sp>
      <p:sp>
        <p:nvSpPr>
          <p:cNvPr id="9" name="Google Shape;1773;p22">
            <a:extLst>
              <a:ext uri="{FF2B5EF4-FFF2-40B4-BE49-F238E27FC236}">
                <a16:creationId xmlns:a16="http://schemas.microsoft.com/office/drawing/2014/main" id="{600B0607-EC02-E81B-E3BB-5979292781C7}"/>
              </a:ext>
            </a:extLst>
          </p:cNvPr>
          <p:cNvSpPr txBox="1"/>
          <p:nvPr/>
        </p:nvSpPr>
        <p:spPr>
          <a:xfrm>
            <a:off x="8935102" y="1656585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10" name="Google Shape;1774;p22">
            <a:extLst>
              <a:ext uri="{FF2B5EF4-FFF2-40B4-BE49-F238E27FC236}">
                <a16:creationId xmlns:a16="http://schemas.microsoft.com/office/drawing/2014/main" id="{E87F451E-DE58-C1B8-7069-C5147D31075F}"/>
              </a:ext>
            </a:extLst>
          </p:cNvPr>
          <p:cNvSpPr txBox="1"/>
          <p:nvPr/>
        </p:nvSpPr>
        <p:spPr>
          <a:xfrm>
            <a:off x="8935102" y="4093262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accent5"/>
                </a:solidFill>
                <a:ea typeface="Arial"/>
                <a:cs typeface="Arial"/>
                <a:sym typeface="Arial"/>
              </a:rPr>
              <a:t>THREATS</a:t>
            </a:r>
            <a:endParaRPr sz="1600"/>
          </a:p>
        </p:txBody>
      </p:sp>
      <p:sp>
        <p:nvSpPr>
          <p:cNvPr id="11" name="Google Shape;1775;p22">
            <a:extLst>
              <a:ext uri="{FF2B5EF4-FFF2-40B4-BE49-F238E27FC236}">
                <a16:creationId xmlns:a16="http://schemas.microsoft.com/office/drawing/2014/main" id="{7166CF2B-D63F-0BA2-911B-D85A905DAE14}"/>
              </a:ext>
            </a:extLst>
          </p:cNvPr>
          <p:cNvSpPr txBox="1"/>
          <p:nvPr/>
        </p:nvSpPr>
        <p:spPr>
          <a:xfrm>
            <a:off x="8935102" y="4493079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12" name="Google Shape;1776;p22">
            <a:extLst>
              <a:ext uri="{FF2B5EF4-FFF2-40B4-BE49-F238E27FC236}">
                <a16:creationId xmlns:a16="http://schemas.microsoft.com/office/drawing/2014/main" id="{8AC8201C-1D93-6100-55B9-5DF3C68548D5}"/>
              </a:ext>
            </a:extLst>
          </p:cNvPr>
          <p:cNvSpPr/>
          <p:nvPr/>
        </p:nvSpPr>
        <p:spPr>
          <a:xfrm>
            <a:off x="6097243" y="981945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3" name="Google Shape;1777;p22">
            <a:extLst>
              <a:ext uri="{FF2B5EF4-FFF2-40B4-BE49-F238E27FC236}">
                <a16:creationId xmlns:a16="http://schemas.microsoft.com/office/drawing/2014/main" id="{E21C0963-3273-F5FF-9CED-BFEB5E5278DE}"/>
              </a:ext>
            </a:extLst>
          </p:cNvPr>
          <p:cNvSpPr txBox="1"/>
          <p:nvPr/>
        </p:nvSpPr>
        <p:spPr>
          <a:xfrm>
            <a:off x="6762668" y="1591464"/>
            <a:ext cx="102143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W</a:t>
            </a:r>
            <a:endParaRPr sz="1600"/>
          </a:p>
        </p:txBody>
      </p:sp>
      <p:sp>
        <p:nvSpPr>
          <p:cNvPr id="14" name="Google Shape;1778;p22">
            <a:extLst>
              <a:ext uri="{FF2B5EF4-FFF2-40B4-BE49-F238E27FC236}">
                <a16:creationId xmlns:a16="http://schemas.microsoft.com/office/drawing/2014/main" id="{676AA82C-947D-4875-2920-A12903E9D0CA}"/>
              </a:ext>
            </a:extLst>
          </p:cNvPr>
          <p:cNvSpPr/>
          <p:nvPr/>
        </p:nvSpPr>
        <p:spPr>
          <a:xfrm flipH="1">
            <a:off x="3744964" y="981945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Google Shape;1779;p22">
            <a:extLst>
              <a:ext uri="{FF2B5EF4-FFF2-40B4-BE49-F238E27FC236}">
                <a16:creationId xmlns:a16="http://schemas.microsoft.com/office/drawing/2014/main" id="{42B227C7-4EC8-6386-B5F6-E40B16987E9F}"/>
              </a:ext>
            </a:extLst>
          </p:cNvPr>
          <p:cNvSpPr/>
          <p:nvPr/>
        </p:nvSpPr>
        <p:spPr>
          <a:xfrm rot="10800000">
            <a:off x="3737848" y="3423723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b="1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Google Shape;1780;p22">
            <a:extLst>
              <a:ext uri="{FF2B5EF4-FFF2-40B4-BE49-F238E27FC236}">
                <a16:creationId xmlns:a16="http://schemas.microsoft.com/office/drawing/2014/main" id="{98586213-BBDE-AD76-1FBD-06F280DB9B03}"/>
              </a:ext>
            </a:extLst>
          </p:cNvPr>
          <p:cNvSpPr/>
          <p:nvPr/>
        </p:nvSpPr>
        <p:spPr>
          <a:xfrm rot="10800000" flipH="1">
            <a:off x="6090123" y="3423723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781;p22">
            <a:extLst>
              <a:ext uri="{FF2B5EF4-FFF2-40B4-BE49-F238E27FC236}">
                <a16:creationId xmlns:a16="http://schemas.microsoft.com/office/drawing/2014/main" id="{C877C96C-D57E-9621-DEA0-48CCD4736288}"/>
              </a:ext>
            </a:extLst>
          </p:cNvPr>
          <p:cNvSpPr txBox="1"/>
          <p:nvPr/>
        </p:nvSpPr>
        <p:spPr>
          <a:xfrm>
            <a:off x="4610610" y="1591464"/>
            <a:ext cx="62068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 dirty="0">
                <a:solidFill>
                  <a:schemeClr val="lt1"/>
                </a:solidFill>
                <a:ea typeface="Arial"/>
                <a:cs typeface="Arial"/>
                <a:sym typeface="Arial"/>
              </a:rPr>
              <a:t>S</a:t>
            </a:r>
            <a:endParaRPr sz="1600" dirty="0"/>
          </a:p>
        </p:txBody>
      </p:sp>
      <p:sp>
        <p:nvSpPr>
          <p:cNvPr id="18" name="Google Shape;1782;p22">
            <a:extLst>
              <a:ext uri="{FF2B5EF4-FFF2-40B4-BE49-F238E27FC236}">
                <a16:creationId xmlns:a16="http://schemas.microsoft.com/office/drawing/2014/main" id="{A2657C79-6DE8-F9CC-50E1-6643DD9AE854}"/>
              </a:ext>
            </a:extLst>
          </p:cNvPr>
          <p:cNvSpPr txBox="1"/>
          <p:nvPr/>
        </p:nvSpPr>
        <p:spPr>
          <a:xfrm>
            <a:off x="6952465" y="4000692"/>
            <a:ext cx="641522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T</a:t>
            </a:r>
            <a:endParaRPr sz="1600"/>
          </a:p>
        </p:txBody>
      </p:sp>
      <p:sp>
        <p:nvSpPr>
          <p:cNvPr id="19" name="Google Shape;1783;p22">
            <a:extLst>
              <a:ext uri="{FF2B5EF4-FFF2-40B4-BE49-F238E27FC236}">
                <a16:creationId xmlns:a16="http://schemas.microsoft.com/office/drawing/2014/main" id="{0AA553E3-14F7-61EA-0DEE-4DCFF5988F6B}"/>
              </a:ext>
            </a:extLst>
          </p:cNvPr>
          <p:cNvSpPr txBox="1"/>
          <p:nvPr/>
        </p:nvSpPr>
        <p:spPr>
          <a:xfrm>
            <a:off x="4516190" y="4000692"/>
            <a:ext cx="809837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 dirty="0">
                <a:solidFill>
                  <a:schemeClr val="lt1"/>
                </a:solidFill>
                <a:ea typeface="Arial"/>
                <a:cs typeface="Arial"/>
                <a:sym typeface="Arial"/>
              </a:rPr>
              <a:t>O</a:t>
            </a:r>
            <a:endParaRPr sz="1600" dirty="0"/>
          </a:p>
        </p:txBody>
      </p:sp>
      <p:sp>
        <p:nvSpPr>
          <p:cNvPr id="20" name="Google Shape;1784;p22">
            <a:extLst>
              <a:ext uri="{FF2B5EF4-FFF2-40B4-BE49-F238E27FC236}">
                <a16:creationId xmlns:a16="http://schemas.microsoft.com/office/drawing/2014/main" id="{50405992-257C-2013-8A42-7DEC7070CACB}"/>
              </a:ext>
            </a:extLst>
          </p:cNvPr>
          <p:cNvSpPr/>
          <p:nvPr/>
        </p:nvSpPr>
        <p:spPr>
          <a:xfrm>
            <a:off x="5052648" y="2386309"/>
            <a:ext cx="2087862" cy="2085379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b="1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Google Shape;1785;p22">
            <a:extLst>
              <a:ext uri="{FF2B5EF4-FFF2-40B4-BE49-F238E27FC236}">
                <a16:creationId xmlns:a16="http://schemas.microsoft.com/office/drawing/2014/main" id="{A4E0B8B0-78E3-1A0D-9416-B73DCA4CE522}"/>
              </a:ext>
            </a:extLst>
          </p:cNvPr>
          <p:cNvSpPr txBox="1"/>
          <p:nvPr/>
        </p:nvSpPr>
        <p:spPr>
          <a:xfrm>
            <a:off x="5250194" y="3121221"/>
            <a:ext cx="1692771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1">
                <a:solidFill>
                  <a:schemeClr val="dk1"/>
                </a:solidFill>
                <a:ea typeface="Arial"/>
                <a:cs typeface="Arial"/>
                <a:sym typeface="Arial"/>
              </a:rPr>
              <a:t>SWOT</a:t>
            </a:r>
            <a:endParaRPr sz="4000" b="1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7DBF146B-345E-62B7-1933-8620C00B2BC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02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163064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5E9489-C9B2-EEC9-771E-A83AAC17BA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BDFC10B-3320-7B90-CAD7-783B7E4CF5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FC10B-3320-7B90-CAD7-783B7E4CF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60C47B6-C5F6-85D7-C194-9C1889BCD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23" name="Google Shape;1898;p27">
            <a:extLst>
              <a:ext uri="{FF2B5EF4-FFF2-40B4-BE49-F238E27FC236}">
                <a16:creationId xmlns:a16="http://schemas.microsoft.com/office/drawing/2014/main" id="{A51C0555-41E1-B3BF-BEBE-5649447B4F64}"/>
              </a:ext>
            </a:extLst>
          </p:cNvPr>
          <p:cNvSpPr/>
          <p:nvPr/>
        </p:nvSpPr>
        <p:spPr>
          <a:xfrm>
            <a:off x="476905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Google Shape;1899;p27">
            <a:extLst>
              <a:ext uri="{FF2B5EF4-FFF2-40B4-BE49-F238E27FC236}">
                <a16:creationId xmlns:a16="http://schemas.microsoft.com/office/drawing/2014/main" id="{358DF4DF-E650-3C30-19A3-F6FE2B61A5E4}"/>
              </a:ext>
            </a:extLst>
          </p:cNvPr>
          <p:cNvSpPr/>
          <p:nvPr/>
        </p:nvSpPr>
        <p:spPr>
          <a:xfrm>
            <a:off x="476905" y="1338598"/>
            <a:ext cx="2579956" cy="505609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Google Shape;1900;p27">
            <a:extLst>
              <a:ext uri="{FF2B5EF4-FFF2-40B4-BE49-F238E27FC236}">
                <a16:creationId xmlns:a16="http://schemas.microsoft.com/office/drawing/2014/main" id="{981EF853-C2A5-1809-EF3A-C86F723DDEC1}"/>
              </a:ext>
            </a:extLst>
          </p:cNvPr>
          <p:cNvSpPr/>
          <p:nvPr/>
        </p:nvSpPr>
        <p:spPr>
          <a:xfrm>
            <a:off x="3361538" y="1338598"/>
            <a:ext cx="2579956" cy="505609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6" name="Google Shape;1901;p27">
            <a:extLst>
              <a:ext uri="{FF2B5EF4-FFF2-40B4-BE49-F238E27FC236}">
                <a16:creationId xmlns:a16="http://schemas.microsoft.com/office/drawing/2014/main" id="{15E67BB8-4410-CAFD-1EAF-10AC52EA82B3}"/>
              </a:ext>
            </a:extLst>
          </p:cNvPr>
          <p:cNvSpPr/>
          <p:nvPr/>
        </p:nvSpPr>
        <p:spPr>
          <a:xfrm>
            <a:off x="6246170" y="1338598"/>
            <a:ext cx="2579956" cy="505609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Google Shape;1902;p27">
            <a:extLst>
              <a:ext uri="{FF2B5EF4-FFF2-40B4-BE49-F238E27FC236}">
                <a16:creationId xmlns:a16="http://schemas.microsoft.com/office/drawing/2014/main" id="{3CFACD46-749E-0BB5-80DD-13E2AE27F237}"/>
              </a:ext>
            </a:extLst>
          </p:cNvPr>
          <p:cNvSpPr/>
          <p:nvPr/>
        </p:nvSpPr>
        <p:spPr>
          <a:xfrm>
            <a:off x="9130804" y="1338598"/>
            <a:ext cx="2579956" cy="505609"/>
          </a:xfrm>
          <a:prstGeom prst="rect">
            <a:avLst/>
          </a:prstGeom>
          <a:solidFill>
            <a:schemeClr val="accent5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Google Shape;1903;p27">
            <a:extLst>
              <a:ext uri="{FF2B5EF4-FFF2-40B4-BE49-F238E27FC236}">
                <a16:creationId xmlns:a16="http://schemas.microsoft.com/office/drawing/2014/main" id="{8616CCBB-87BF-99AB-D3D7-7564758E8FDD}"/>
              </a:ext>
            </a:extLst>
          </p:cNvPr>
          <p:cNvSpPr/>
          <p:nvPr/>
        </p:nvSpPr>
        <p:spPr>
          <a:xfrm>
            <a:off x="3361538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9" name="Google Shape;1904;p27">
            <a:extLst>
              <a:ext uri="{FF2B5EF4-FFF2-40B4-BE49-F238E27FC236}">
                <a16:creationId xmlns:a16="http://schemas.microsoft.com/office/drawing/2014/main" id="{A5F6D96D-A5EC-1E30-AF06-FC9F8570D1CB}"/>
              </a:ext>
            </a:extLst>
          </p:cNvPr>
          <p:cNvSpPr/>
          <p:nvPr/>
        </p:nvSpPr>
        <p:spPr>
          <a:xfrm>
            <a:off x="6246170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Google Shape;1905;p27">
            <a:extLst>
              <a:ext uri="{FF2B5EF4-FFF2-40B4-BE49-F238E27FC236}">
                <a16:creationId xmlns:a16="http://schemas.microsoft.com/office/drawing/2014/main" id="{B9CCBB84-17A2-D054-EAC4-4240AF5D56A3}"/>
              </a:ext>
            </a:extLst>
          </p:cNvPr>
          <p:cNvSpPr/>
          <p:nvPr/>
        </p:nvSpPr>
        <p:spPr>
          <a:xfrm>
            <a:off x="9130804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1" name="Google Shape;1906;p27">
            <a:extLst>
              <a:ext uri="{FF2B5EF4-FFF2-40B4-BE49-F238E27FC236}">
                <a16:creationId xmlns:a16="http://schemas.microsoft.com/office/drawing/2014/main" id="{C8B2FD9B-A4BC-B3E2-2DC8-17B5F16449E3}"/>
              </a:ext>
            </a:extLst>
          </p:cNvPr>
          <p:cNvSpPr/>
          <p:nvPr/>
        </p:nvSpPr>
        <p:spPr>
          <a:xfrm>
            <a:off x="886299" y="1403333"/>
            <a:ext cx="1761168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lt1"/>
                </a:solidFill>
                <a:ea typeface="Arial"/>
                <a:cs typeface="Arial"/>
                <a:sym typeface="Arial"/>
              </a:rPr>
              <a:t>STRENGTH</a:t>
            </a:r>
            <a:endParaRPr sz="1600" dirty="0"/>
          </a:p>
        </p:txBody>
      </p:sp>
      <p:sp>
        <p:nvSpPr>
          <p:cNvPr id="32" name="Google Shape;1907;p27">
            <a:extLst>
              <a:ext uri="{FF2B5EF4-FFF2-40B4-BE49-F238E27FC236}">
                <a16:creationId xmlns:a16="http://schemas.microsoft.com/office/drawing/2014/main" id="{3373C983-E460-A1A5-6811-A5B675C3F54F}"/>
              </a:ext>
            </a:extLst>
          </p:cNvPr>
          <p:cNvSpPr/>
          <p:nvPr/>
        </p:nvSpPr>
        <p:spPr>
          <a:xfrm>
            <a:off x="6391070" y="1403333"/>
            <a:ext cx="2290158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lt1"/>
                </a:solidFill>
                <a:ea typeface="Arial"/>
                <a:cs typeface="Arial"/>
                <a:sym typeface="Arial"/>
              </a:rPr>
              <a:t>OPPORTUNITY</a:t>
            </a:r>
            <a:endParaRPr sz="1600" dirty="0"/>
          </a:p>
        </p:txBody>
      </p:sp>
      <p:sp>
        <p:nvSpPr>
          <p:cNvPr id="33" name="Google Shape;1908;p27">
            <a:extLst>
              <a:ext uri="{FF2B5EF4-FFF2-40B4-BE49-F238E27FC236}">
                <a16:creationId xmlns:a16="http://schemas.microsoft.com/office/drawing/2014/main" id="{536A34D8-74D0-1BC4-1266-14AF8082CD18}"/>
              </a:ext>
            </a:extLst>
          </p:cNvPr>
          <p:cNvSpPr/>
          <p:nvPr/>
        </p:nvSpPr>
        <p:spPr>
          <a:xfrm>
            <a:off x="3727651" y="1403333"/>
            <a:ext cx="1847730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WEAKNESS</a:t>
            </a:r>
            <a:endParaRPr sz="1600"/>
          </a:p>
        </p:txBody>
      </p:sp>
      <p:sp>
        <p:nvSpPr>
          <p:cNvPr id="34" name="Google Shape;1909;p27">
            <a:extLst>
              <a:ext uri="{FF2B5EF4-FFF2-40B4-BE49-F238E27FC236}">
                <a16:creationId xmlns:a16="http://schemas.microsoft.com/office/drawing/2014/main" id="{83921B27-31DE-54D2-4908-1629D0B0CE13}"/>
              </a:ext>
            </a:extLst>
          </p:cNvPr>
          <p:cNvSpPr/>
          <p:nvPr/>
        </p:nvSpPr>
        <p:spPr>
          <a:xfrm>
            <a:off x="9671036" y="1403333"/>
            <a:ext cx="1499493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THREATS</a:t>
            </a:r>
            <a:endParaRPr sz="1600"/>
          </a:p>
        </p:txBody>
      </p:sp>
      <p:sp>
        <p:nvSpPr>
          <p:cNvPr id="35" name="Google Shape;1910;p27">
            <a:extLst>
              <a:ext uri="{FF2B5EF4-FFF2-40B4-BE49-F238E27FC236}">
                <a16:creationId xmlns:a16="http://schemas.microsoft.com/office/drawing/2014/main" id="{6C98A410-3B97-63CF-8D11-7C4994EF7D2B}"/>
              </a:ext>
            </a:extLst>
          </p:cNvPr>
          <p:cNvSpPr/>
          <p:nvPr/>
        </p:nvSpPr>
        <p:spPr>
          <a:xfrm>
            <a:off x="568345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36" name="Google Shape;1911;p27">
            <a:extLst>
              <a:ext uri="{FF2B5EF4-FFF2-40B4-BE49-F238E27FC236}">
                <a16:creationId xmlns:a16="http://schemas.microsoft.com/office/drawing/2014/main" id="{2AC4DAA3-2FB0-9E88-FF9E-88850D7005FC}"/>
              </a:ext>
            </a:extLst>
          </p:cNvPr>
          <p:cNvSpPr/>
          <p:nvPr/>
        </p:nvSpPr>
        <p:spPr>
          <a:xfrm>
            <a:off x="3452978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rgbClr val="000000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37" name="Google Shape;1912;p27">
            <a:extLst>
              <a:ext uri="{FF2B5EF4-FFF2-40B4-BE49-F238E27FC236}">
                <a16:creationId xmlns:a16="http://schemas.microsoft.com/office/drawing/2014/main" id="{F15D616C-1C34-964E-C94F-4E1D2987C940}"/>
              </a:ext>
            </a:extLst>
          </p:cNvPr>
          <p:cNvSpPr/>
          <p:nvPr/>
        </p:nvSpPr>
        <p:spPr>
          <a:xfrm>
            <a:off x="6337611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rgbClr val="000000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38" name="Google Shape;1913;p27">
            <a:extLst>
              <a:ext uri="{FF2B5EF4-FFF2-40B4-BE49-F238E27FC236}">
                <a16:creationId xmlns:a16="http://schemas.microsoft.com/office/drawing/2014/main" id="{41C1D444-4A44-B4F5-9029-0BF2DFD34EF3}"/>
              </a:ext>
            </a:extLst>
          </p:cNvPr>
          <p:cNvSpPr/>
          <p:nvPr/>
        </p:nvSpPr>
        <p:spPr>
          <a:xfrm>
            <a:off x="9222244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rgbClr val="000000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40" name="Slide Number Placeholder 2">
            <a:extLst>
              <a:ext uri="{FF2B5EF4-FFF2-40B4-BE49-F238E27FC236}">
                <a16:creationId xmlns:a16="http://schemas.microsoft.com/office/drawing/2014/main" id="{6AC5E934-75EF-6DAF-51DD-3103997D6BA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03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909363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31C986-9664-EEA3-6850-F08BA965E0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BDFC2CA-7681-D2C7-E698-491931D72F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DFC2CA-7681-D2C7-E698-491931D72F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ED52FCF-FC4A-8A3F-7C92-90F1B2E14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3" name="Google Shape;281;p2">
            <a:extLst>
              <a:ext uri="{FF2B5EF4-FFF2-40B4-BE49-F238E27FC236}">
                <a16:creationId xmlns:a16="http://schemas.microsoft.com/office/drawing/2014/main" id="{5E8FA475-2706-331D-1F65-15ED1C684226}"/>
              </a:ext>
            </a:extLst>
          </p:cNvPr>
          <p:cNvSpPr/>
          <p:nvPr/>
        </p:nvSpPr>
        <p:spPr>
          <a:xfrm>
            <a:off x="984140" y="1136157"/>
            <a:ext cx="1731704" cy="1375054"/>
          </a:xfrm>
          <a:prstGeom prst="roundRect">
            <a:avLst>
              <a:gd name="adj" fmla="val 8069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lt1"/>
              </a:solidFill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5" name="Google Shape;282;p2">
            <a:extLst>
              <a:ext uri="{FF2B5EF4-FFF2-40B4-BE49-F238E27FC236}">
                <a16:creationId xmlns:a16="http://schemas.microsoft.com/office/drawing/2014/main" id="{B9364379-D432-1991-4D65-98B94AB22B84}"/>
              </a:ext>
            </a:extLst>
          </p:cNvPr>
          <p:cNvSpPr/>
          <p:nvPr/>
        </p:nvSpPr>
        <p:spPr>
          <a:xfrm>
            <a:off x="685747" y="1466214"/>
            <a:ext cx="2351170" cy="4763811"/>
          </a:xfrm>
          <a:custGeom>
            <a:avLst/>
            <a:gdLst/>
            <a:ahLst/>
            <a:cxnLst/>
            <a:rect l="l" t="t" r="r" b="b"/>
            <a:pathLst>
              <a:path w="2404439" h="4763811" extrusionOk="0">
                <a:moveTo>
                  <a:pt x="180838" y="0"/>
                </a:moveTo>
                <a:lnTo>
                  <a:pt x="663826" y="0"/>
                </a:lnTo>
                <a:lnTo>
                  <a:pt x="671937" y="80460"/>
                </a:lnTo>
                <a:cubicBezTo>
                  <a:pt x="722409" y="327111"/>
                  <a:pt x="940647" y="512652"/>
                  <a:pt x="1202219" y="512652"/>
                </a:cubicBezTo>
                <a:cubicBezTo>
                  <a:pt x="1463792" y="512652"/>
                  <a:pt x="1682029" y="327111"/>
                  <a:pt x="1732501" y="80460"/>
                </a:cubicBezTo>
                <a:lnTo>
                  <a:pt x="1740612" y="0"/>
                </a:lnTo>
                <a:lnTo>
                  <a:pt x="2223601" y="0"/>
                </a:lnTo>
                <a:cubicBezTo>
                  <a:pt x="2323475" y="0"/>
                  <a:pt x="2404439" y="80964"/>
                  <a:pt x="2404439" y="180838"/>
                </a:cubicBezTo>
                <a:lnTo>
                  <a:pt x="2404439" y="4582973"/>
                </a:lnTo>
                <a:cubicBezTo>
                  <a:pt x="2404439" y="4682847"/>
                  <a:pt x="2323475" y="4763811"/>
                  <a:pt x="2223601" y="4763811"/>
                </a:cubicBezTo>
                <a:lnTo>
                  <a:pt x="180838" y="4763811"/>
                </a:lnTo>
                <a:cubicBezTo>
                  <a:pt x="80964" y="4763811"/>
                  <a:pt x="0" y="4682847"/>
                  <a:pt x="0" y="4582973"/>
                </a:cubicBezTo>
                <a:lnTo>
                  <a:pt x="0" y="180838"/>
                </a:lnTo>
                <a:cubicBezTo>
                  <a:pt x="0" y="80964"/>
                  <a:pt x="80964" y="0"/>
                  <a:pt x="180838" y="0"/>
                </a:cubicBez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600" dirty="0">
              <a:solidFill>
                <a:schemeClr val="lt1"/>
              </a:solidFill>
              <a:cs typeface="Arial"/>
              <a:sym typeface="Open Sans"/>
            </a:endParaRPr>
          </a:p>
        </p:txBody>
      </p:sp>
      <p:sp>
        <p:nvSpPr>
          <p:cNvPr id="6" name="Google Shape;283;p2">
            <a:extLst>
              <a:ext uri="{FF2B5EF4-FFF2-40B4-BE49-F238E27FC236}">
                <a16:creationId xmlns:a16="http://schemas.microsoft.com/office/drawing/2014/main" id="{289F81C0-2B7C-A25B-24A4-CACC638B47E8}"/>
              </a:ext>
            </a:extLst>
          </p:cNvPr>
          <p:cNvSpPr txBox="1"/>
          <p:nvPr/>
        </p:nvSpPr>
        <p:spPr>
          <a:xfrm>
            <a:off x="850072" y="2584891"/>
            <a:ext cx="201003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8" name="Google Shape;284;p2">
            <a:extLst>
              <a:ext uri="{FF2B5EF4-FFF2-40B4-BE49-F238E27FC236}">
                <a16:creationId xmlns:a16="http://schemas.microsoft.com/office/drawing/2014/main" id="{571C934E-E84D-BFFD-C880-DA8A4E72DF2A}"/>
              </a:ext>
            </a:extLst>
          </p:cNvPr>
          <p:cNvSpPr txBox="1"/>
          <p:nvPr/>
        </p:nvSpPr>
        <p:spPr>
          <a:xfrm>
            <a:off x="850072" y="2181159"/>
            <a:ext cx="2010031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chemeClr val="accent1"/>
                </a:solidFill>
                <a:ea typeface="Arial"/>
                <a:cs typeface="Arial"/>
                <a:sym typeface="Arial"/>
              </a:rPr>
              <a:t>STRENGTH</a:t>
            </a:r>
            <a:endParaRPr b="1">
              <a:solidFill>
                <a:schemeClr val="accen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Google Shape;285;p2">
            <a:extLst>
              <a:ext uri="{FF2B5EF4-FFF2-40B4-BE49-F238E27FC236}">
                <a16:creationId xmlns:a16="http://schemas.microsoft.com/office/drawing/2014/main" id="{2D810B68-407D-86B4-6207-3766BCC7AEA4}"/>
              </a:ext>
            </a:extLst>
          </p:cNvPr>
          <p:cNvSpPr txBox="1"/>
          <p:nvPr/>
        </p:nvSpPr>
        <p:spPr>
          <a:xfrm>
            <a:off x="1513856" y="1235915"/>
            <a:ext cx="632012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S</a:t>
            </a:r>
            <a:endParaRPr sz="1100"/>
          </a:p>
        </p:txBody>
      </p:sp>
      <p:sp>
        <p:nvSpPr>
          <p:cNvPr id="10" name="Google Shape;286;p2">
            <a:extLst>
              <a:ext uri="{FF2B5EF4-FFF2-40B4-BE49-F238E27FC236}">
                <a16:creationId xmlns:a16="http://schemas.microsoft.com/office/drawing/2014/main" id="{48919047-D258-04AC-AAC2-0DB603DCAA4F}"/>
              </a:ext>
            </a:extLst>
          </p:cNvPr>
          <p:cNvSpPr/>
          <p:nvPr/>
        </p:nvSpPr>
        <p:spPr>
          <a:xfrm>
            <a:off x="3837711" y="1136157"/>
            <a:ext cx="1731704" cy="1375054"/>
          </a:xfrm>
          <a:prstGeom prst="roundRect">
            <a:avLst>
              <a:gd name="adj" fmla="val 8069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lt1"/>
              </a:solidFill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11" name="Google Shape;287;p2">
            <a:extLst>
              <a:ext uri="{FF2B5EF4-FFF2-40B4-BE49-F238E27FC236}">
                <a16:creationId xmlns:a16="http://schemas.microsoft.com/office/drawing/2014/main" id="{BB19A1CC-32EE-BAD7-57F3-5B179425017D}"/>
              </a:ext>
            </a:extLst>
          </p:cNvPr>
          <p:cNvSpPr/>
          <p:nvPr/>
        </p:nvSpPr>
        <p:spPr>
          <a:xfrm>
            <a:off x="3539318" y="1466214"/>
            <a:ext cx="2351170" cy="4763811"/>
          </a:xfrm>
          <a:custGeom>
            <a:avLst/>
            <a:gdLst/>
            <a:ahLst/>
            <a:cxnLst/>
            <a:rect l="l" t="t" r="r" b="b"/>
            <a:pathLst>
              <a:path w="2404439" h="4763811" extrusionOk="0">
                <a:moveTo>
                  <a:pt x="180838" y="0"/>
                </a:moveTo>
                <a:lnTo>
                  <a:pt x="663826" y="0"/>
                </a:lnTo>
                <a:lnTo>
                  <a:pt x="671937" y="80460"/>
                </a:lnTo>
                <a:cubicBezTo>
                  <a:pt x="722409" y="327111"/>
                  <a:pt x="940647" y="512652"/>
                  <a:pt x="1202219" y="512652"/>
                </a:cubicBezTo>
                <a:cubicBezTo>
                  <a:pt x="1463792" y="512652"/>
                  <a:pt x="1682029" y="327111"/>
                  <a:pt x="1732501" y="80460"/>
                </a:cubicBezTo>
                <a:lnTo>
                  <a:pt x="1740612" y="0"/>
                </a:lnTo>
                <a:lnTo>
                  <a:pt x="2223601" y="0"/>
                </a:lnTo>
                <a:cubicBezTo>
                  <a:pt x="2323475" y="0"/>
                  <a:pt x="2404439" y="80964"/>
                  <a:pt x="2404439" y="180838"/>
                </a:cubicBezTo>
                <a:lnTo>
                  <a:pt x="2404439" y="4582973"/>
                </a:lnTo>
                <a:cubicBezTo>
                  <a:pt x="2404439" y="4682847"/>
                  <a:pt x="2323475" y="4763811"/>
                  <a:pt x="2223601" y="4763811"/>
                </a:cubicBezTo>
                <a:lnTo>
                  <a:pt x="180838" y="4763811"/>
                </a:lnTo>
                <a:cubicBezTo>
                  <a:pt x="80964" y="4763811"/>
                  <a:pt x="0" y="4682847"/>
                  <a:pt x="0" y="4582973"/>
                </a:cubicBezTo>
                <a:lnTo>
                  <a:pt x="0" y="180838"/>
                </a:lnTo>
                <a:cubicBezTo>
                  <a:pt x="0" y="80964"/>
                  <a:pt x="80964" y="0"/>
                  <a:pt x="180838" y="0"/>
                </a:cubicBez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600" dirty="0">
              <a:solidFill>
                <a:schemeClr val="lt1"/>
              </a:solidFill>
              <a:cs typeface="Arial"/>
              <a:sym typeface="Open Sans"/>
            </a:endParaRPr>
          </a:p>
        </p:txBody>
      </p:sp>
      <p:sp>
        <p:nvSpPr>
          <p:cNvPr id="12" name="Google Shape;288;p2">
            <a:extLst>
              <a:ext uri="{FF2B5EF4-FFF2-40B4-BE49-F238E27FC236}">
                <a16:creationId xmlns:a16="http://schemas.microsoft.com/office/drawing/2014/main" id="{21E8D8FC-320A-F0E6-A125-89713D6CBBD1}"/>
              </a:ext>
            </a:extLst>
          </p:cNvPr>
          <p:cNvSpPr txBox="1"/>
          <p:nvPr/>
        </p:nvSpPr>
        <p:spPr>
          <a:xfrm>
            <a:off x="3703643" y="2584888"/>
            <a:ext cx="201003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13" name="Google Shape;289;p2">
            <a:extLst>
              <a:ext uri="{FF2B5EF4-FFF2-40B4-BE49-F238E27FC236}">
                <a16:creationId xmlns:a16="http://schemas.microsoft.com/office/drawing/2014/main" id="{0E41288A-B057-6C49-3CCF-10D3414787BD}"/>
              </a:ext>
            </a:extLst>
          </p:cNvPr>
          <p:cNvSpPr txBox="1"/>
          <p:nvPr/>
        </p:nvSpPr>
        <p:spPr>
          <a:xfrm>
            <a:off x="3703643" y="2181158"/>
            <a:ext cx="2010031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chemeClr val="accent2"/>
                </a:solidFill>
                <a:ea typeface="Arial"/>
                <a:cs typeface="Arial"/>
                <a:sym typeface="Arial"/>
              </a:rPr>
              <a:t>WEAKNESS</a:t>
            </a:r>
            <a:endParaRPr b="1">
              <a:solidFill>
                <a:schemeClr val="accent2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Google Shape;290;p2">
            <a:extLst>
              <a:ext uri="{FF2B5EF4-FFF2-40B4-BE49-F238E27FC236}">
                <a16:creationId xmlns:a16="http://schemas.microsoft.com/office/drawing/2014/main" id="{1AFB2C17-53C3-1D19-FBCE-E1134827F140}"/>
              </a:ext>
            </a:extLst>
          </p:cNvPr>
          <p:cNvSpPr txBox="1"/>
          <p:nvPr/>
        </p:nvSpPr>
        <p:spPr>
          <a:xfrm>
            <a:off x="4276821" y="1235915"/>
            <a:ext cx="82011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W</a:t>
            </a:r>
            <a:endParaRPr sz="1100"/>
          </a:p>
        </p:txBody>
      </p:sp>
      <p:sp>
        <p:nvSpPr>
          <p:cNvPr id="15" name="Google Shape;291;p2">
            <a:extLst>
              <a:ext uri="{FF2B5EF4-FFF2-40B4-BE49-F238E27FC236}">
                <a16:creationId xmlns:a16="http://schemas.microsoft.com/office/drawing/2014/main" id="{2E7F99D7-A963-4AA2-E3D0-1F37AF557545}"/>
              </a:ext>
            </a:extLst>
          </p:cNvPr>
          <p:cNvSpPr/>
          <p:nvPr/>
        </p:nvSpPr>
        <p:spPr>
          <a:xfrm>
            <a:off x="6691282" y="1136157"/>
            <a:ext cx="1731704" cy="1375054"/>
          </a:xfrm>
          <a:prstGeom prst="roundRect">
            <a:avLst>
              <a:gd name="adj" fmla="val 8069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lt1"/>
              </a:solidFill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16" name="Google Shape;292;p2">
            <a:extLst>
              <a:ext uri="{FF2B5EF4-FFF2-40B4-BE49-F238E27FC236}">
                <a16:creationId xmlns:a16="http://schemas.microsoft.com/office/drawing/2014/main" id="{E0E73522-0E24-7B80-3C93-B6C0A7DF26EA}"/>
              </a:ext>
            </a:extLst>
          </p:cNvPr>
          <p:cNvSpPr/>
          <p:nvPr/>
        </p:nvSpPr>
        <p:spPr>
          <a:xfrm>
            <a:off x="6392889" y="1466214"/>
            <a:ext cx="2351170" cy="4763811"/>
          </a:xfrm>
          <a:custGeom>
            <a:avLst/>
            <a:gdLst/>
            <a:ahLst/>
            <a:cxnLst/>
            <a:rect l="l" t="t" r="r" b="b"/>
            <a:pathLst>
              <a:path w="2404439" h="4763811" extrusionOk="0">
                <a:moveTo>
                  <a:pt x="180838" y="0"/>
                </a:moveTo>
                <a:lnTo>
                  <a:pt x="663826" y="0"/>
                </a:lnTo>
                <a:lnTo>
                  <a:pt x="671937" y="80460"/>
                </a:lnTo>
                <a:cubicBezTo>
                  <a:pt x="722409" y="327111"/>
                  <a:pt x="940647" y="512652"/>
                  <a:pt x="1202219" y="512652"/>
                </a:cubicBezTo>
                <a:cubicBezTo>
                  <a:pt x="1463792" y="512652"/>
                  <a:pt x="1682029" y="327111"/>
                  <a:pt x="1732501" y="80460"/>
                </a:cubicBezTo>
                <a:lnTo>
                  <a:pt x="1740612" y="0"/>
                </a:lnTo>
                <a:lnTo>
                  <a:pt x="2223601" y="0"/>
                </a:lnTo>
                <a:cubicBezTo>
                  <a:pt x="2323475" y="0"/>
                  <a:pt x="2404439" y="80964"/>
                  <a:pt x="2404439" y="180838"/>
                </a:cubicBezTo>
                <a:lnTo>
                  <a:pt x="2404439" y="4582973"/>
                </a:lnTo>
                <a:cubicBezTo>
                  <a:pt x="2404439" y="4682847"/>
                  <a:pt x="2323475" y="4763811"/>
                  <a:pt x="2223601" y="4763811"/>
                </a:cubicBezTo>
                <a:lnTo>
                  <a:pt x="180838" y="4763811"/>
                </a:lnTo>
                <a:cubicBezTo>
                  <a:pt x="80964" y="4763811"/>
                  <a:pt x="0" y="4682847"/>
                  <a:pt x="0" y="4582973"/>
                </a:cubicBezTo>
                <a:lnTo>
                  <a:pt x="0" y="180838"/>
                </a:lnTo>
                <a:cubicBezTo>
                  <a:pt x="0" y="80964"/>
                  <a:pt x="80964" y="0"/>
                  <a:pt x="180838" y="0"/>
                </a:cubicBez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600" dirty="0">
              <a:solidFill>
                <a:schemeClr val="lt1"/>
              </a:solidFill>
              <a:cs typeface="Arial"/>
              <a:sym typeface="Open Sans"/>
            </a:endParaRPr>
          </a:p>
        </p:txBody>
      </p:sp>
      <p:sp>
        <p:nvSpPr>
          <p:cNvPr id="17" name="Google Shape;293;p2">
            <a:extLst>
              <a:ext uri="{FF2B5EF4-FFF2-40B4-BE49-F238E27FC236}">
                <a16:creationId xmlns:a16="http://schemas.microsoft.com/office/drawing/2014/main" id="{29853853-1840-8ED9-9652-C2E7AD6A92AC}"/>
              </a:ext>
            </a:extLst>
          </p:cNvPr>
          <p:cNvSpPr txBox="1"/>
          <p:nvPr/>
        </p:nvSpPr>
        <p:spPr>
          <a:xfrm>
            <a:off x="6557214" y="2584887"/>
            <a:ext cx="201003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18" name="Google Shape;294;p2">
            <a:extLst>
              <a:ext uri="{FF2B5EF4-FFF2-40B4-BE49-F238E27FC236}">
                <a16:creationId xmlns:a16="http://schemas.microsoft.com/office/drawing/2014/main" id="{7DF7AB15-B1D4-E5A8-31B4-5BD48136E3B0}"/>
              </a:ext>
            </a:extLst>
          </p:cNvPr>
          <p:cNvSpPr txBox="1"/>
          <p:nvPr/>
        </p:nvSpPr>
        <p:spPr>
          <a:xfrm>
            <a:off x="6557214" y="2181156"/>
            <a:ext cx="2010031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accent4"/>
                </a:solidFill>
                <a:ea typeface="Arial"/>
                <a:cs typeface="Arial"/>
                <a:sym typeface="Arial"/>
              </a:rPr>
              <a:t>OPPORTUNITY</a:t>
            </a:r>
            <a:endParaRPr b="1" dirty="0">
              <a:solidFill>
                <a:schemeClr val="accent4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Google Shape;295;p2">
            <a:extLst>
              <a:ext uri="{FF2B5EF4-FFF2-40B4-BE49-F238E27FC236}">
                <a16:creationId xmlns:a16="http://schemas.microsoft.com/office/drawing/2014/main" id="{2008558F-520D-C71D-E212-B8EA8ABB3125}"/>
              </a:ext>
            </a:extLst>
          </p:cNvPr>
          <p:cNvSpPr txBox="1"/>
          <p:nvPr/>
        </p:nvSpPr>
        <p:spPr>
          <a:xfrm>
            <a:off x="7184755" y="1235915"/>
            <a:ext cx="707251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O</a:t>
            </a:r>
            <a:endParaRPr sz="1100"/>
          </a:p>
        </p:txBody>
      </p:sp>
      <p:sp>
        <p:nvSpPr>
          <p:cNvPr id="20" name="Google Shape;296;p2">
            <a:extLst>
              <a:ext uri="{FF2B5EF4-FFF2-40B4-BE49-F238E27FC236}">
                <a16:creationId xmlns:a16="http://schemas.microsoft.com/office/drawing/2014/main" id="{F487C8DA-CE50-4B96-E15D-97C30152578E}"/>
              </a:ext>
            </a:extLst>
          </p:cNvPr>
          <p:cNvSpPr/>
          <p:nvPr/>
        </p:nvSpPr>
        <p:spPr>
          <a:xfrm>
            <a:off x="9544852" y="1136157"/>
            <a:ext cx="1731704" cy="1375054"/>
          </a:xfrm>
          <a:prstGeom prst="roundRect">
            <a:avLst>
              <a:gd name="adj" fmla="val 8069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lt1"/>
              </a:solidFill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21" name="Google Shape;297;p2">
            <a:extLst>
              <a:ext uri="{FF2B5EF4-FFF2-40B4-BE49-F238E27FC236}">
                <a16:creationId xmlns:a16="http://schemas.microsoft.com/office/drawing/2014/main" id="{CC53AEEE-3FA0-5D35-B33D-ECA6A2C6ADD1}"/>
              </a:ext>
            </a:extLst>
          </p:cNvPr>
          <p:cNvSpPr/>
          <p:nvPr/>
        </p:nvSpPr>
        <p:spPr>
          <a:xfrm>
            <a:off x="9246459" y="1466214"/>
            <a:ext cx="2351170" cy="4763811"/>
          </a:xfrm>
          <a:custGeom>
            <a:avLst/>
            <a:gdLst/>
            <a:ahLst/>
            <a:cxnLst/>
            <a:rect l="l" t="t" r="r" b="b"/>
            <a:pathLst>
              <a:path w="2404439" h="4763811" extrusionOk="0">
                <a:moveTo>
                  <a:pt x="180838" y="0"/>
                </a:moveTo>
                <a:lnTo>
                  <a:pt x="663826" y="0"/>
                </a:lnTo>
                <a:lnTo>
                  <a:pt x="671937" y="80460"/>
                </a:lnTo>
                <a:cubicBezTo>
                  <a:pt x="722409" y="327111"/>
                  <a:pt x="940647" y="512652"/>
                  <a:pt x="1202219" y="512652"/>
                </a:cubicBezTo>
                <a:cubicBezTo>
                  <a:pt x="1463792" y="512652"/>
                  <a:pt x="1682029" y="327111"/>
                  <a:pt x="1732501" y="80460"/>
                </a:cubicBezTo>
                <a:lnTo>
                  <a:pt x="1740612" y="0"/>
                </a:lnTo>
                <a:lnTo>
                  <a:pt x="2223601" y="0"/>
                </a:lnTo>
                <a:cubicBezTo>
                  <a:pt x="2323475" y="0"/>
                  <a:pt x="2404439" y="80964"/>
                  <a:pt x="2404439" y="180838"/>
                </a:cubicBezTo>
                <a:lnTo>
                  <a:pt x="2404439" y="4582973"/>
                </a:lnTo>
                <a:cubicBezTo>
                  <a:pt x="2404439" y="4682847"/>
                  <a:pt x="2323475" y="4763811"/>
                  <a:pt x="2223601" y="4763811"/>
                </a:cubicBezTo>
                <a:lnTo>
                  <a:pt x="180838" y="4763811"/>
                </a:lnTo>
                <a:cubicBezTo>
                  <a:pt x="80964" y="4763811"/>
                  <a:pt x="0" y="4682847"/>
                  <a:pt x="0" y="4582973"/>
                </a:cubicBezTo>
                <a:lnTo>
                  <a:pt x="0" y="180838"/>
                </a:lnTo>
                <a:cubicBezTo>
                  <a:pt x="0" y="80964"/>
                  <a:pt x="80964" y="0"/>
                  <a:pt x="180838" y="0"/>
                </a:cubicBezTo>
                <a:close/>
              </a:path>
            </a:pathLst>
          </a:custGeom>
          <a:solidFill>
            <a:schemeClr val="bg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sz="1600" dirty="0">
              <a:solidFill>
                <a:schemeClr val="dk1"/>
              </a:solidFill>
              <a:cs typeface="Arial"/>
              <a:sym typeface="Open Sans"/>
            </a:endParaRPr>
          </a:p>
        </p:txBody>
      </p:sp>
      <p:sp>
        <p:nvSpPr>
          <p:cNvPr id="22" name="Google Shape;298;p2">
            <a:extLst>
              <a:ext uri="{FF2B5EF4-FFF2-40B4-BE49-F238E27FC236}">
                <a16:creationId xmlns:a16="http://schemas.microsoft.com/office/drawing/2014/main" id="{5249575D-CD3E-0F2C-CB10-43AE8138A98B}"/>
              </a:ext>
            </a:extLst>
          </p:cNvPr>
          <p:cNvSpPr txBox="1"/>
          <p:nvPr/>
        </p:nvSpPr>
        <p:spPr>
          <a:xfrm>
            <a:off x="9410784" y="2584887"/>
            <a:ext cx="201003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39" name="Google Shape;299;p2">
            <a:extLst>
              <a:ext uri="{FF2B5EF4-FFF2-40B4-BE49-F238E27FC236}">
                <a16:creationId xmlns:a16="http://schemas.microsoft.com/office/drawing/2014/main" id="{40B39B1A-540E-D793-1023-A55D4E7F686A}"/>
              </a:ext>
            </a:extLst>
          </p:cNvPr>
          <p:cNvSpPr txBox="1"/>
          <p:nvPr/>
        </p:nvSpPr>
        <p:spPr>
          <a:xfrm>
            <a:off x="9410784" y="2181156"/>
            <a:ext cx="2010031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chemeClr val="accent5"/>
                </a:solidFill>
                <a:ea typeface="Arial"/>
                <a:cs typeface="Arial"/>
                <a:sym typeface="Arial"/>
              </a:rPr>
              <a:t>THREATS</a:t>
            </a:r>
            <a:endParaRPr b="1">
              <a:solidFill>
                <a:schemeClr val="accent5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0" name="Google Shape;300;p2">
            <a:extLst>
              <a:ext uri="{FF2B5EF4-FFF2-40B4-BE49-F238E27FC236}">
                <a16:creationId xmlns:a16="http://schemas.microsoft.com/office/drawing/2014/main" id="{BBC0D1C7-85D1-F6C4-B9DF-78BC0F27437B}"/>
              </a:ext>
            </a:extLst>
          </p:cNvPr>
          <p:cNvSpPr txBox="1"/>
          <p:nvPr/>
        </p:nvSpPr>
        <p:spPr>
          <a:xfrm>
            <a:off x="10092689" y="1235915"/>
            <a:ext cx="594393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T</a:t>
            </a:r>
            <a:endParaRPr sz="1100"/>
          </a:p>
        </p:txBody>
      </p:sp>
      <p:sp>
        <p:nvSpPr>
          <p:cNvPr id="42" name="Slide Number Placeholder 2">
            <a:extLst>
              <a:ext uri="{FF2B5EF4-FFF2-40B4-BE49-F238E27FC236}">
                <a16:creationId xmlns:a16="http://schemas.microsoft.com/office/drawing/2014/main" id="{7DDC0B56-F2D8-F62D-AF48-C8A1A9E21C7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04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431461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91499B-EFBA-2B51-04DE-B7B020B50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5982AF5-4B90-F3B4-C1DB-3E98C83301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982AF5-4B90-F3B4-C1DB-3E98C8330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2C111F4-CA11-FB51-4C16-3E051A6217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1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131F536-F2AB-9FD2-8578-C424D28353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12724028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52059-66CD-79E5-EB17-E3D29C122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F0B2295-E9DE-DB5D-42A2-F98136122D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0B2295-E9DE-DB5D-42A2-F98136122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97376C-6928-A015-0AC7-B2B6327D9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49766AA-70F1-FCF4-EB88-8940ADD71F7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0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Google Shape;2175;p38">
            <a:extLst>
              <a:ext uri="{FF2B5EF4-FFF2-40B4-BE49-F238E27FC236}">
                <a16:creationId xmlns:a16="http://schemas.microsoft.com/office/drawing/2014/main" id="{877D28E6-6124-FB79-EA1B-D6D070DAF47A}"/>
              </a:ext>
            </a:extLst>
          </p:cNvPr>
          <p:cNvSpPr/>
          <p:nvPr/>
        </p:nvSpPr>
        <p:spPr>
          <a:xfrm flipH="1">
            <a:off x="3677721" y="2103282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lt1"/>
                </a:solidFill>
                <a:ea typeface="Trebuchet MS"/>
                <a:cs typeface="Arial" panose="020B0604020202020204" pitchFamily="34" charset="0"/>
                <a:sym typeface="Trebuchet MS"/>
              </a:rPr>
              <a:t>2</a:t>
            </a:r>
            <a:endParaRPr sz="2000" dirty="0"/>
          </a:p>
        </p:txBody>
      </p:sp>
      <p:grpSp>
        <p:nvGrpSpPr>
          <p:cNvPr id="19" name="Google Shape;2176;p38">
            <a:extLst>
              <a:ext uri="{FF2B5EF4-FFF2-40B4-BE49-F238E27FC236}">
                <a16:creationId xmlns:a16="http://schemas.microsoft.com/office/drawing/2014/main" id="{4FAC7181-D34B-558E-1F6F-F71E9B2B6539}"/>
              </a:ext>
            </a:extLst>
          </p:cNvPr>
          <p:cNvGrpSpPr/>
          <p:nvPr/>
        </p:nvGrpSpPr>
        <p:grpSpPr>
          <a:xfrm>
            <a:off x="4516845" y="2176486"/>
            <a:ext cx="3029019" cy="386409"/>
            <a:chOff x="4360893" y="2840540"/>
            <a:chExt cx="3017520" cy="384943"/>
          </a:xfrm>
        </p:grpSpPr>
        <p:sp>
          <p:nvSpPr>
            <p:cNvPr id="20" name="Google Shape;2177;p38">
              <a:extLst>
                <a:ext uri="{FF2B5EF4-FFF2-40B4-BE49-F238E27FC236}">
                  <a16:creationId xmlns:a16="http://schemas.microsoft.com/office/drawing/2014/main" id="{75559A99-4400-DA7B-ED83-5D0A0BF72B79}"/>
                </a:ext>
              </a:extLst>
            </p:cNvPr>
            <p:cNvSpPr txBox="1"/>
            <p:nvPr/>
          </p:nvSpPr>
          <p:spPr>
            <a:xfrm>
              <a:off x="4360893" y="30562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" name="Google Shape;2178;p38">
              <a:extLst>
                <a:ext uri="{FF2B5EF4-FFF2-40B4-BE49-F238E27FC236}">
                  <a16:creationId xmlns:a16="http://schemas.microsoft.com/office/drawing/2014/main" id="{EA4DD358-43DE-9FEE-CAD6-4534E302A811}"/>
                </a:ext>
              </a:extLst>
            </p:cNvPr>
            <p:cNvSpPr txBox="1"/>
            <p:nvPr/>
          </p:nvSpPr>
          <p:spPr>
            <a:xfrm>
              <a:off x="4360893" y="28405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26" name="Google Shape;2180;p38">
            <a:extLst>
              <a:ext uri="{FF2B5EF4-FFF2-40B4-BE49-F238E27FC236}">
                <a16:creationId xmlns:a16="http://schemas.microsoft.com/office/drawing/2014/main" id="{0CC2FC16-E02C-969C-CFA9-B62AB2B94AFC}"/>
              </a:ext>
            </a:extLst>
          </p:cNvPr>
          <p:cNvSpPr/>
          <p:nvPr/>
        </p:nvSpPr>
        <p:spPr>
          <a:xfrm>
            <a:off x="3677724" y="2962518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lt1"/>
                </a:solidFill>
                <a:ea typeface="Trebuchet MS"/>
                <a:cs typeface="Arial" panose="020B0604020202020204" pitchFamily="34" charset="0"/>
                <a:sym typeface="Trebuchet MS"/>
              </a:rPr>
              <a:t>3</a:t>
            </a:r>
            <a:endParaRPr sz="2000" dirty="0"/>
          </a:p>
        </p:txBody>
      </p:sp>
      <p:grpSp>
        <p:nvGrpSpPr>
          <p:cNvPr id="27" name="Google Shape;2181;p38">
            <a:extLst>
              <a:ext uri="{FF2B5EF4-FFF2-40B4-BE49-F238E27FC236}">
                <a16:creationId xmlns:a16="http://schemas.microsoft.com/office/drawing/2014/main" id="{C48569AF-0AE0-D0BC-D618-09CF53AC8502}"/>
              </a:ext>
            </a:extLst>
          </p:cNvPr>
          <p:cNvGrpSpPr/>
          <p:nvPr/>
        </p:nvGrpSpPr>
        <p:grpSpPr>
          <a:xfrm>
            <a:off x="4516847" y="3035721"/>
            <a:ext cx="3029019" cy="386409"/>
            <a:chOff x="4360893" y="3678040"/>
            <a:chExt cx="3017520" cy="384943"/>
          </a:xfrm>
        </p:grpSpPr>
        <p:sp>
          <p:nvSpPr>
            <p:cNvPr id="28" name="Google Shape;2182;p38">
              <a:extLst>
                <a:ext uri="{FF2B5EF4-FFF2-40B4-BE49-F238E27FC236}">
                  <a16:creationId xmlns:a16="http://schemas.microsoft.com/office/drawing/2014/main" id="{349FA384-7F25-47E0-5FDE-E2D8B92E93ED}"/>
                </a:ext>
              </a:extLst>
            </p:cNvPr>
            <p:cNvSpPr txBox="1"/>
            <p:nvPr/>
          </p:nvSpPr>
          <p:spPr>
            <a:xfrm>
              <a:off x="4360893" y="38937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9" name="Google Shape;2183;p38">
              <a:extLst>
                <a:ext uri="{FF2B5EF4-FFF2-40B4-BE49-F238E27FC236}">
                  <a16:creationId xmlns:a16="http://schemas.microsoft.com/office/drawing/2014/main" id="{CEE6C079-0F9A-96EB-713D-340412BD4BB2}"/>
                </a:ext>
              </a:extLst>
            </p:cNvPr>
            <p:cNvSpPr txBox="1"/>
            <p:nvPr/>
          </p:nvSpPr>
          <p:spPr>
            <a:xfrm>
              <a:off x="4360893" y="36780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1" name="Google Shape;2185;p38">
            <a:extLst>
              <a:ext uri="{FF2B5EF4-FFF2-40B4-BE49-F238E27FC236}">
                <a16:creationId xmlns:a16="http://schemas.microsoft.com/office/drawing/2014/main" id="{E0000AB1-AD57-97E1-10CF-E3BB98587038}"/>
              </a:ext>
            </a:extLst>
          </p:cNvPr>
          <p:cNvSpPr/>
          <p:nvPr/>
        </p:nvSpPr>
        <p:spPr>
          <a:xfrm flipH="1">
            <a:off x="3677724" y="3821753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4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2" name="Google Shape;2186;p38">
            <a:extLst>
              <a:ext uri="{FF2B5EF4-FFF2-40B4-BE49-F238E27FC236}">
                <a16:creationId xmlns:a16="http://schemas.microsoft.com/office/drawing/2014/main" id="{00367605-7ADA-6BCA-AAB2-0A7DA5551210}"/>
              </a:ext>
            </a:extLst>
          </p:cNvPr>
          <p:cNvGrpSpPr/>
          <p:nvPr/>
        </p:nvGrpSpPr>
        <p:grpSpPr>
          <a:xfrm>
            <a:off x="4516847" y="3894958"/>
            <a:ext cx="3029019" cy="386409"/>
            <a:chOff x="4360893" y="4557499"/>
            <a:chExt cx="3017520" cy="384943"/>
          </a:xfrm>
        </p:grpSpPr>
        <p:sp>
          <p:nvSpPr>
            <p:cNvPr id="33" name="Google Shape;2187;p38">
              <a:extLst>
                <a:ext uri="{FF2B5EF4-FFF2-40B4-BE49-F238E27FC236}">
                  <a16:creationId xmlns:a16="http://schemas.microsoft.com/office/drawing/2014/main" id="{5FA2141D-C0F3-452F-915F-17651F5B91D4}"/>
                </a:ext>
              </a:extLst>
            </p:cNvPr>
            <p:cNvSpPr txBox="1"/>
            <p:nvPr/>
          </p:nvSpPr>
          <p:spPr>
            <a:xfrm>
              <a:off x="4360893" y="4773165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34" name="Google Shape;2188;p38">
              <a:extLst>
                <a:ext uri="{FF2B5EF4-FFF2-40B4-BE49-F238E27FC236}">
                  <a16:creationId xmlns:a16="http://schemas.microsoft.com/office/drawing/2014/main" id="{43FFAAE5-9531-F2EC-15F1-CB1228420B80}"/>
                </a:ext>
              </a:extLst>
            </p:cNvPr>
            <p:cNvSpPr txBox="1"/>
            <p:nvPr/>
          </p:nvSpPr>
          <p:spPr>
            <a:xfrm>
              <a:off x="4360893" y="4557499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5" name="Google Shape;2190;p38">
            <a:extLst>
              <a:ext uri="{FF2B5EF4-FFF2-40B4-BE49-F238E27FC236}">
                <a16:creationId xmlns:a16="http://schemas.microsoft.com/office/drawing/2014/main" id="{28CE9B48-8D5F-5B7F-A127-349A46A91FED}"/>
              </a:ext>
            </a:extLst>
          </p:cNvPr>
          <p:cNvSpPr/>
          <p:nvPr/>
        </p:nvSpPr>
        <p:spPr>
          <a:xfrm>
            <a:off x="3677724" y="1244046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lt1"/>
                </a:solidFill>
                <a:ea typeface="Trebuchet MS"/>
                <a:cs typeface="Arial" panose="020B0604020202020204" pitchFamily="34" charset="0"/>
                <a:sym typeface="Trebuchet MS"/>
              </a:rPr>
              <a:t>1</a:t>
            </a:r>
            <a:endParaRPr sz="2000" dirty="0"/>
          </a:p>
        </p:txBody>
      </p:sp>
      <p:grpSp>
        <p:nvGrpSpPr>
          <p:cNvPr id="36" name="Google Shape;2191;p38">
            <a:extLst>
              <a:ext uri="{FF2B5EF4-FFF2-40B4-BE49-F238E27FC236}">
                <a16:creationId xmlns:a16="http://schemas.microsoft.com/office/drawing/2014/main" id="{0CC60021-E055-C97D-724E-85D0C54F8973}"/>
              </a:ext>
            </a:extLst>
          </p:cNvPr>
          <p:cNvGrpSpPr/>
          <p:nvPr/>
        </p:nvGrpSpPr>
        <p:grpSpPr>
          <a:xfrm>
            <a:off x="4516847" y="1317248"/>
            <a:ext cx="3029019" cy="386409"/>
            <a:chOff x="4360893" y="2038828"/>
            <a:chExt cx="3017520" cy="384943"/>
          </a:xfrm>
        </p:grpSpPr>
        <p:sp>
          <p:nvSpPr>
            <p:cNvPr id="37" name="Google Shape;2192;p38">
              <a:extLst>
                <a:ext uri="{FF2B5EF4-FFF2-40B4-BE49-F238E27FC236}">
                  <a16:creationId xmlns:a16="http://schemas.microsoft.com/office/drawing/2014/main" id="{A733935B-D150-A4AE-F62C-DAE90E112557}"/>
                </a:ext>
              </a:extLst>
            </p:cNvPr>
            <p:cNvSpPr txBox="1"/>
            <p:nvPr/>
          </p:nvSpPr>
          <p:spPr>
            <a:xfrm>
              <a:off x="4360893" y="225449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38" name="Google Shape;2193;p38">
              <a:extLst>
                <a:ext uri="{FF2B5EF4-FFF2-40B4-BE49-F238E27FC236}">
                  <a16:creationId xmlns:a16="http://schemas.microsoft.com/office/drawing/2014/main" id="{0F526AFB-C6E8-F537-E6E0-0B374179032A}"/>
                </a:ext>
              </a:extLst>
            </p:cNvPr>
            <p:cNvSpPr txBox="1"/>
            <p:nvPr/>
          </p:nvSpPr>
          <p:spPr>
            <a:xfrm>
              <a:off x="4360893" y="203882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9" name="Google Shape;2195;p38">
            <a:extLst>
              <a:ext uri="{FF2B5EF4-FFF2-40B4-BE49-F238E27FC236}">
                <a16:creationId xmlns:a16="http://schemas.microsoft.com/office/drawing/2014/main" id="{878AEC8A-FE78-5E0A-9D33-9C9F2891CA62}"/>
              </a:ext>
            </a:extLst>
          </p:cNvPr>
          <p:cNvSpPr/>
          <p:nvPr/>
        </p:nvSpPr>
        <p:spPr>
          <a:xfrm>
            <a:off x="7667384" y="1244045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6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0" name="Google Shape;2196;p38">
            <a:extLst>
              <a:ext uri="{FF2B5EF4-FFF2-40B4-BE49-F238E27FC236}">
                <a16:creationId xmlns:a16="http://schemas.microsoft.com/office/drawing/2014/main" id="{31A17FA2-E492-20A2-1D99-57C8958E4040}"/>
              </a:ext>
            </a:extLst>
          </p:cNvPr>
          <p:cNvGrpSpPr/>
          <p:nvPr/>
        </p:nvGrpSpPr>
        <p:grpSpPr>
          <a:xfrm>
            <a:off x="8535439" y="1317028"/>
            <a:ext cx="3029020" cy="386410"/>
            <a:chOff x="8686149" y="2038828"/>
            <a:chExt cx="3017520" cy="384943"/>
          </a:xfrm>
        </p:grpSpPr>
        <p:sp>
          <p:nvSpPr>
            <p:cNvPr id="41" name="Google Shape;2197;p38">
              <a:extLst>
                <a:ext uri="{FF2B5EF4-FFF2-40B4-BE49-F238E27FC236}">
                  <a16:creationId xmlns:a16="http://schemas.microsoft.com/office/drawing/2014/main" id="{01114EC5-4340-15CE-20CC-89A83BBC81E7}"/>
                </a:ext>
              </a:extLst>
            </p:cNvPr>
            <p:cNvSpPr txBox="1"/>
            <p:nvPr/>
          </p:nvSpPr>
          <p:spPr>
            <a:xfrm>
              <a:off x="8686149" y="225449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2" name="Google Shape;2198;p38">
              <a:extLst>
                <a:ext uri="{FF2B5EF4-FFF2-40B4-BE49-F238E27FC236}">
                  <a16:creationId xmlns:a16="http://schemas.microsoft.com/office/drawing/2014/main" id="{80D0A7BD-67C6-206F-42D7-467105E28201}"/>
                </a:ext>
              </a:extLst>
            </p:cNvPr>
            <p:cNvSpPr txBox="1"/>
            <p:nvPr/>
          </p:nvSpPr>
          <p:spPr>
            <a:xfrm>
              <a:off x="8686149" y="203882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43" name="Google Shape;2200;p38">
            <a:extLst>
              <a:ext uri="{FF2B5EF4-FFF2-40B4-BE49-F238E27FC236}">
                <a16:creationId xmlns:a16="http://schemas.microsoft.com/office/drawing/2014/main" id="{1F6AC5D9-E33C-3CE5-D633-3556702A1954}"/>
              </a:ext>
            </a:extLst>
          </p:cNvPr>
          <p:cNvSpPr/>
          <p:nvPr/>
        </p:nvSpPr>
        <p:spPr>
          <a:xfrm>
            <a:off x="7667384" y="2103281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lt1"/>
                </a:solidFill>
                <a:ea typeface="Trebuchet MS"/>
                <a:cs typeface="Arial" panose="020B0604020202020204" pitchFamily="34" charset="0"/>
                <a:sym typeface="Trebuchet MS"/>
              </a:rPr>
              <a:t>7</a:t>
            </a:r>
            <a:endParaRPr sz="2000" dirty="0"/>
          </a:p>
        </p:txBody>
      </p:sp>
      <p:grpSp>
        <p:nvGrpSpPr>
          <p:cNvPr id="44" name="Google Shape;2201;p38">
            <a:extLst>
              <a:ext uri="{FF2B5EF4-FFF2-40B4-BE49-F238E27FC236}">
                <a16:creationId xmlns:a16="http://schemas.microsoft.com/office/drawing/2014/main" id="{5DC87524-1A44-65EE-39A0-580DE5A9CC4C}"/>
              </a:ext>
            </a:extLst>
          </p:cNvPr>
          <p:cNvGrpSpPr/>
          <p:nvPr/>
        </p:nvGrpSpPr>
        <p:grpSpPr>
          <a:xfrm>
            <a:off x="8535439" y="2176264"/>
            <a:ext cx="3029020" cy="386410"/>
            <a:chOff x="8686149" y="2840540"/>
            <a:chExt cx="3017520" cy="384943"/>
          </a:xfrm>
        </p:grpSpPr>
        <p:sp>
          <p:nvSpPr>
            <p:cNvPr id="45" name="Google Shape;2202;p38">
              <a:extLst>
                <a:ext uri="{FF2B5EF4-FFF2-40B4-BE49-F238E27FC236}">
                  <a16:creationId xmlns:a16="http://schemas.microsoft.com/office/drawing/2014/main" id="{6AA1C12B-C692-D265-6530-8DF7DEDF4188}"/>
                </a:ext>
              </a:extLst>
            </p:cNvPr>
            <p:cNvSpPr txBox="1"/>
            <p:nvPr/>
          </p:nvSpPr>
          <p:spPr>
            <a:xfrm>
              <a:off x="8686149" y="30562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6" name="Google Shape;2203;p38">
              <a:extLst>
                <a:ext uri="{FF2B5EF4-FFF2-40B4-BE49-F238E27FC236}">
                  <a16:creationId xmlns:a16="http://schemas.microsoft.com/office/drawing/2014/main" id="{75C10B76-A6D4-BB01-5BA8-ACD1396FC797}"/>
                </a:ext>
              </a:extLst>
            </p:cNvPr>
            <p:cNvSpPr txBox="1"/>
            <p:nvPr/>
          </p:nvSpPr>
          <p:spPr>
            <a:xfrm>
              <a:off x="8686149" y="28405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47" name="Google Shape;2205;p38">
            <a:extLst>
              <a:ext uri="{FF2B5EF4-FFF2-40B4-BE49-F238E27FC236}">
                <a16:creationId xmlns:a16="http://schemas.microsoft.com/office/drawing/2014/main" id="{5B28A65D-E7D5-A941-2D19-7117256F3979}"/>
              </a:ext>
            </a:extLst>
          </p:cNvPr>
          <p:cNvSpPr/>
          <p:nvPr/>
        </p:nvSpPr>
        <p:spPr>
          <a:xfrm>
            <a:off x="7667384" y="3490198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lt1"/>
                </a:solidFill>
                <a:ea typeface="Trebuchet MS"/>
                <a:cs typeface="Arial" panose="020B0604020202020204" pitchFamily="34" charset="0"/>
                <a:sym typeface="Trebuchet MS"/>
              </a:rPr>
              <a:t>8</a:t>
            </a:r>
            <a:endParaRPr sz="2000" dirty="0"/>
          </a:p>
        </p:txBody>
      </p:sp>
      <p:grpSp>
        <p:nvGrpSpPr>
          <p:cNvPr id="48" name="Google Shape;2206;p38">
            <a:extLst>
              <a:ext uri="{FF2B5EF4-FFF2-40B4-BE49-F238E27FC236}">
                <a16:creationId xmlns:a16="http://schemas.microsoft.com/office/drawing/2014/main" id="{076F855E-03B1-72F6-EF86-23B420FC4B42}"/>
              </a:ext>
            </a:extLst>
          </p:cNvPr>
          <p:cNvGrpSpPr/>
          <p:nvPr/>
        </p:nvGrpSpPr>
        <p:grpSpPr>
          <a:xfrm>
            <a:off x="8535439" y="3563180"/>
            <a:ext cx="3029020" cy="386410"/>
            <a:chOff x="8686149" y="3982840"/>
            <a:chExt cx="3017520" cy="384943"/>
          </a:xfrm>
        </p:grpSpPr>
        <p:sp>
          <p:nvSpPr>
            <p:cNvPr id="49" name="Google Shape;2207;p38">
              <a:extLst>
                <a:ext uri="{FF2B5EF4-FFF2-40B4-BE49-F238E27FC236}">
                  <a16:creationId xmlns:a16="http://schemas.microsoft.com/office/drawing/2014/main" id="{9E6B87B0-3874-8085-A0AD-0F032CF25321}"/>
                </a:ext>
              </a:extLst>
            </p:cNvPr>
            <p:cNvSpPr txBox="1"/>
            <p:nvPr/>
          </p:nvSpPr>
          <p:spPr>
            <a:xfrm>
              <a:off x="8686149" y="41985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0" name="Google Shape;2208;p38">
              <a:extLst>
                <a:ext uri="{FF2B5EF4-FFF2-40B4-BE49-F238E27FC236}">
                  <a16:creationId xmlns:a16="http://schemas.microsoft.com/office/drawing/2014/main" id="{F40CEFCC-4FD9-35BC-0EBE-9CE149369A64}"/>
                </a:ext>
              </a:extLst>
            </p:cNvPr>
            <p:cNvSpPr txBox="1"/>
            <p:nvPr/>
          </p:nvSpPr>
          <p:spPr>
            <a:xfrm>
              <a:off x="8686149" y="39828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51" name="Google Shape;2210;p38">
            <a:extLst>
              <a:ext uri="{FF2B5EF4-FFF2-40B4-BE49-F238E27FC236}">
                <a16:creationId xmlns:a16="http://schemas.microsoft.com/office/drawing/2014/main" id="{87E3BDB3-AF78-61BC-52B0-0A0C304662C3}"/>
              </a:ext>
            </a:extLst>
          </p:cNvPr>
          <p:cNvSpPr/>
          <p:nvPr/>
        </p:nvSpPr>
        <p:spPr>
          <a:xfrm>
            <a:off x="7667384" y="4349434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lt1"/>
                </a:solidFill>
                <a:ea typeface="Trebuchet MS"/>
                <a:cs typeface="Arial" panose="020B0604020202020204" pitchFamily="34" charset="0"/>
                <a:sym typeface="Trebuchet MS"/>
              </a:rPr>
              <a:t>9</a:t>
            </a:r>
            <a:endParaRPr sz="2000" dirty="0"/>
          </a:p>
        </p:txBody>
      </p:sp>
      <p:grpSp>
        <p:nvGrpSpPr>
          <p:cNvPr id="52" name="Google Shape;2211;p38">
            <a:extLst>
              <a:ext uri="{FF2B5EF4-FFF2-40B4-BE49-F238E27FC236}">
                <a16:creationId xmlns:a16="http://schemas.microsoft.com/office/drawing/2014/main" id="{C9D0E20C-D462-DB1E-FB7D-901ACFC24AE1}"/>
              </a:ext>
            </a:extLst>
          </p:cNvPr>
          <p:cNvGrpSpPr/>
          <p:nvPr/>
        </p:nvGrpSpPr>
        <p:grpSpPr>
          <a:xfrm>
            <a:off x="8535439" y="4422417"/>
            <a:ext cx="3029020" cy="386410"/>
            <a:chOff x="8686149" y="4862299"/>
            <a:chExt cx="3017520" cy="384943"/>
          </a:xfrm>
        </p:grpSpPr>
        <p:sp>
          <p:nvSpPr>
            <p:cNvPr id="53" name="Google Shape;2212;p38">
              <a:extLst>
                <a:ext uri="{FF2B5EF4-FFF2-40B4-BE49-F238E27FC236}">
                  <a16:creationId xmlns:a16="http://schemas.microsoft.com/office/drawing/2014/main" id="{2EC6CB52-80C4-EFB2-9420-C2FA7DB4278E}"/>
                </a:ext>
              </a:extLst>
            </p:cNvPr>
            <p:cNvSpPr txBox="1"/>
            <p:nvPr/>
          </p:nvSpPr>
          <p:spPr>
            <a:xfrm>
              <a:off x="8686149" y="5077965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4" name="Google Shape;2213;p38">
              <a:extLst>
                <a:ext uri="{FF2B5EF4-FFF2-40B4-BE49-F238E27FC236}">
                  <a16:creationId xmlns:a16="http://schemas.microsoft.com/office/drawing/2014/main" id="{C37D9A57-838B-4CD0-6A98-69508B77FF56}"/>
                </a:ext>
              </a:extLst>
            </p:cNvPr>
            <p:cNvSpPr txBox="1"/>
            <p:nvPr/>
          </p:nvSpPr>
          <p:spPr>
            <a:xfrm>
              <a:off x="8686149" y="4862299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56" name="Google Shape;2215;p38">
            <a:extLst>
              <a:ext uri="{FF2B5EF4-FFF2-40B4-BE49-F238E27FC236}">
                <a16:creationId xmlns:a16="http://schemas.microsoft.com/office/drawing/2014/main" id="{87D43A73-068D-5390-3038-A892D5CBB9A0}"/>
              </a:ext>
            </a:extLst>
          </p:cNvPr>
          <p:cNvSpPr/>
          <p:nvPr/>
        </p:nvSpPr>
        <p:spPr>
          <a:xfrm>
            <a:off x="3677724" y="5208225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rgbClr val="FFFFFF"/>
                </a:solidFill>
                <a:ea typeface="Trebuchet MS"/>
                <a:cs typeface="Arial" panose="020B0604020202020204" pitchFamily="34" charset="0"/>
                <a:sym typeface="Trebuchet MS"/>
              </a:rPr>
              <a:t>5</a:t>
            </a:r>
            <a:endParaRPr sz="2000" dirty="0">
              <a:solidFill>
                <a:srgbClr val="FFFFFF"/>
              </a:solidFill>
            </a:endParaRPr>
          </a:p>
        </p:txBody>
      </p:sp>
      <p:grpSp>
        <p:nvGrpSpPr>
          <p:cNvPr id="57" name="Google Shape;2216;p38">
            <a:extLst>
              <a:ext uri="{FF2B5EF4-FFF2-40B4-BE49-F238E27FC236}">
                <a16:creationId xmlns:a16="http://schemas.microsoft.com/office/drawing/2014/main" id="{281551A4-AA3A-3495-2FF1-1FFF8C00E849}"/>
              </a:ext>
            </a:extLst>
          </p:cNvPr>
          <p:cNvGrpSpPr/>
          <p:nvPr/>
        </p:nvGrpSpPr>
        <p:grpSpPr>
          <a:xfrm>
            <a:off x="4516847" y="5281428"/>
            <a:ext cx="3029019" cy="386409"/>
            <a:chOff x="4360893" y="5696988"/>
            <a:chExt cx="3017520" cy="384943"/>
          </a:xfrm>
        </p:grpSpPr>
        <p:sp>
          <p:nvSpPr>
            <p:cNvPr id="58" name="Google Shape;2217;p38">
              <a:extLst>
                <a:ext uri="{FF2B5EF4-FFF2-40B4-BE49-F238E27FC236}">
                  <a16:creationId xmlns:a16="http://schemas.microsoft.com/office/drawing/2014/main" id="{FF760BE0-5157-6B2D-5835-EDD8BA97E40D}"/>
                </a:ext>
              </a:extLst>
            </p:cNvPr>
            <p:cNvSpPr txBox="1"/>
            <p:nvPr/>
          </p:nvSpPr>
          <p:spPr>
            <a:xfrm>
              <a:off x="4360893" y="591265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9" name="Google Shape;2218;p38">
              <a:extLst>
                <a:ext uri="{FF2B5EF4-FFF2-40B4-BE49-F238E27FC236}">
                  <a16:creationId xmlns:a16="http://schemas.microsoft.com/office/drawing/2014/main" id="{DD03DB0B-63B5-F0FE-47F2-D1385D21B34A}"/>
                </a:ext>
              </a:extLst>
            </p:cNvPr>
            <p:cNvSpPr txBox="1"/>
            <p:nvPr/>
          </p:nvSpPr>
          <p:spPr>
            <a:xfrm>
              <a:off x="4360893" y="569698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60" name="Google Shape;2220;p38">
            <a:extLst>
              <a:ext uri="{FF2B5EF4-FFF2-40B4-BE49-F238E27FC236}">
                <a16:creationId xmlns:a16="http://schemas.microsoft.com/office/drawing/2014/main" id="{F4B6F788-FA05-7B5D-6689-C42420EB5566}"/>
              </a:ext>
            </a:extLst>
          </p:cNvPr>
          <p:cNvSpPr/>
          <p:nvPr/>
        </p:nvSpPr>
        <p:spPr>
          <a:xfrm>
            <a:off x="7667384" y="5208669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lt1"/>
                </a:solidFill>
                <a:ea typeface="Trebuchet MS"/>
                <a:cs typeface="Arial" panose="020B0604020202020204" pitchFamily="34" charset="0"/>
                <a:sym typeface="Trebuchet MS"/>
              </a:rPr>
              <a:t>10</a:t>
            </a:r>
            <a:endParaRPr sz="2000" dirty="0"/>
          </a:p>
        </p:txBody>
      </p:sp>
      <p:grpSp>
        <p:nvGrpSpPr>
          <p:cNvPr id="61" name="Google Shape;2221;p38">
            <a:extLst>
              <a:ext uri="{FF2B5EF4-FFF2-40B4-BE49-F238E27FC236}">
                <a16:creationId xmlns:a16="http://schemas.microsoft.com/office/drawing/2014/main" id="{5E1A3793-9657-A7CD-5992-711B6A84F4DB}"/>
              </a:ext>
            </a:extLst>
          </p:cNvPr>
          <p:cNvGrpSpPr/>
          <p:nvPr/>
        </p:nvGrpSpPr>
        <p:grpSpPr>
          <a:xfrm>
            <a:off x="8535439" y="5281652"/>
            <a:ext cx="3029020" cy="386410"/>
            <a:chOff x="8686149" y="5696988"/>
            <a:chExt cx="3017520" cy="384943"/>
          </a:xfrm>
        </p:grpSpPr>
        <p:sp>
          <p:nvSpPr>
            <p:cNvPr id="62" name="Google Shape;2222;p38">
              <a:extLst>
                <a:ext uri="{FF2B5EF4-FFF2-40B4-BE49-F238E27FC236}">
                  <a16:creationId xmlns:a16="http://schemas.microsoft.com/office/drawing/2014/main" id="{E706ED80-B586-454A-158B-AEDA818195C2}"/>
                </a:ext>
              </a:extLst>
            </p:cNvPr>
            <p:cNvSpPr txBox="1"/>
            <p:nvPr/>
          </p:nvSpPr>
          <p:spPr>
            <a:xfrm>
              <a:off x="8686149" y="591265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3" name="Google Shape;2223;p38">
              <a:extLst>
                <a:ext uri="{FF2B5EF4-FFF2-40B4-BE49-F238E27FC236}">
                  <a16:creationId xmlns:a16="http://schemas.microsoft.com/office/drawing/2014/main" id="{6FA76D51-FC0E-28E3-DA76-3C86C83723DA}"/>
                </a:ext>
              </a:extLst>
            </p:cNvPr>
            <p:cNvSpPr txBox="1"/>
            <p:nvPr/>
          </p:nvSpPr>
          <p:spPr>
            <a:xfrm>
              <a:off x="8686149" y="569698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solidFill>
                    <a:schemeClr val="dk1"/>
                  </a:solidFill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64" name="Google Shape;2224;p38">
            <a:extLst>
              <a:ext uri="{FF2B5EF4-FFF2-40B4-BE49-F238E27FC236}">
                <a16:creationId xmlns:a16="http://schemas.microsoft.com/office/drawing/2014/main" id="{9E248384-AE58-4855-3D8F-EDC12E113DE7}"/>
              </a:ext>
            </a:extLst>
          </p:cNvPr>
          <p:cNvSpPr txBox="1"/>
          <p:nvPr/>
        </p:nvSpPr>
        <p:spPr>
          <a:xfrm>
            <a:off x="3509690" y="4680989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3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----- Lunch Break -----</a:t>
            </a:r>
            <a:endParaRPr sz="1600" b="1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5" name="Google Shape;2225;p38">
            <a:extLst>
              <a:ext uri="{FF2B5EF4-FFF2-40B4-BE49-F238E27FC236}">
                <a16:creationId xmlns:a16="http://schemas.microsoft.com/office/drawing/2014/main" id="{3D2F66FA-F1BE-49C6-3000-2442489F3985}"/>
              </a:ext>
            </a:extLst>
          </p:cNvPr>
          <p:cNvSpPr txBox="1"/>
          <p:nvPr/>
        </p:nvSpPr>
        <p:spPr>
          <a:xfrm>
            <a:off x="7677486" y="2962518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3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----- Coffee Break -----</a:t>
            </a:r>
            <a:endParaRPr sz="1600" b="1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6" name="Google Shape;2037;p35">
            <a:extLst>
              <a:ext uri="{FF2B5EF4-FFF2-40B4-BE49-F238E27FC236}">
                <a16:creationId xmlns:a16="http://schemas.microsoft.com/office/drawing/2014/main" id="{999F0CD3-1A7F-F5AF-9492-9C7F282E7628}"/>
              </a:ext>
            </a:extLst>
          </p:cNvPr>
          <p:cNvSpPr/>
          <p:nvPr/>
        </p:nvSpPr>
        <p:spPr>
          <a:xfrm>
            <a:off x="627542" y="1244045"/>
            <a:ext cx="2901854" cy="44969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l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7" name="Google Shape;2039;p35">
            <a:extLst>
              <a:ext uri="{FF2B5EF4-FFF2-40B4-BE49-F238E27FC236}">
                <a16:creationId xmlns:a16="http://schemas.microsoft.com/office/drawing/2014/main" id="{D4C5A97E-CD31-098B-72ED-5127DE02DA37}"/>
              </a:ext>
            </a:extLst>
          </p:cNvPr>
          <p:cNvSpPr txBox="1"/>
          <p:nvPr/>
        </p:nvSpPr>
        <p:spPr>
          <a:xfrm>
            <a:off x="673755" y="2802094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Date</a:t>
            </a:r>
            <a:endParaRPr sz="1600" b="1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8" name="Google Shape;2040;p35">
            <a:extLst>
              <a:ext uri="{FF2B5EF4-FFF2-40B4-BE49-F238E27FC236}">
                <a16:creationId xmlns:a16="http://schemas.microsoft.com/office/drawing/2014/main" id="{513CC2C9-BF98-74C2-4EE6-A2E5DBC81F36}"/>
              </a:ext>
            </a:extLst>
          </p:cNvPr>
          <p:cNvSpPr txBox="1"/>
          <p:nvPr/>
        </p:nvSpPr>
        <p:spPr>
          <a:xfrm>
            <a:off x="673755" y="3929614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9" name="Google Shape;2041;p35">
            <a:extLst>
              <a:ext uri="{FF2B5EF4-FFF2-40B4-BE49-F238E27FC236}">
                <a16:creationId xmlns:a16="http://schemas.microsoft.com/office/drawing/2014/main" id="{B7683109-5D78-FA88-8E4A-30183CA2F891}"/>
              </a:ext>
            </a:extLst>
          </p:cNvPr>
          <p:cNvSpPr txBox="1"/>
          <p:nvPr/>
        </p:nvSpPr>
        <p:spPr>
          <a:xfrm>
            <a:off x="673755" y="3369325"/>
            <a:ext cx="2753655" cy="285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800"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b="1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cxnSp>
        <p:nvCxnSpPr>
          <p:cNvPr id="70" name="Google Shape;2042;p35">
            <a:extLst>
              <a:ext uri="{FF2B5EF4-FFF2-40B4-BE49-F238E27FC236}">
                <a16:creationId xmlns:a16="http://schemas.microsoft.com/office/drawing/2014/main" id="{25CECE23-0AFD-D281-3D03-44EF752AFDEC}"/>
              </a:ext>
            </a:extLst>
          </p:cNvPr>
          <p:cNvCxnSpPr/>
          <p:nvPr/>
        </p:nvCxnSpPr>
        <p:spPr>
          <a:xfrm>
            <a:off x="627542" y="3161011"/>
            <a:ext cx="2901854" cy="0"/>
          </a:xfrm>
          <a:prstGeom prst="straightConnector1">
            <a:avLst/>
          </a:prstGeom>
          <a:noFill/>
          <a:ln w="9525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71" name="Google Shape;2043;p35">
            <a:extLst>
              <a:ext uri="{FF2B5EF4-FFF2-40B4-BE49-F238E27FC236}">
                <a16:creationId xmlns:a16="http://schemas.microsoft.com/office/drawing/2014/main" id="{5DE54ED5-BD70-5CB2-A1B7-3EF6D89E3B45}"/>
              </a:ext>
            </a:extLst>
          </p:cNvPr>
          <p:cNvCxnSpPr/>
          <p:nvPr/>
        </p:nvCxnSpPr>
        <p:spPr>
          <a:xfrm>
            <a:off x="627542" y="3824077"/>
            <a:ext cx="2901854" cy="0"/>
          </a:xfrm>
          <a:prstGeom prst="straightConnector1">
            <a:avLst/>
          </a:prstGeom>
          <a:noFill/>
          <a:ln w="9525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719729668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480F8F-DFE9-BE03-755A-7A7A299D75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26335A42-5021-AF2C-66DB-8FC8BEAF47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335A42-5021-AF2C-66DB-8FC8BEAF47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443FC9-62F3-BAA2-3DB6-5ACEB5494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5C56381-E89D-93AE-068F-987AF8C3C44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0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0" name="Google Shape;1755;p32">
            <a:extLst>
              <a:ext uri="{FF2B5EF4-FFF2-40B4-BE49-F238E27FC236}">
                <a16:creationId xmlns:a16="http://schemas.microsoft.com/office/drawing/2014/main" id="{ECEF4300-B6FE-B42E-3E7C-AB25850DAFF1}"/>
              </a:ext>
            </a:extLst>
          </p:cNvPr>
          <p:cNvSpPr/>
          <p:nvPr/>
        </p:nvSpPr>
        <p:spPr>
          <a:xfrm>
            <a:off x="6317245" y="1446992"/>
            <a:ext cx="57973" cy="47279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979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1" name="Google Shape;1756;p32">
            <a:extLst>
              <a:ext uri="{FF2B5EF4-FFF2-40B4-BE49-F238E27FC236}">
                <a16:creationId xmlns:a16="http://schemas.microsoft.com/office/drawing/2014/main" id="{AC363765-7AF3-D492-A318-8D53F49B2950}"/>
              </a:ext>
            </a:extLst>
          </p:cNvPr>
          <p:cNvSpPr/>
          <p:nvPr/>
        </p:nvSpPr>
        <p:spPr>
          <a:xfrm>
            <a:off x="726648" y="1446992"/>
            <a:ext cx="57973" cy="47279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979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2" name="Google Shape;1759;p32">
            <a:extLst>
              <a:ext uri="{FF2B5EF4-FFF2-40B4-BE49-F238E27FC236}">
                <a16:creationId xmlns:a16="http://schemas.microsoft.com/office/drawing/2014/main" id="{488BF145-2983-49DA-AC4B-C98545D3AF9C}"/>
              </a:ext>
            </a:extLst>
          </p:cNvPr>
          <p:cNvSpPr txBox="1"/>
          <p:nvPr/>
        </p:nvSpPr>
        <p:spPr>
          <a:xfrm>
            <a:off x="7024810" y="3465825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2:20 – 13:30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13" name="Google Shape;1760;p32">
            <a:extLst>
              <a:ext uri="{FF2B5EF4-FFF2-40B4-BE49-F238E27FC236}">
                <a16:creationId xmlns:a16="http://schemas.microsoft.com/office/drawing/2014/main" id="{C2A00892-97E9-4660-1E22-7D4FA2EDB060}"/>
              </a:ext>
            </a:extLst>
          </p:cNvPr>
          <p:cNvSpPr/>
          <p:nvPr/>
        </p:nvSpPr>
        <p:spPr>
          <a:xfrm>
            <a:off x="6010251" y="3252678"/>
            <a:ext cx="671964" cy="672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2AB25C61-1919-FF72-6985-5FEECD334F0C}"/>
              </a:ext>
            </a:extLst>
          </p:cNvPr>
          <p:cNvGrpSpPr/>
          <p:nvPr/>
        </p:nvGrpSpPr>
        <p:grpSpPr>
          <a:xfrm>
            <a:off x="6218443" y="3423636"/>
            <a:ext cx="255580" cy="330591"/>
            <a:chOff x="6718397" y="3655606"/>
            <a:chExt cx="197829" cy="255891"/>
          </a:xfrm>
        </p:grpSpPr>
        <p:sp>
          <p:nvSpPr>
            <p:cNvPr id="216" name="Google Shape;1763;p32">
              <a:extLst>
                <a:ext uri="{FF2B5EF4-FFF2-40B4-BE49-F238E27FC236}">
                  <a16:creationId xmlns:a16="http://schemas.microsoft.com/office/drawing/2014/main" id="{28BD2643-BE6D-6B39-3C3A-2B1021CDDFCA}"/>
                </a:ext>
              </a:extLst>
            </p:cNvPr>
            <p:cNvSpPr/>
            <p:nvPr/>
          </p:nvSpPr>
          <p:spPr>
            <a:xfrm>
              <a:off x="6718397" y="3655606"/>
              <a:ext cx="197829" cy="255891"/>
            </a:xfrm>
            <a:custGeom>
              <a:avLst/>
              <a:gdLst/>
              <a:ahLst/>
              <a:cxnLst/>
              <a:rect l="l" t="t" r="r" b="b"/>
              <a:pathLst>
                <a:path w="332" h="431" extrusionOk="0">
                  <a:moveTo>
                    <a:pt x="295" y="431"/>
                  </a:moveTo>
                  <a:cubicBezTo>
                    <a:pt x="37" y="431"/>
                    <a:pt x="37" y="431"/>
                    <a:pt x="37" y="431"/>
                  </a:cubicBezTo>
                  <a:cubicBezTo>
                    <a:pt x="17" y="431"/>
                    <a:pt x="0" y="414"/>
                    <a:pt x="0" y="39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316" y="0"/>
                    <a:pt x="332" y="17"/>
                    <a:pt x="332" y="37"/>
                  </a:cubicBezTo>
                  <a:cubicBezTo>
                    <a:pt x="332" y="394"/>
                    <a:pt x="332" y="394"/>
                    <a:pt x="332" y="394"/>
                  </a:cubicBezTo>
                  <a:cubicBezTo>
                    <a:pt x="332" y="414"/>
                    <a:pt x="316" y="431"/>
                    <a:pt x="295" y="431"/>
                  </a:cubicBezTo>
                  <a:close/>
                  <a:moveTo>
                    <a:pt x="37" y="13"/>
                  </a:moveTo>
                  <a:cubicBezTo>
                    <a:pt x="23" y="13"/>
                    <a:pt x="12" y="24"/>
                    <a:pt x="12" y="37"/>
                  </a:cubicBezTo>
                  <a:cubicBezTo>
                    <a:pt x="12" y="394"/>
                    <a:pt x="12" y="394"/>
                    <a:pt x="12" y="394"/>
                  </a:cubicBezTo>
                  <a:cubicBezTo>
                    <a:pt x="12" y="407"/>
                    <a:pt x="23" y="418"/>
                    <a:pt x="37" y="418"/>
                  </a:cubicBezTo>
                  <a:cubicBezTo>
                    <a:pt x="295" y="418"/>
                    <a:pt x="295" y="418"/>
                    <a:pt x="295" y="418"/>
                  </a:cubicBezTo>
                  <a:cubicBezTo>
                    <a:pt x="309" y="418"/>
                    <a:pt x="320" y="407"/>
                    <a:pt x="320" y="394"/>
                  </a:cubicBezTo>
                  <a:cubicBezTo>
                    <a:pt x="320" y="37"/>
                    <a:pt x="320" y="37"/>
                    <a:pt x="320" y="37"/>
                  </a:cubicBezTo>
                  <a:cubicBezTo>
                    <a:pt x="320" y="24"/>
                    <a:pt x="309" y="13"/>
                    <a:pt x="295" y="13"/>
                  </a:cubicBezTo>
                  <a:lnTo>
                    <a:pt x="37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7" name="Google Shape;1764;p32">
              <a:extLst>
                <a:ext uri="{FF2B5EF4-FFF2-40B4-BE49-F238E27FC236}">
                  <a16:creationId xmlns:a16="http://schemas.microsoft.com/office/drawing/2014/main" id="{55D90866-F2F0-A39F-C4C6-ED5D7FC53168}"/>
                </a:ext>
              </a:extLst>
            </p:cNvPr>
            <p:cNvSpPr/>
            <p:nvPr/>
          </p:nvSpPr>
          <p:spPr>
            <a:xfrm>
              <a:off x="6746351" y="3655606"/>
              <a:ext cx="141921" cy="32255"/>
            </a:xfrm>
            <a:custGeom>
              <a:avLst/>
              <a:gdLst/>
              <a:ahLst/>
              <a:cxnLst/>
              <a:rect l="l" t="t" r="r" b="b"/>
              <a:pathLst>
                <a:path w="242" h="54" extrusionOk="0">
                  <a:moveTo>
                    <a:pt x="236" y="54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3" y="54"/>
                    <a:pt x="0" y="52"/>
                    <a:pt x="0" y="4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9" y="0"/>
                    <a:pt x="242" y="3"/>
                    <a:pt x="242" y="7"/>
                  </a:cubicBezTo>
                  <a:cubicBezTo>
                    <a:pt x="242" y="48"/>
                    <a:pt x="242" y="48"/>
                    <a:pt x="242" y="48"/>
                  </a:cubicBezTo>
                  <a:cubicBezTo>
                    <a:pt x="242" y="52"/>
                    <a:pt x="239" y="54"/>
                    <a:pt x="236" y="54"/>
                  </a:cubicBezTo>
                  <a:close/>
                  <a:moveTo>
                    <a:pt x="13" y="42"/>
                  </a:moveTo>
                  <a:cubicBezTo>
                    <a:pt x="230" y="42"/>
                    <a:pt x="230" y="42"/>
                    <a:pt x="230" y="42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13" y="13"/>
                    <a:pt x="13" y="13"/>
                    <a:pt x="13" y="13"/>
                  </a:cubicBezTo>
                  <a:lnTo>
                    <a:pt x="13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8" name="Google Shape;1765;p32">
              <a:extLst>
                <a:ext uri="{FF2B5EF4-FFF2-40B4-BE49-F238E27FC236}">
                  <a16:creationId xmlns:a16="http://schemas.microsoft.com/office/drawing/2014/main" id="{CABDF413-E4DA-F06A-4FAB-3592031067FC}"/>
                </a:ext>
              </a:extLst>
            </p:cNvPr>
            <p:cNvSpPr/>
            <p:nvPr/>
          </p:nvSpPr>
          <p:spPr>
            <a:xfrm>
              <a:off x="6757103" y="3726568"/>
              <a:ext cx="38706" cy="27954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9" name="Google Shape;1766;p32">
              <a:extLst>
                <a:ext uri="{FF2B5EF4-FFF2-40B4-BE49-F238E27FC236}">
                  <a16:creationId xmlns:a16="http://schemas.microsoft.com/office/drawing/2014/main" id="{6D9B7587-82F4-327D-CB85-3337C75EF89B}"/>
                </a:ext>
              </a:extLst>
            </p:cNvPr>
            <p:cNvSpPr/>
            <p:nvPr/>
          </p:nvSpPr>
          <p:spPr>
            <a:xfrm>
              <a:off x="6757103" y="3778176"/>
              <a:ext cx="38706" cy="30105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0" name="Google Shape;1767;p32">
              <a:extLst>
                <a:ext uri="{FF2B5EF4-FFF2-40B4-BE49-F238E27FC236}">
                  <a16:creationId xmlns:a16="http://schemas.microsoft.com/office/drawing/2014/main" id="{2CF1F735-16C0-A629-08D9-01B872239BA8}"/>
                </a:ext>
              </a:extLst>
            </p:cNvPr>
            <p:cNvSpPr/>
            <p:nvPr/>
          </p:nvSpPr>
          <p:spPr>
            <a:xfrm>
              <a:off x="6757103" y="3831935"/>
              <a:ext cx="38706" cy="27954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1" name="Google Shape;1768;p32">
              <a:extLst>
                <a:ext uri="{FF2B5EF4-FFF2-40B4-BE49-F238E27FC236}">
                  <a16:creationId xmlns:a16="http://schemas.microsoft.com/office/drawing/2014/main" id="{5D376F00-9940-4CF2-BB8B-68190B0A9FDE}"/>
                </a:ext>
              </a:extLst>
            </p:cNvPr>
            <p:cNvSpPr/>
            <p:nvPr/>
          </p:nvSpPr>
          <p:spPr>
            <a:xfrm>
              <a:off x="6810860" y="3748071"/>
              <a:ext cx="66660" cy="6451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2" name="Google Shape;1769;p32">
              <a:extLst>
                <a:ext uri="{FF2B5EF4-FFF2-40B4-BE49-F238E27FC236}">
                  <a16:creationId xmlns:a16="http://schemas.microsoft.com/office/drawing/2014/main" id="{18714499-807B-24A8-49BF-4FE3DF8C1912}"/>
                </a:ext>
              </a:extLst>
            </p:cNvPr>
            <p:cNvSpPr/>
            <p:nvPr/>
          </p:nvSpPr>
          <p:spPr>
            <a:xfrm>
              <a:off x="6810860" y="3799679"/>
              <a:ext cx="66660" cy="8602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3" name="Google Shape;1770;p32">
              <a:extLst>
                <a:ext uri="{FF2B5EF4-FFF2-40B4-BE49-F238E27FC236}">
                  <a16:creationId xmlns:a16="http://schemas.microsoft.com/office/drawing/2014/main" id="{CB7762A5-EB15-B28E-0EA7-2C87A32289F6}"/>
                </a:ext>
              </a:extLst>
            </p:cNvPr>
            <p:cNvSpPr/>
            <p:nvPr/>
          </p:nvSpPr>
          <p:spPr>
            <a:xfrm>
              <a:off x="6810860" y="3853438"/>
              <a:ext cx="66660" cy="6451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24" name="Google Shape;1771;p32">
            <a:extLst>
              <a:ext uri="{FF2B5EF4-FFF2-40B4-BE49-F238E27FC236}">
                <a16:creationId xmlns:a16="http://schemas.microsoft.com/office/drawing/2014/main" id="{8DEC41D8-4A96-5CA6-1A45-9F57B396BC7C}"/>
              </a:ext>
            </a:extLst>
          </p:cNvPr>
          <p:cNvSpPr txBox="1"/>
          <p:nvPr/>
        </p:nvSpPr>
        <p:spPr>
          <a:xfrm>
            <a:off x="1431454" y="174635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8:30 – 08:45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26" name="Google Shape;1773;p32">
            <a:extLst>
              <a:ext uri="{FF2B5EF4-FFF2-40B4-BE49-F238E27FC236}">
                <a16:creationId xmlns:a16="http://schemas.microsoft.com/office/drawing/2014/main" id="{740BA741-5628-F8C1-0C2B-2D0405C0E428}"/>
              </a:ext>
            </a:extLst>
          </p:cNvPr>
          <p:cNvSpPr/>
          <p:nvPr/>
        </p:nvSpPr>
        <p:spPr>
          <a:xfrm rot="5400000">
            <a:off x="419101" y="153292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3681C051-1B29-9E78-9E6C-EE8C9430474B}"/>
              </a:ext>
            </a:extLst>
          </p:cNvPr>
          <p:cNvGrpSpPr/>
          <p:nvPr/>
        </p:nvGrpSpPr>
        <p:grpSpPr>
          <a:xfrm>
            <a:off x="576698" y="1673324"/>
            <a:ext cx="357875" cy="392280"/>
            <a:chOff x="842171" y="2300796"/>
            <a:chExt cx="277009" cy="303640"/>
          </a:xfrm>
        </p:grpSpPr>
        <p:sp>
          <p:nvSpPr>
            <p:cNvPr id="228" name="Google Shape;1775;p32">
              <a:extLst>
                <a:ext uri="{FF2B5EF4-FFF2-40B4-BE49-F238E27FC236}">
                  <a16:creationId xmlns:a16="http://schemas.microsoft.com/office/drawing/2014/main" id="{0D15EC15-D015-8EDD-5125-99C9F417B775}"/>
                </a:ext>
              </a:extLst>
            </p:cNvPr>
            <p:cNvSpPr/>
            <p:nvPr/>
          </p:nvSpPr>
          <p:spPr>
            <a:xfrm>
              <a:off x="906096" y="2367385"/>
              <a:ext cx="146495" cy="237051"/>
            </a:xfrm>
            <a:custGeom>
              <a:avLst/>
              <a:gdLst/>
              <a:ahLst/>
              <a:cxnLst/>
              <a:rect l="l" t="t" r="r" b="b"/>
              <a:pathLst>
                <a:path w="201" h="320" extrusionOk="0">
                  <a:moveTo>
                    <a:pt x="100" y="320"/>
                  </a:moveTo>
                  <a:cubicBezTo>
                    <a:pt x="77" y="320"/>
                    <a:pt x="58" y="302"/>
                    <a:pt x="57" y="27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56" y="233"/>
                    <a:pt x="42" y="192"/>
                    <a:pt x="19" y="156"/>
                  </a:cubicBezTo>
                  <a:cubicBezTo>
                    <a:pt x="6" y="137"/>
                    <a:pt x="0" y="114"/>
                    <a:pt x="3" y="90"/>
                  </a:cubicBezTo>
                  <a:cubicBezTo>
                    <a:pt x="8" y="45"/>
                    <a:pt x="44" y="8"/>
                    <a:pt x="90" y="3"/>
                  </a:cubicBezTo>
                  <a:cubicBezTo>
                    <a:pt x="119" y="0"/>
                    <a:pt x="146" y="8"/>
                    <a:pt x="168" y="27"/>
                  </a:cubicBezTo>
                  <a:cubicBezTo>
                    <a:pt x="189" y="46"/>
                    <a:pt x="201" y="73"/>
                    <a:pt x="201" y="101"/>
                  </a:cubicBezTo>
                  <a:cubicBezTo>
                    <a:pt x="201" y="122"/>
                    <a:pt x="194" y="141"/>
                    <a:pt x="183" y="158"/>
                  </a:cubicBezTo>
                  <a:cubicBezTo>
                    <a:pt x="158" y="194"/>
                    <a:pt x="144" y="236"/>
                    <a:pt x="142" y="279"/>
                  </a:cubicBezTo>
                  <a:cubicBezTo>
                    <a:pt x="141" y="302"/>
                    <a:pt x="123" y="320"/>
                    <a:pt x="100" y="320"/>
                  </a:cubicBezTo>
                  <a:close/>
                  <a:moveTo>
                    <a:pt x="101" y="14"/>
                  </a:moveTo>
                  <a:cubicBezTo>
                    <a:pt x="98" y="14"/>
                    <a:pt x="95" y="15"/>
                    <a:pt x="91" y="15"/>
                  </a:cubicBezTo>
                  <a:cubicBezTo>
                    <a:pt x="51" y="19"/>
                    <a:pt x="19" y="52"/>
                    <a:pt x="15" y="91"/>
                  </a:cubicBezTo>
                  <a:cubicBezTo>
                    <a:pt x="12" y="112"/>
                    <a:pt x="17" y="132"/>
                    <a:pt x="29" y="150"/>
                  </a:cubicBezTo>
                  <a:cubicBezTo>
                    <a:pt x="54" y="187"/>
                    <a:pt x="68" y="230"/>
                    <a:pt x="69" y="274"/>
                  </a:cubicBezTo>
                  <a:cubicBezTo>
                    <a:pt x="70" y="279"/>
                    <a:pt x="70" y="279"/>
                    <a:pt x="70" y="279"/>
                  </a:cubicBezTo>
                  <a:cubicBezTo>
                    <a:pt x="70" y="295"/>
                    <a:pt x="83" y="308"/>
                    <a:pt x="100" y="308"/>
                  </a:cubicBezTo>
                  <a:cubicBezTo>
                    <a:pt x="116" y="308"/>
                    <a:pt x="129" y="295"/>
                    <a:pt x="130" y="279"/>
                  </a:cubicBezTo>
                  <a:cubicBezTo>
                    <a:pt x="131" y="233"/>
                    <a:pt x="146" y="189"/>
                    <a:pt x="173" y="151"/>
                  </a:cubicBezTo>
                  <a:cubicBezTo>
                    <a:pt x="183" y="136"/>
                    <a:pt x="188" y="119"/>
                    <a:pt x="188" y="101"/>
                  </a:cubicBezTo>
                  <a:cubicBezTo>
                    <a:pt x="188" y="77"/>
                    <a:pt x="178" y="53"/>
                    <a:pt x="159" y="37"/>
                  </a:cubicBezTo>
                  <a:cubicBezTo>
                    <a:pt x="143" y="22"/>
                    <a:pt x="123" y="14"/>
                    <a:pt x="101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9" name="Google Shape;1776;p32">
              <a:extLst>
                <a:ext uri="{FF2B5EF4-FFF2-40B4-BE49-F238E27FC236}">
                  <a16:creationId xmlns:a16="http://schemas.microsoft.com/office/drawing/2014/main" id="{42E79594-D6D6-44F3-AEEF-14D6346C5C92}"/>
                </a:ext>
              </a:extLst>
            </p:cNvPr>
            <p:cNvSpPr/>
            <p:nvPr/>
          </p:nvSpPr>
          <p:spPr>
            <a:xfrm>
              <a:off x="946049" y="2532521"/>
              <a:ext cx="66590" cy="18645"/>
            </a:xfrm>
            <a:custGeom>
              <a:avLst/>
              <a:gdLst/>
              <a:ahLst/>
              <a:cxnLst/>
              <a:rect l="l" t="t" r="r" b="b"/>
              <a:pathLst>
                <a:path w="91" h="22" extrusionOk="0">
                  <a:moveTo>
                    <a:pt x="45" y="22"/>
                  </a:moveTo>
                  <a:cubicBezTo>
                    <a:pt x="21" y="22"/>
                    <a:pt x="5" y="13"/>
                    <a:pt x="4" y="13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11" y="3"/>
                    <a:pt x="42" y="20"/>
                    <a:pt x="82" y="2"/>
                  </a:cubicBezTo>
                  <a:cubicBezTo>
                    <a:pt x="85" y="1"/>
                    <a:pt x="88" y="2"/>
                    <a:pt x="90" y="5"/>
                  </a:cubicBezTo>
                  <a:cubicBezTo>
                    <a:pt x="91" y="8"/>
                    <a:pt x="90" y="12"/>
                    <a:pt x="87" y="13"/>
                  </a:cubicBezTo>
                  <a:cubicBezTo>
                    <a:pt x="71" y="20"/>
                    <a:pt x="57" y="22"/>
                    <a:pt x="45" y="2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0" name="Google Shape;1777;p32">
              <a:extLst>
                <a:ext uri="{FF2B5EF4-FFF2-40B4-BE49-F238E27FC236}">
                  <a16:creationId xmlns:a16="http://schemas.microsoft.com/office/drawing/2014/main" id="{96138038-486E-52C7-698E-BA7D00E78A88}"/>
                </a:ext>
              </a:extLst>
            </p:cNvPr>
            <p:cNvSpPr/>
            <p:nvPr/>
          </p:nvSpPr>
          <p:spPr>
            <a:xfrm>
              <a:off x="975347" y="2300796"/>
              <a:ext cx="7990" cy="34627"/>
            </a:xfrm>
            <a:custGeom>
              <a:avLst/>
              <a:gdLst/>
              <a:ahLst/>
              <a:cxnLst/>
              <a:rect l="l" t="t" r="r" b="b"/>
              <a:pathLst>
                <a:path w="12" h="45" extrusionOk="0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2"/>
                    <a:pt x="10" y="45"/>
                    <a:pt x="6" y="4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1" name="Google Shape;1778;p32">
              <a:extLst>
                <a:ext uri="{FF2B5EF4-FFF2-40B4-BE49-F238E27FC236}">
                  <a16:creationId xmlns:a16="http://schemas.microsoft.com/office/drawing/2014/main" id="{960C0B98-302C-1517-B8D7-040BCCC0981C}"/>
                </a:ext>
              </a:extLst>
            </p:cNvPr>
            <p:cNvSpPr/>
            <p:nvPr/>
          </p:nvSpPr>
          <p:spPr>
            <a:xfrm>
              <a:off x="887451" y="2332758"/>
              <a:ext cx="23972" cy="29299"/>
            </a:xfrm>
            <a:custGeom>
              <a:avLst/>
              <a:gdLst/>
              <a:ahLst/>
              <a:cxnLst/>
              <a:rect l="l" t="t" r="r" b="b"/>
              <a:pathLst>
                <a:path w="34" h="37" extrusionOk="0">
                  <a:moveTo>
                    <a:pt x="27" y="37"/>
                  </a:moveTo>
                  <a:cubicBezTo>
                    <a:pt x="26" y="37"/>
                    <a:pt x="24" y="37"/>
                    <a:pt x="23" y="3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4" y="30"/>
                    <a:pt x="34" y="34"/>
                    <a:pt x="31" y="36"/>
                  </a:cubicBezTo>
                  <a:cubicBezTo>
                    <a:pt x="30" y="37"/>
                    <a:pt x="29" y="37"/>
                    <a:pt x="27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2" name="Google Shape;1779;p32">
              <a:extLst>
                <a:ext uri="{FF2B5EF4-FFF2-40B4-BE49-F238E27FC236}">
                  <a16:creationId xmlns:a16="http://schemas.microsoft.com/office/drawing/2014/main" id="{26D08D37-D604-3B59-60A2-B84772BB5721}"/>
                </a:ext>
              </a:extLst>
            </p:cNvPr>
            <p:cNvSpPr/>
            <p:nvPr/>
          </p:nvSpPr>
          <p:spPr>
            <a:xfrm>
              <a:off x="842171" y="2412662"/>
              <a:ext cx="31962" cy="15980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38" y="19"/>
                  </a:moveTo>
                  <a:cubicBezTo>
                    <a:pt x="38" y="19"/>
                    <a:pt x="37" y="19"/>
                    <a:pt x="37" y="1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3"/>
                    <a:pt x="4" y="0"/>
                    <a:pt x="7" y="1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3" y="7"/>
                    <a:pt x="45" y="10"/>
                    <a:pt x="44" y="14"/>
                  </a:cubicBezTo>
                  <a:cubicBezTo>
                    <a:pt x="44" y="17"/>
                    <a:pt x="41" y="19"/>
                    <a:pt x="38" y="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3" name="Google Shape;1780;p32">
              <a:extLst>
                <a:ext uri="{FF2B5EF4-FFF2-40B4-BE49-F238E27FC236}">
                  <a16:creationId xmlns:a16="http://schemas.microsoft.com/office/drawing/2014/main" id="{1EA394D4-5551-94D4-D582-F983A2378120}"/>
                </a:ext>
              </a:extLst>
            </p:cNvPr>
            <p:cNvSpPr/>
            <p:nvPr/>
          </p:nvSpPr>
          <p:spPr>
            <a:xfrm>
              <a:off x="855489" y="2492568"/>
              <a:ext cx="31962" cy="21308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3"/>
                    <a:pt x="1" y="20"/>
                    <a:pt x="4" y="1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5" y="0"/>
                    <a:pt x="39" y="1"/>
                    <a:pt x="41" y="4"/>
                  </a:cubicBezTo>
                  <a:cubicBezTo>
                    <a:pt x="42" y="7"/>
                    <a:pt x="41" y="11"/>
                    <a:pt x="38" y="1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9" y="29"/>
                    <a:pt x="8" y="29"/>
                    <a:pt x="7" y="2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4" name="Google Shape;1781;p32">
              <a:extLst>
                <a:ext uri="{FF2B5EF4-FFF2-40B4-BE49-F238E27FC236}">
                  <a16:creationId xmlns:a16="http://schemas.microsoft.com/office/drawing/2014/main" id="{0C41D308-9224-6ACA-F00B-6C7FF2BDC8B8}"/>
                </a:ext>
              </a:extLst>
            </p:cNvPr>
            <p:cNvSpPr/>
            <p:nvPr/>
          </p:nvSpPr>
          <p:spPr>
            <a:xfrm>
              <a:off x="1071235" y="2492568"/>
              <a:ext cx="31962" cy="21308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35" y="29"/>
                  </a:moveTo>
                  <a:cubicBezTo>
                    <a:pt x="34" y="29"/>
                    <a:pt x="33" y="29"/>
                    <a:pt x="32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1" y="20"/>
                    <a:pt x="42" y="23"/>
                    <a:pt x="41" y="26"/>
                  </a:cubicBezTo>
                  <a:cubicBezTo>
                    <a:pt x="39" y="28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5" name="Google Shape;1782;p32">
              <a:extLst>
                <a:ext uri="{FF2B5EF4-FFF2-40B4-BE49-F238E27FC236}">
                  <a16:creationId xmlns:a16="http://schemas.microsoft.com/office/drawing/2014/main" id="{0221A1BE-AF26-70B6-DBAD-9E83055D114D}"/>
                </a:ext>
              </a:extLst>
            </p:cNvPr>
            <p:cNvSpPr/>
            <p:nvPr/>
          </p:nvSpPr>
          <p:spPr>
            <a:xfrm>
              <a:off x="1084553" y="2412662"/>
              <a:ext cx="34627" cy="15980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6" y="19"/>
                  </a:moveTo>
                  <a:cubicBezTo>
                    <a:pt x="4" y="19"/>
                    <a:pt x="1" y="17"/>
                    <a:pt x="0" y="14"/>
                  </a:cubicBezTo>
                  <a:cubicBezTo>
                    <a:pt x="0" y="10"/>
                    <a:pt x="2" y="7"/>
                    <a:pt x="5" y="6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5" y="9"/>
                    <a:pt x="43" y="12"/>
                    <a:pt x="39" y="1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6" y="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6" name="Google Shape;1783;p32">
              <a:extLst>
                <a:ext uri="{FF2B5EF4-FFF2-40B4-BE49-F238E27FC236}">
                  <a16:creationId xmlns:a16="http://schemas.microsoft.com/office/drawing/2014/main" id="{F2EA8A1B-30AE-03DC-E31B-534519298F03}"/>
                </a:ext>
              </a:extLst>
            </p:cNvPr>
            <p:cNvSpPr/>
            <p:nvPr/>
          </p:nvSpPr>
          <p:spPr>
            <a:xfrm>
              <a:off x="1047264" y="2332758"/>
              <a:ext cx="23972" cy="29299"/>
            </a:xfrm>
            <a:custGeom>
              <a:avLst/>
              <a:gdLst/>
              <a:ahLst/>
              <a:cxnLst/>
              <a:rect l="l" t="t" r="r" b="b"/>
              <a:pathLst>
                <a:path w="35" h="37" extrusionOk="0">
                  <a:moveTo>
                    <a:pt x="7" y="37"/>
                  </a:moveTo>
                  <a:cubicBezTo>
                    <a:pt x="6" y="37"/>
                    <a:pt x="5" y="37"/>
                    <a:pt x="3" y="36"/>
                  </a:cubicBezTo>
                  <a:cubicBezTo>
                    <a:pt x="1" y="34"/>
                    <a:pt x="0" y="30"/>
                    <a:pt x="3" y="27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6" y="0"/>
                    <a:pt x="29" y="0"/>
                    <a:pt x="32" y="2"/>
                  </a:cubicBezTo>
                  <a:cubicBezTo>
                    <a:pt x="35" y="4"/>
                    <a:pt x="35" y="8"/>
                    <a:pt x="33" y="10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7"/>
                    <a:pt x="9" y="37"/>
                    <a:pt x="7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37" name="Google Shape;1784;p32">
            <a:extLst>
              <a:ext uri="{FF2B5EF4-FFF2-40B4-BE49-F238E27FC236}">
                <a16:creationId xmlns:a16="http://schemas.microsoft.com/office/drawing/2014/main" id="{3A63195A-13A6-B4E4-A212-4C87EB905082}"/>
              </a:ext>
            </a:extLst>
          </p:cNvPr>
          <p:cNvSpPr txBox="1"/>
          <p:nvPr/>
        </p:nvSpPr>
        <p:spPr>
          <a:xfrm>
            <a:off x="1431454" y="3465542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8:45 – 10:00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39" name="Google Shape;1786;p32">
            <a:extLst>
              <a:ext uri="{FF2B5EF4-FFF2-40B4-BE49-F238E27FC236}">
                <a16:creationId xmlns:a16="http://schemas.microsoft.com/office/drawing/2014/main" id="{4A771AB7-DA64-CB13-1729-42EA81F69AFA}"/>
              </a:ext>
            </a:extLst>
          </p:cNvPr>
          <p:cNvSpPr/>
          <p:nvPr/>
        </p:nvSpPr>
        <p:spPr>
          <a:xfrm flipH="1">
            <a:off x="419099" y="3252117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6A4B6C1B-873A-7174-6D9A-A7CAB5539A56}"/>
              </a:ext>
            </a:extLst>
          </p:cNvPr>
          <p:cNvGrpSpPr/>
          <p:nvPr/>
        </p:nvGrpSpPr>
        <p:grpSpPr>
          <a:xfrm>
            <a:off x="543953" y="3427837"/>
            <a:ext cx="423363" cy="321625"/>
            <a:chOff x="816826" y="3658858"/>
            <a:chExt cx="327699" cy="248951"/>
          </a:xfrm>
        </p:grpSpPr>
        <p:sp>
          <p:nvSpPr>
            <p:cNvPr id="241" name="Google Shape;1788;p32">
              <a:extLst>
                <a:ext uri="{FF2B5EF4-FFF2-40B4-BE49-F238E27FC236}">
                  <a16:creationId xmlns:a16="http://schemas.microsoft.com/office/drawing/2014/main" id="{8D52E48A-9016-7486-58E0-7A48B4CBE211}"/>
                </a:ext>
              </a:extLst>
            </p:cNvPr>
            <p:cNvSpPr/>
            <p:nvPr/>
          </p:nvSpPr>
          <p:spPr>
            <a:xfrm flipH="1">
              <a:off x="926060" y="3658858"/>
              <a:ext cx="111774" cy="38105"/>
            </a:xfrm>
            <a:custGeom>
              <a:avLst/>
              <a:gdLst/>
              <a:ahLst/>
              <a:cxnLst/>
              <a:rect l="l" t="t" r="r" b="b"/>
              <a:pathLst>
                <a:path w="158" h="54" extrusionOk="0">
                  <a:moveTo>
                    <a:pt x="151" y="54"/>
                  </a:moveTo>
                  <a:cubicBezTo>
                    <a:pt x="8" y="54"/>
                    <a:pt x="8" y="54"/>
                    <a:pt x="8" y="54"/>
                  </a:cubicBezTo>
                  <a:cubicBezTo>
                    <a:pt x="4" y="54"/>
                    <a:pt x="0" y="51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5" y="0"/>
                    <a:pt x="158" y="12"/>
                    <a:pt x="158" y="28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51"/>
                    <a:pt x="155" y="54"/>
                    <a:pt x="151" y="54"/>
                  </a:cubicBezTo>
                  <a:close/>
                  <a:moveTo>
                    <a:pt x="15" y="40"/>
                  </a:moveTo>
                  <a:cubicBezTo>
                    <a:pt x="143" y="40"/>
                    <a:pt x="143" y="40"/>
                    <a:pt x="143" y="40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0"/>
                    <a:pt x="137" y="14"/>
                    <a:pt x="1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1" y="14"/>
                    <a:pt x="15" y="20"/>
                    <a:pt x="15" y="28"/>
                  </a:cubicBezTo>
                  <a:lnTo>
                    <a:pt x="15" y="4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2" name="Google Shape;1789;p32">
              <a:extLst>
                <a:ext uri="{FF2B5EF4-FFF2-40B4-BE49-F238E27FC236}">
                  <a16:creationId xmlns:a16="http://schemas.microsoft.com/office/drawing/2014/main" id="{EEA4838D-3894-2B92-E656-7043396A5252}"/>
                </a:ext>
              </a:extLst>
            </p:cNvPr>
            <p:cNvSpPr/>
            <p:nvPr/>
          </p:nvSpPr>
          <p:spPr>
            <a:xfrm flipH="1">
              <a:off x="832068" y="3785874"/>
              <a:ext cx="299754" cy="121935"/>
            </a:xfrm>
            <a:custGeom>
              <a:avLst/>
              <a:gdLst/>
              <a:ahLst/>
              <a:cxnLst/>
              <a:rect l="l" t="t" r="r" b="b"/>
              <a:pathLst>
                <a:path w="428" h="174" extrusionOk="0">
                  <a:moveTo>
                    <a:pt x="399" y="174"/>
                  </a:moveTo>
                  <a:cubicBezTo>
                    <a:pt x="30" y="174"/>
                    <a:pt x="30" y="174"/>
                    <a:pt x="30" y="174"/>
                  </a:cubicBezTo>
                  <a:cubicBezTo>
                    <a:pt x="13" y="174"/>
                    <a:pt x="0" y="160"/>
                    <a:pt x="0" y="14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4"/>
                    <a:pt x="2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6" y="17"/>
                    <a:pt x="98" y="20"/>
                    <a:pt x="98" y="24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29"/>
                    <a:pt x="125" y="27"/>
                    <a:pt x="127" y="26"/>
                  </a:cubicBezTo>
                  <a:cubicBezTo>
                    <a:pt x="128" y="24"/>
                    <a:pt x="131" y="24"/>
                    <a:pt x="133" y="24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95" y="24"/>
                    <a:pt x="295" y="24"/>
                    <a:pt x="295" y="24"/>
                  </a:cubicBezTo>
                  <a:cubicBezTo>
                    <a:pt x="297" y="24"/>
                    <a:pt x="300" y="24"/>
                    <a:pt x="301" y="26"/>
                  </a:cubicBezTo>
                  <a:cubicBezTo>
                    <a:pt x="303" y="27"/>
                    <a:pt x="304" y="29"/>
                    <a:pt x="304" y="31"/>
                  </a:cubicBezTo>
                  <a:cubicBezTo>
                    <a:pt x="304" y="63"/>
                    <a:pt x="304" y="63"/>
                    <a:pt x="304" y="63"/>
                  </a:cubicBezTo>
                  <a:cubicBezTo>
                    <a:pt x="330" y="63"/>
                    <a:pt x="330" y="63"/>
                    <a:pt x="330" y="63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0"/>
                    <a:pt x="332" y="17"/>
                    <a:pt x="336" y="17"/>
                  </a:cubicBezTo>
                  <a:cubicBezTo>
                    <a:pt x="420" y="1"/>
                    <a:pt x="420" y="1"/>
                    <a:pt x="420" y="1"/>
                  </a:cubicBezTo>
                  <a:cubicBezTo>
                    <a:pt x="422" y="0"/>
                    <a:pt x="424" y="1"/>
                    <a:pt x="426" y="2"/>
                  </a:cubicBezTo>
                  <a:cubicBezTo>
                    <a:pt x="428" y="4"/>
                    <a:pt x="428" y="6"/>
                    <a:pt x="428" y="8"/>
                  </a:cubicBezTo>
                  <a:cubicBezTo>
                    <a:pt x="428" y="144"/>
                    <a:pt x="428" y="144"/>
                    <a:pt x="428" y="144"/>
                  </a:cubicBezTo>
                  <a:cubicBezTo>
                    <a:pt x="428" y="160"/>
                    <a:pt x="415" y="174"/>
                    <a:pt x="399" y="174"/>
                  </a:cubicBezTo>
                  <a:close/>
                  <a:moveTo>
                    <a:pt x="14" y="17"/>
                  </a:moveTo>
                  <a:cubicBezTo>
                    <a:pt x="14" y="144"/>
                    <a:pt x="14" y="144"/>
                    <a:pt x="14" y="144"/>
                  </a:cubicBezTo>
                  <a:cubicBezTo>
                    <a:pt x="14" y="152"/>
                    <a:pt x="21" y="159"/>
                    <a:pt x="30" y="159"/>
                  </a:cubicBezTo>
                  <a:cubicBezTo>
                    <a:pt x="399" y="159"/>
                    <a:pt x="399" y="159"/>
                    <a:pt x="399" y="159"/>
                  </a:cubicBezTo>
                  <a:cubicBezTo>
                    <a:pt x="407" y="159"/>
                    <a:pt x="414" y="152"/>
                    <a:pt x="414" y="14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44" y="70"/>
                    <a:pt x="344" y="70"/>
                    <a:pt x="344" y="70"/>
                  </a:cubicBezTo>
                  <a:cubicBezTo>
                    <a:pt x="344" y="74"/>
                    <a:pt x="341" y="77"/>
                    <a:pt x="337" y="77"/>
                  </a:cubicBezTo>
                  <a:cubicBezTo>
                    <a:pt x="297" y="77"/>
                    <a:pt x="297" y="77"/>
                    <a:pt x="297" y="77"/>
                  </a:cubicBezTo>
                  <a:cubicBezTo>
                    <a:pt x="293" y="77"/>
                    <a:pt x="289" y="74"/>
                    <a:pt x="289" y="70"/>
                  </a:cubicBezTo>
                  <a:cubicBezTo>
                    <a:pt x="289" y="40"/>
                    <a:pt x="289" y="40"/>
                    <a:pt x="289" y="40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214" y="54"/>
                    <a:pt x="214" y="54"/>
                    <a:pt x="213" y="54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4"/>
                    <a:pt x="135" y="77"/>
                    <a:pt x="13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87" y="77"/>
                    <a:pt x="84" y="74"/>
                    <a:pt x="84" y="70"/>
                  </a:cubicBezTo>
                  <a:cubicBezTo>
                    <a:pt x="84" y="30"/>
                    <a:pt x="84" y="30"/>
                    <a:pt x="84" y="30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3" name="Google Shape;1790;p32">
              <a:extLst>
                <a:ext uri="{FF2B5EF4-FFF2-40B4-BE49-F238E27FC236}">
                  <a16:creationId xmlns:a16="http://schemas.microsoft.com/office/drawing/2014/main" id="{A2F32688-E06F-B09C-ACE7-1E0EB26AA105}"/>
                </a:ext>
              </a:extLst>
            </p:cNvPr>
            <p:cNvSpPr/>
            <p:nvPr/>
          </p:nvSpPr>
          <p:spPr>
            <a:xfrm flipH="1">
              <a:off x="816826" y="3686801"/>
              <a:ext cx="327699" cy="137177"/>
            </a:xfrm>
            <a:custGeom>
              <a:avLst/>
              <a:gdLst/>
              <a:ahLst/>
              <a:cxnLst/>
              <a:rect l="l" t="t" r="r" b="b"/>
              <a:pathLst>
                <a:path w="466" h="196" extrusionOk="0">
                  <a:moveTo>
                    <a:pt x="233" y="196"/>
                  </a:moveTo>
                  <a:cubicBezTo>
                    <a:pt x="233" y="196"/>
                    <a:pt x="232" y="196"/>
                    <a:pt x="232" y="196"/>
                  </a:cubicBezTo>
                  <a:cubicBezTo>
                    <a:pt x="149" y="180"/>
                    <a:pt x="149" y="180"/>
                    <a:pt x="149" y="180"/>
                  </a:cubicBezTo>
                  <a:cubicBezTo>
                    <a:pt x="146" y="180"/>
                    <a:pt x="143" y="177"/>
                    <a:pt x="143" y="173"/>
                  </a:cubicBezTo>
                  <a:cubicBezTo>
                    <a:pt x="143" y="142"/>
                    <a:pt x="143" y="142"/>
                    <a:pt x="143" y="142"/>
                  </a:cubicBezTo>
                  <a:cubicBezTo>
                    <a:pt x="117" y="142"/>
                    <a:pt x="117" y="142"/>
                    <a:pt x="117" y="142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7" y="168"/>
                    <a:pt x="116" y="170"/>
                    <a:pt x="115" y="171"/>
                  </a:cubicBezTo>
                  <a:cubicBezTo>
                    <a:pt x="113" y="173"/>
                    <a:pt x="111" y="173"/>
                    <a:pt x="109" y="173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10" y="154"/>
                    <a:pt x="0" y="142"/>
                    <a:pt x="0" y="1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53" y="0"/>
                    <a:pt x="466" y="13"/>
                    <a:pt x="466" y="30"/>
                  </a:cubicBezTo>
                  <a:cubicBezTo>
                    <a:pt x="466" y="128"/>
                    <a:pt x="466" y="128"/>
                    <a:pt x="466" y="128"/>
                  </a:cubicBezTo>
                  <a:cubicBezTo>
                    <a:pt x="466" y="142"/>
                    <a:pt x="456" y="154"/>
                    <a:pt x="442" y="157"/>
                  </a:cubicBezTo>
                  <a:cubicBezTo>
                    <a:pt x="357" y="173"/>
                    <a:pt x="357" y="173"/>
                    <a:pt x="357" y="173"/>
                  </a:cubicBezTo>
                  <a:cubicBezTo>
                    <a:pt x="355" y="173"/>
                    <a:pt x="353" y="173"/>
                    <a:pt x="351" y="171"/>
                  </a:cubicBezTo>
                  <a:cubicBezTo>
                    <a:pt x="350" y="170"/>
                    <a:pt x="349" y="168"/>
                    <a:pt x="349" y="166"/>
                  </a:cubicBezTo>
                  <a:cubicBezTo>
                    <a:pt x="349" y="142"/>
                    <a:pt x="349" y="142"/>
                    <a:pt x="349" y="142"/>
                  </a:cubicBezTo>
                  <a:cubicBezTo>
                    <a:pt x="323" y="142"/>
                    <a:pt x="323" y="142"/>
                    <a:pt x="323" y="142"/>
                  </a:cubicBezTo>
                  <a:cubicBezTo>
                    <a:pt x="323" y="173"/>
                    <a:pt x="323" y="173"/>
                    <a:pt x="323" y="173"/>
                  </a:cubicBezTo>
                  <a:cubicBezTo>
                    <a:pt x="323" y="177"/>
                    <a:pt x="320" y="180"/>
                    <a:pt x="317" y="180"/>
                  </a:cubicBezTo>
                  <a:cubicBezTo>
                    <a:pt x="234" y="196"/>
                    <a:pt x="234" y="196"/>
                    <a:pt x="234" y="196"/>
                  </a:cubicBezTo>
                  <a:cubicBezTo>
                    <a:pt x="234" y="196"/>
                    <a:pt x="233" y="196"/>
                    <a:pt x="233" y="196"/>
                  </a:cubicBezTo>
                  <a:close/>
                  <a:moveTo>
                    <a:pt x="158" y="167"/>
                  </a:moveTo>
                  <a:cubicBezTo>
                    <a:pt x="233" y="181"/>
                    <a:pt x="233" y="181"/>
                    <a:pt x="233" y="181"/>
                  </a:cubicBezTo>
                  <a:cubicBezTo>
                    <a:pt x="308" y="167"/>
                    <a:pt x="308" y="167"/>
                    <a:pt x="308" y="167"/>
                  </a:cubicBezTo>
                  <a:cubicBezTo>
                    <a:pt x="308" y="135"/>
                    <a:pt x="308" y="135"/>
                    <a:pt x="308" y="135"/>
                  </a:cubicBezTo>
                  <a:cubicBezTo>
                    <a:pt x="308" y="131"/>
                    <a:pt x="312" y="127"/>
                    <a:pt x="316" y="127"/>
                  </a:cubicBezTo>
                  <a:cubicBezTo>
                    <a:pt x="356" y="127"/>
                    <a:pt x="356" y="127"/>
                    <a:pt x="356" y="127"/>
                  </a:cubicBezTo>
                  <a:cubicBezTo>
                    <a:pt x="360" y="127"/>
                    <a:pt x="363" y="131"/>
                    <a:pt x="363" y="135"/>
                  </a:cubicBezTo>
                  <a:cubicBezTo>
                    <a:pt x="363" y="157"/>
                    <a:pt x="363" y="157"/>
                    <a:pt x="363" y="157"/>
                  </a:cubicBezTo>
                  <a:cubicBezTo>
                    <a:pt x="439" y="143"/>
                    <a:pt x="439" y="143"/>
                    <a:pt x="439" y="143"/>
                  </a:cubicBezTo>
                  <a:cubicBezTo>
                    <a:pt x="446" y="142"/>
                    <a:pt x="451" y="135"/>
                    <a:pt x="451" y="128"/>
                  </a:cubicBezTo>
                  <a:cubicBezTo>
                    <a:pt x="451" y="30"/>
                    <a:pt x="451" y="30"/>
                    <a:pt x="451" y="30"/>
                  </a:cubicBezTo>
                  <a:cubicBezTo>
                    <a:pt x="451" y="21"/>
                    <a:pt x="445" y="14"/>
                    <a:pt x="436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2" y="14"/>
                    <a:pt x="15" y="21"/>
                    <a:pt x="15" y="30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35"/>
                    <a:pt x="20" y="142"/>
                    <a:pt x="27" y="143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3" y="135"/>
                    <a:pt x="103" y="135"/>
                    <a:pt x="103" y="135"/>
                  </a:cubicBezTo>
                  <a:cubicBezTo>
                    <a:pt x="103" y="131"/>
                    <a:pt x="106" y="127"/>
                    <a:pt x="110" y="127"/>
                  </a:cubicBezTo>
                  <a:cubicBezTo>
                    <a:pt x="150" y="127"/>
                    <a:pt x="150" y="127"/>
                    <a:pt x="150" y="127"/>
                  </a:cubicBezTo>
                  <a:cubicBezTo>
                    <a:pt x="154" y="127"/>
                    <a:pt x="158" y="131"/>
                    <a:pt x="158" y="135"/>
                  </a:cubicBezTo>
                  <a:lnTo>
                    <a:pt x="158" y="16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4" name="Google Shape;1791;p32">
              <a:extLst>
                <a:ext uri="{FF2B5EF4-FFF2-40B4-BE49-F238E27FC236}">
                  <a16:creationId xmlns:a16="http://schemas.microsoft.com/office/drawing/2014/main" id="{8867F31B-C8D9-9090-6B10-61A5A41756F7}"/>
                </a:ext>
              </a:extLst>
            </p:cNvPr>
            <p:cNvSpPr/>
            <p:nvPr/>
          </p:nvSpPr>
          <p:spPr>
            <a:xfrm flipH="1">
              <a:off x="918437" y="3801116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8" y="31"/>
                  </a:moveTo>
                  <a:cubicBezTo>
                    <a:pt x="5" y="31"/>
                    <a:pt x="2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3" y="0"/>
                    <a:pt x="97" y="3"/>
                    <a:pt x="98" y="7"/>
                  </a:cubicBezTo>
                  <a:cubicBezTo>
                    <a:pt x="98" y="7"/>
                    <a:pt x="98" y="8"/>
                    <a:pt x="98" y="8"/>
                  </a:cubicBezTo>
                  <a:cubicBezTo>
                    <a:pt x="98" y="11"/>
                    <a:pt x="96" y="14"/>
                    <a:pt x="93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15"/>
                    <a:pt x="92" y="15"/>
                    <a:pt x="92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5" name="Google Shape;1792;p32">
              <a:extLst>
                <a:ext uri="{FF2B5EF4-FFF2-40B4-BE49-F238E27FC236}">
                  <a16:creationId xmlns:a16="http://schemas.microsoft.com/office/drawing/2014/main" id="{E11ABC7A-84F0-74D4-1AD9-3A28D5CDEEE8}"/>
                </a:ext>
              </a:extLst>
            </p:cNvPr>
            <p:cNvSpPr/>
            <p:nvPr/>
          </p:nvSpPr>
          <p:spPr>
            <a:xfrm flipH="1">
              <a:off x="1063233" y="3785874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91" y="31"/>
                  </a:moveTo>
                  <a:cubicBezTo>
                    <a:pt x="91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4"/>
                    <a:pt x="0" y="11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3"/>
                    <a:pt x="4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3" y="17"/>
                    <a:pt x="93" y="17"/>
                    <a:pt x="94" y="17"/>
                  </a:cubicBezTo>
                  <a:cubicBezTo>
                    <a:pt x="96" y="18"/>
                    <a:pt x="98" y="21"/>
                    <a:pt x="98" y="24"/>
                  </a:cubicBezTo>
                  <a:cubicBezTo>
                    <a:pt x="98" y="24"/>
                    <a:pt x="98" y="25"/>
                    <a:pt x="98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8"/>
                    <a:pt x="96" y="29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3" y="31"/>
                    <a:pt x="92" y="31"/>
                    <a:pt x="91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6" name="Google Shape;1793;p32">
              <a:extLst>
                <a:ext uri="{FF2B5EF4-FFF2-40B4-BE49-F238E27FC236}">
                  <a16:creationId xmlns:a16="http://schemas.microsoft.com/office/drawing/2014/main" id="{40419461-8357-5DD5-6881-D23BE903A402}"/>
                </a:ext>
              </a:extLst>
            </p:cNvPr>
            <p:cNvSpPr/>
            <p:nvPr/>
          </p:nvSpPr>
          <p:spPr>
            <a:xfrm flipH="1">
              <a:off x="976864" y="3801116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7" h="31" extrusionOk="0">
                  <a:moveTo>
                    <a:pt x="90" y="31"/>
                  </a:moveTo>
                  <a:cubicBezTo>
                    <a:pt x="90" y="31"/>
                    <a:pt x="89" y="31"/>
                    <a:pt x="89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5" y="17"/>
                    <a:pt x="97" y="20"/>
                    <a:pt x="97" y="24"/>
                  </a:cubicBezTo>
                  <a:cubicBezTo>
                    <a:pt x="97" y="24"/>
                    <a:pt x="97" y="25"/>
                    <a:pt x="97" y="25"/>
                  </a:cubicBezTo>
                  <a:cubicBezTo>
                    <a:pt x="97" y="29"/>
                    <a:pt x="93" y="31"/>
                    <a:pt x="90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7" name="Google Shape;1794;p32">
              <a:extLst>
                <a:ext uri="{FF2B5EF4-FFF2-40B4-BE49-F238E27FC236}">
                  <a16:creationId xmlns:a16="http://schemas.microsoft.com/office/drawing/2014/main" id="{CD2A6035-E6E4-FC42-F0B4-93DD2D59AEC2}"/>
                </a:ext>
              </a:extLst>
            </p:cNvPr>
            <p:cNvSpPr/>
            <p:nvPr/>
          </p:nvSpPr>
          <p:spPr>
            <a:xfrm flipH="1">
              <a:off x="829528" y="3785874"/>
              <a:ext cx="71128" cy="22864"/>
            </a:xfrm>
            <a:custGeom>
              <a:avLst/>
              <a:gdLst/>
              <a:ahLst/>
              <a:cxnLst/>
              <a:rect l="l" t="t" r="r" b="b"/>
              <a:pathLst>
                <a:path w="100" h="31" extrusionOk="0">
                  <a:moveTo>
                    <a:pt x="8" y="31"/>
                  </a:moveTo>
                  <a:cubicBezTo>
                    <a:pt x="5" y="31"/>
                    <a:pt x="1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5" y="0"/>
                    <a:pt x="99" y="3"/>
                    <a:pt x="99" y="7"/>
                  </a:cubicBezTo>
                  <a:cubicBezTo>
                    <a:pt x="99" y="7"/>
                    <a:pt x="100" y="8"/>
                    <a:pt x="99" y="8"/>
                  </a:cubicBezTo>
                  <a:cubicBezTo>
                    <a:pt x="99" y="12"/>
                    <a:pt x="97" y="15"/>
                    <a:pt x="94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8" name="Google Shape;1795;p32">
              <a:extLst>
                <a:ext uri="{FF2B5EF4-FFF2-40B4-BE49-F238E27FC236}">
                  <a16:creationId xmlns:a16="http://schemas.microsoft.com/office/drawing/2014/main" id="{400C907F-D7E9-4297-A628-F075D4A9865C}"/>
                </a:ext>
              </a:extLst>
            </p:cNvPr>
            <p:cNvSpPr/>
            <p:nvPr/>
          </p:nvSpPr>
          <p:spPr>
            <a:xfrm flipH="1">
              <a:off x="1032751" y="3775713"/>
              <a:ext cx="40645" cy="63509"/>
            </a:xfrm>
            <a:custGeom>
              <a:avLst/>
              <a:gdLst/>
              <a:ahLst/>
              <a:cxnLst/>
              <a:rect l="l" t="t" r="r" b="b"/>
              <a:pathLst>
                <a:path w="55" h="92" extrusionOk="0">
                  <a:moveTo>
                    <a:pt x="47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3" y="92"/>
                    <a:pt x="0" y="89"/>
                    <a:pt x="0" y="8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5" y="4"/>
                    <a:pt x="55" y="8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9"/>
                    <a:pt x="51" y="92"/>
                    <a:pt x="47" y="92"/>
                  </a:cubicBezTo>
                  <a:close/>
                  <a:moveTo>
                    <a:pt x="14" y="78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14" y="7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49" name="Google Shape;1796;p32">
            <a:extLst>
              <a:ext uri="{FF2B5EF4-FFF2-40B4-BE49-F238E27FC236}">
                <a16:creationId xmlns:a16="http://schemas.microsoft.com/office/drawing/2014/main" id="{44BEC986-8367-CFFA-74CF-35A30A080DB9}"/>
              </a:ext>
            </a:extLst>
          </p:cNvPr>
          <p:cNvSpPr txBox="1"/>
          <p:nvPr/>
        </p:nvSpPr>
        <p:spPr>
          <a:xfrm>
            <a:off x="7024810" y="5185014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3:30 – 13:45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50" name="Google Shape;1797;p32">
            <a:extLst>
              <a:ext uri="{FF2B5EF4-FFF2-40B4-BE49-F238E27FC236}">
                <a16:creationId xmlns:a16="http://schemas.microsoft.com/office/drawing/2014/main" id="{AC2CFFD1-E9E6-1DE4-F955-E527DA0E1B10}"/>
              </a:ext>
            </a:extLst>
          </p:cNvPr>
          <p:cNvSpPr/>
          <p:nvPr/>
        </p:nvSpPr>
        <p:spPr>
          <a:xfrm>
            <a:off x="6010251" y="4971868"/>
            <a:ext cx="671964" cy="672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8D155DA2-AC54-F12C-DA5A-8729C0061775}"/>
              </a:ext>
            </a:extLst>
          </p:cNvPr>
          <p:cNvGrpSpPr/>
          <p:nvPr/>
        </p:nvGrpSpPr>
        <p:grpSpPr>
          <a:xfrm>
            <a:off x="6193585" y="5156746"/>
            <a:ext cx="305292" cy="302752"/>
            <a:chOff x="6699156" y="4997102"/>
            <a:chExt cx="236309" cy="234342"/>
          </a:xfrm>
          <a:solidFill>
            <a:schemeClr val="bg1"/>
          </a:solidFill>
        </p:grpSpPr>
        <p:sp>
          <p:nvSpPr>
            <p:cNvPr id="253" name="Google Shape;1800;p32">
              <a:extLst>
                <a:ext uri="{FF2B5EF4-FFF2-40B4-BE49-F238E27FC236}">
                  <a16:creationId xmlns:a16="http://schemas.microsoft.com/office/drawing/2014/main" id="{E6C79BFD-5D42-F6D0-E504-85C63479528B}"/>
                </a:ext>
              </a:extLst>
            </p:cNvPr>
            <p:cNvSpPr/>
            <p:nvPr/>
          </p:nvSpPr>
          <p:spPr>
            <a:xfrm>
              <a:off x="6861369" y="5157596"/>
              <a:ext cx="58075" cy="57108"/>
            </a:xfrm>
            <a:custGeom>
              <a:avLst/>
              <a:gdLst/>
              <a:ahLst/>
              <a:cxnLst/>
              <a:rect l="l" t="t" r="r" b="b"/>
              <a:pathLst>
                <a:path w="41" h="41" extrusionOk="0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4" name="Google Shape;1801;p32">
              <a:extLst>
                <a:ext uri="{FF2B5EF4-FFF2-40B4-BE49-F238E27FC236}">
                  <a16:creationId xmlns:a16="http://schemas.microsoft.com/office/drawing/2014/main" id="{6F5435AD-D713-E10E-AA59-5C077B17042C}"/>
                </a:ext>
              </a:extLst>
            </p:cNvPr>
            <p:cNvSpPr/>
            <p:nvPr/>
          </p:nvSpPr>
          <p:spPr>
            <a:xfrm>
              <a:off x="6701158" y="4999072"/>
              <a:ext cx="65086" cy="64001"/>
            </a:xfrm>
            <a:custGeom>
              <a:avLst/>
              <a:gdLst/>
              <a:ahLst/>
              <a:cxnLst/>
              <a:rect l="l" t="t" r="r" b="b"/>
              <a:pathLst>
                <a:path w="46" h="46" extrusionOk="0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5" name="Google Shape;1802;p32">
              <a:extLst>
                <a:ext uri="{FF2B5EF4-FFF2-40B4-BE49-F238E27FC236}">
                  <a16:creationId xmlns:a16="http://schemas.microsoft.com/office/drawing/2014/main" id="{4639EED0-D456-8371-DFF2-22547C3015F5}"/>
                </a:ext>
              </a:extLst>
            </p:cNvPr>
            <p:cNvSpPr/>
            <p:nvPr/>
          </p:nvSpPr>
          <p:spPr>
            <a:xfrm>
              <a:off x="6699156" y="5033533"/>
              <a:ext cx="73096" cy="56124"/>
            </a:xfrm>
            <a:custGeom>
              <a:avLst/>
              <a:gdLst/>
              <a:ahLst/>
              <a:cxnLst/>
              <a:rect l="l" t="t" r="r" b="b"/>
              <a:pathLst>
                <a:path w="51" h="40" extrusionOk="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6" name="Google Shape;1803;p32">
              <a:extLst>
                <a:ext uri="{FF2B5EF4-FFF2-40B4-BE49-F238E27FC236}">
                  <a16:creationId xmlns:a16="http://schemas.microsoft.com/office/drawing/2014/main" id="{2F89AED7-816C-63CD-B0F1-F2FCCC31366A}"/>
                </a:ext>
              </a:extLst>
            </p:cNvPr>
            <p:cNvSpPr/>
            <p:nvPr/>
          </p:nvSpPr>
          <p:spPr>
            <a:xfrm>
              <a:off x="6736205" y="4997102"/>
              <a:ext cx="60079" cy="71878"/>
            </a:xfrm>
            <a:custGeom>
              <a:avLst/>
              <a:gdLst/>
              <a:ahLst/>
              <a:cxnLst/>
              <a:rect l="l" t="t" r="r" b="b"/>
              <a:pathLst>
                <a:path w="42" h="51" extrusionOk="0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7" name="Google Shape;1804;p32">
              <a:extLst>
                <a:ext uri="{FF2B5EF4-FFF2-40B4-BE49-F238E27FC236}">
                  <a16:creationId xmlns:a16="http://schemas.microsoft.com/office/drawing/2014/main" id="{89938D3C-5A44-2DF1-151C-5BCF50F05288}"/>
                </a:ext>
              </a:extLst>
            </p:cNvPr>
            <p:cNvSpPr/>
            <p:nvPr/>
          </p:nvSpPr>
          <p:spPr>
            <a:xfrm>
              <a:off x="6765242" y="5077841"/>
              <a:ext cx="37049" cy="34463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8" name="Google Shape;1805;p32">
              <a:extLst>
                <a:ext uri="{FF2B5EF4-FFF2-40B4-BE49-F238E27FC236}">
                  <a16:creationId xmlns:a16="http://schemas.microsoft.com/office/drawing/2014/main" id="{B6245195-75CA-7950-0917-D45F85579316}"/>
                </a:ext>
              </a:extLst>
            </p:cNvPr>
            <p:cNvSpPr/>
            <p:nvPr/>
          </p:nvSpPr>
          <p:spPr>
            <a:xfrm>
              <a:off x="6820315" y="5131996"/>
              <a:ext cx="38050" cy="36431"/>
            </a:xfrm>
            <a:custGeom>
              <a:avLst/>
              <a:gdLst/>
              <a:ahLst/>
              <a:cxnLst/>
              <a:rect l="l" t="t" r="r" b="b"/>
              <a:pathLst>
                <a:path w="27" h="26" extrusionOk="0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9" name="Google Shape;1806;p32">
              <a:extLst>
                <a:ext uri="{FF2B5EF4-FFF2-40B4-BE49-F238E27FC236}">
                  <a16:creationId xmlns:a16="http://schemas.microsoft.com/office/drawing/2014/main" id="{18A7461C-DE94-2690-1A64-42D24E08B02F}"/>
                </a:ext>
              </a:extLst>
            </p:cNvPr>
            <p:cNvSpPr/>
            <p:nvPr/>
          </p:nvSpPr>
          <p:spPr>
            <a:xfrm>
              <a:off x="6780263" y="5063072"/>
              <a:ext cx="93122" cy="91571"/>
            </a:xfrm>
            <a:custGeom>
              <a:avLst/>
              <a:gdLst/>
              <a:ahLst/>
              <a:cxnLst/>
              <a:rect l="l" t="t" r="r" b="b"/>
              <a:pathLst>
                <a:path w="65" h="65" extrusionOk="0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0" name="Google Shape;1807;p32">
              <a:extLst>
                <a:ext uri="{FF2B5EF4-FFF2-40B4-BE49-F238E27FC236}">
                  <a16:creationId xmlns:a16="http://schemas.microsoft.com/office/drawing/2014/main" id="{AC0C871D-C312-FC25-EDF5-11305722A1E7}"/>
                </a:ext>
              </a:extLst>
            </p:cNvPr>
            <p:cNvSpPr/>
            <p:nvPr/>
          </p:nvSpPr>
          <p:spPr>
            <a:xfrm>
              <a:off x="6841342" y="5137905"/>
              <a:ext cx="94123" cy="93539"/>
            </a:xfrm>
            <a:custGeom>
              <a:avLst/>
              <a:gdLst/>
              <a:ahLst/>
              <a:cxnLst/>
              <a:rect l="l" t="t" r="r" b="b"/>
              <a:pathLst>
                <a:path w="66" h="67" extrusionOk="0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1" name="Google Shape;1808;p32">
              <a:extLst>
                <a:ext uri="{FF2B5EF4-FFF2-40B4-BE49-F238E27FC236}">
                  <a16:creationId xmlns:a16="http://schemas.microsoft.com/office/drawing/2014/main" id="{4F1565FE-EE2A-CBB5-94FE-D53CDB45E91F}"/>
                </a:ext>
              </a:extLst>
            </p:cNvPr>
            <p:cNvSpPr/>
            <p:nvPr/>
          </p:nvSpPr>
          <p:spPr>
            <a:xfrm>
              <a:off x="6810302" y="5006949"/>
              <a:ext cx="117153" cy="117172"/>
            </a:xfrm>
            <a:custGeom>
              <a:avLst/>
              <a:gdLst/>
              <a:ahLst/>
              <a:cxnLst/>
              <a:rect l="l" t="t" r="r" b="b"/>
              <a:pathLst>
                <a:path w="82" h="83" extrusionOk="0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2" name="Google Shape;1809;p32">
              <a:extLst>
                <a:ext uri="{FF2B5EF4-FFF2-40B4-BE49-F238E27FC236}">
                  <a16:creationId xmlns:a16="http://schemas.microsoft.com/office/drawing/2014/main" id="{605665D8-F62B-ACB3-0EB7-EFAB539B1C03}"/>
                </a:ext>
              </a:extLst>
            </p:cNvPr>
            <p:cNvSpPr/>
            <p:nvPr/>
          </p:nvSpPr>
          <p:spPr>
            <a:xfrm>
              <a:off x="6702160" y="5118212"/>
              <a:ext cx="114149" cy="109293"/>
            </a:xfrm>
            <a:custGeom>
              <a:avLst/>
              <a:gdLst/>
              <a:ahLst/>
              <a:cxnLst/>
              <a:rect l="l" t="t" r="r" b="b"/>
              <a:pathLst>
                <a:path w="80" h="78" extrusionOk="0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3" name="Google Shape;1810;p32">
              <a:extLst>
                <a:ext uri="{FF2B5EF4-FFF2-40B4-BE49-F238E27FC236}">
                  <a16:creationId xmlns:a16="http://schemas.microsoft.com/office/drawing/2014/main" id="{FBF52793-76D2-DDA6-76ED-5D51555B36DA}"/>
                </a:ext>
              </a:extLst>
            </p:cNvPr>
            <p:cNvSpPr/>
            <p:nvPr/>
          </p:nvSpPr>
          <p:spPr>
            <a:xfrm>
              <a:off x="6783267" y="5105411"/>
              <a:ext cx="46060" cy="43324"/>
            </a:xfrm>
            <a:custGeom>
              <a:avLst/>
              <a:gdLst/>
              <a:ahLst/>
              <a:cxnLst/>
              <a:rect l="l" t="t" r="r" b="b"/>
              <a:pathLst>
                <a:path w="32" h="31" extrusionOk="0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4" name="Google Shape;1811;p32">
              <a:extLst>
                <a:ext uri="{FF2B5EF4-FFF2-40B4-BE49-F238E27FC236}">
                  <a16:creationId xmlns:a16="http://schemas.microsoft.com/office/drawing/2014/main" id="{17915D20-DD6D-08BD-8DEA-88101486FA51}"/>
                </a:ext>
              </a:extLst>
            </p:cNvPr>
            <p:cNvSpPr/>
            <p:nvPr/>
          </p:nvSpPr>
          <p:spPr>
            <a:xfrm>
              <a:off x="6908430" y="5006949"/>
              <a:ext cx="20027" cy="19693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65" name="Google Shape;1812;p32">
            <a:extLst>
              <a:ext uri="{FF2B5EF4-FFF2-40B4-BE49-F238E27FC236}">
                <a16:creationId xmlns:a16="http://schemas.microsoft.com/office/drawing/2014/main" id="{8EA89EE4-E695-A1C2-2375-88F7CA69EC4D}"/>
              </a:ext>
            </a:extLst>
          </p:cNvPr>
          <p:cNvSpPr txBox="1"/>
          <p:nvPr/>
        </p:nvSpPr>
        <p:spPr>
          <a:xfrm>
            <a:off x="1431454" y="518473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0:00 – 10:30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25" name="Google Shape;1772;p32">
            <a:extLst>
              <a:ext uri="{FF2B5EF4-FFF2-40B4-BE49-F238E27FC236}">
                <a16:creationId xmlns:a16="http://schemas.microsoft.com/office/drawing/2014/main" id="{32416B2D-8EEA-823E-0AE0-3F78232A582B}"/>
              </a:ext>
            </a:extLst>
          </p:cNvPr>
          <p:cNvSpPr txBox="1"/>
          <p:nvPr/>
        </p:nvSpPr>
        <p:spPr>
          <a:xfrm>
            <a:off x="3289858" y="1749833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38" name="Google Shape;1785;p32">
            <a:extLst>
              <a:ext uri="{FF2B5EF4-FFF2-40B4-BE49-F238E27FC236}">
                <a16:creationId xmlns:a16="http://schemas.microsoft.com/office/drawing/2014/main" id="{E938BB29-0EFA-350E-7BBD-06798024AD27}"/>
              </a:ext>
            </a:extLst>
          </p:cNvPr>
          <p:cNvSpPr txBox="1"/>
          <p:nvPr/>
        </p:nvSpPr>
        <p:spPr>
          <a:xfrm>
            <a:off x="3289858" y="3469020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66" name="Google Shape;1813;p32">
            <a:extLst>
              <a:ext uri="{FF2B5EF4-FFF2-40B4-BE49-F238E27FC236}">
                <a16:creationId xmlns:a16="http://schemas.microsoft.com/office/drawing/2014/main" id="{C5F180FC-7EE9-DB4A-A9B3-57AA933D28B9}"/>
              </a:ext>
            </a:extLst>
          </p:cNvPr>
          <p:cNvSpPr txBox="1"/>
          <p:nvPr/>
        </p:nvSpPr>
        <p:spPr>
          <a:xfrm>
            <a:off x="3289858" y="5188210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67" name="Google Shape;1814;p32">
            <a:extLst>
              <a:ext uri="{FF2B5EF4-FFF2-40B4-BE49-F238E27FC236}">
                <a16:creationId xmlns:a16="http://schemas.microsoft.com/office/drawing/2014/main" id="{7759F041-FBDC-C6C4-6709-C3DA26DE55FB}"/>
              </a:ext>
            </a:extLst>
          </p:cNvPr>
          <p:cNvSpPr/>
          <p:nvPr/>
        </p:nvSpPr>
        <p:spPr>
          <a:xfrm rot="5400000">
            <a:off x="419101" y="497130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7CBC3E2C-C494-4327-D62C-D969F527F814}"/>
              </a:ext>
            </a:extLst>
          </p:cNvPr>
          <p:cNvGrpSpPr/>
          <p:nvPr/>
        </p:nvGrpSpPr>
        <p:grpSpPr>
          <a:xfrm>
            <a:off x="583581" y="5134065"/>
            <a:ext cx="344111" cy="347548"/>
            <a:chOff x="847499" y="4979547"/>
            <a:chExt cx="266355" cy="269016"/>
          </a:xfrm>
        </p:grpSpPr>
        <p:sp>
          <p:nvSpPr>
            <p:cNvPr id="269" name="Google Shape;1816;p32">
              <a:extLst>
                <a:ext uri="{FF2B5EF4-FFF2-40B4-BE49-F238E27FC236}">
                  <a16:creationId xmlns:a16="http://schemas.microsoft.com/office/drawing/2014/main" id="{127775AE-ACF7-59E2-B530-8FC4725A5BB8}"/>
                </a:ext>
              </a:extLst>
            </p:cNvPr>
            <p:cNvSpPr/>
            <p:nvPr/>
          </p:nvSpPr>
          <p:spPr>
            <a:xfrm>
              <a:off x="847499" y="4979547"/>
              <a:ext cx="207758" cy="210419"/>
            </a:xfrm>
            <a:custGeom>
              <a:avLst/>
              <a:gdLst/>
              <a:ahLst/>
              <a:cxnLst/>
              <a:rect l="l" t="t" r="r" b="b"/>
              <a:pathLst>
                <a:path w="285" h="285" extrusionOk="0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0" name="Google Shape;1817;p32">
              <a:extLst>
                <a:ext uri="{FF2B5EF4-FFF2-40B4-BE49-F238E27FC236}">
                  <a16:creationId xmlns:a16="http://schemas.microsoft.com/office/drawing/2014/main" id="{0634FCCF-4E39-0C32-6CA9-B734EE2D0024}"/>
                </a:ext>
              </a:extLst>
            </p:cNvPr>
            <p:cNvSpPr/>
            <p:nvPr/>
          </p:nvSpPr>
          <p:spPr>
            <a:xfrm>
              <a:off x="1007312" y="5139359"/>
              <a:ext cx="106542" cy="109204"/>
            </a:xfrm>
            <a:custGeom>
              <a:avLst/>
              <a:gdLst/>
              <a:ahLst/>
              <a:cxnLst/>
              <a:rect l="l" t="t" r="r" b="b"/>
              <a:pathLst>
                <a:path w="145" h="146" extrusionOk="0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1" name="Google Shape;1818;p32">
              <a:extLst>
                <a:ext uri="{FF2B5EF4-FFF2-40B4-BE49-F238E27FC236}">
                  <a16:creationId xmlns:a16="http://schemas.microsoft.com/office/drawing/2014/main" id="{6370EC88-0D1A-BF5F-418D-9C117B6B0B5E}"/>
                </a:ext>
              </a:extLst>
            </p:cNvPr>
            <p:cNvSpPr/>
            <p:nvPr/>
          </p:nvSpPr>
          <p:spPr>
            <a:xfrm>
              <a:off x="882124" y="5014172"/>
              <a:ext cx="74579" cy="74578"/>
            </a:xfrm>
            <a:custGeom>
              <a:avLst/>
              <a:gdLst/>
              <a:ahLst/>
              <a:cxnLst/>
              <a:rect l="l" t="t" r="r" b="b"/>
              <a:pathLst>
                <a:path w="99" h="100" extrusionOk="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72" name="Google Shape;1819;p32">
            <a:extLst>
              <a:ext uri="{FF2B5EF4-FFF2-40B4-BE49-F238E27FC236}">
                <a16:creationId xmlns:a16="http://schemas.microsoft.com/office/drawing/2014/main" id="{017EA663-2402-072A-492D-93B406EE788F}"/>
              </a:ext>
            </a:extLst>
          </p:cNvPr>
          <p:cNvSpPr txBox="1"/>
          <p:nvPr/>
        </p:nvSpPr>
        <p:spPr>
          <a:xfrm>
            <a:off x="7022605" y="174635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0:30 – 11:25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14" name="Google Shape;1761;p32">
            <a:extLst>
              <a:ext uri="{FF2B5EF4-FFF2-40B4-BE49-F238E27FC236}">
                <a16:creationId xmlns:a16="http://schemas.microsoft.com/office/drawing/2014/main" id="{0E1DE8AA-C3D5-6DF8-DB79-0A086FFF4888}"/>
              </a:ext>
            </a:extLst>
          </p:cNvPr>
          <p:cNvSpPr txBox="1"/>
          <p:nvPr/>
        </p:nvSpPr>
        <p:spPr>
          <a:xfrm>
            <a:off x="8875846" y="3469301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51" name="Google Shape;1798;p32">
            <a:extLst>
              <a:ext uri="{FF2B5EF4-FFF2-40B4-BE49-F238E27FC236}">
                <a16:creationId xmlns:a16="http://schemas.microsoft.com/office/drawing/2014/main" id="{EC564270-AB45-A104-0587-56D8E633ECA4}"/>
              </a:ext>
            </a:extLst>
          </p:cNvPr>
          <p:cNvSpPr txBox="1"/>
          <p:nvPr/>
        </p:nvSpPr>
        <p:spPr>
          <a:xfrm>
            <a:off x="8875846" y="5188492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3" name="Google Shape;1820;p32">
            <a:extLst>
              <a:ext uri="{FF2B5EF4-FFF2-40B4-BE49-F238E27FC236}">
                <a16:creationId xmlns:a16="http://schemas.microsoft.com/office/drawing/2014/main" id="{6DE8F4DB-C588-0F06-D530-1260CAEFE368}"/>
              </a:ext>
            </a:extLst>
          </p:cNvPr>
          <p:cNvSpPr txBox="1"/>
          <p:nvPr/>
        </p:nvSpPr>
        <p:spPr>
          <a:xfrm>
            <a:off x="8879742" y="1749833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4" name="Google Shape;1821;p32">
            <a:extLst>
              <a:ext uri="{FF2B5EF4-FFF2-40B4-BE49-F238E27FC236}">
                <a16:creationId xmlns:a16="http://schemas.microsoft.com/office/drawing/2014/main" id="{3AB166C1-A066-106E-058A-37748D859939}"/>
              </a:ext>
            </a:extLst>
          </p:cNvPr>
          <p:cNvSpPr/>
          <p:nvPr/>
        </p:nvSpPr>
        <p:spPr>
          <a:xfrm rot="10800000">
            <a:off x="6010251" y="153292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67B6EAA2-2EB5-B1EA-1EB4-C231656ED1D2}"/>
              </a:ext>
            </a:extLst>
          </p:cNvPr>
          <p:cNvGrpSpPr/>
          <p:nvPr/>
        </p:nvGrpSpPr>
        <p:grpSpPr>
          <a:xfrm>
            <a:off x="6149874" y="1674188"/>
            <a:ext cx="393828" cy="390544"/>
            <a:chOff x="6665322" y="2301465"/>
            <a:chExt cx="304838" cy="302297"/>
          </a:xfrm>
        </p:grpSpPr>
        <p:sp>
          <p:nvSpPr>
            <p:cNvPr id="276" name="Google Shape;1823;p32">
              <a:extLst>
                <a:ext uri="{FF2B5EF4-FFF2-40B4-BE49-F238E27FC236}">
                  <a16:creationId xmlns:a16="http://schemas.microsoft.com/office/drawing/2014/main" id="{576015C6-76C3-F18B-205B-F87DBBBDFE47}"/>
                </a:ext>
              </a:extLst>
            </p:cNvPr>
            <p:cNvSpPr/>
            <p:nvPr/>
          </p:nvSpPr>
          <p:spPr>
            <a:xfrm flipH="1">
              <a:off x="6738990" y="2372593"/>
              <a:ext cx="160040" cy="160041"/>
            </a:xfrm>
            <a:custGeom>
              <a:avLst/>
              <a:gdLst/>
              <a:ahLst/>
              <a:cxnLst/>
              <a:rect l="l" t="t" r="r" b="b"/>
              <a:pathLst>
                <a:path w="228" h="228" extrusionOk="0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7" name="Google Shape;1824;p32">
              <a:extLst>
                <a:ext uri="{FF2B5EF4-FFF2-40B4-BE49-F238E27FC236}">
                  <a16:creationId xmlns:a16="http://schemas.microsoft.com/office/drawing/2014/main" id="{6D905437-9B36-C756-EED7-919D71E4CE49}"/>
                </a:ext>
              </a:extLst>
            </p:cNvPr>
            <p:cNvSpPr/>
            <p:nvPr/>
          </p:nvSpPr>
          <p:spPr>
            <a:xfrm flipH="1">
              <a:off x="6665322" y="2301465"/>
              <a:ext cx="304838" cy="302297"/>
            </a:xfrm>
            <a:custGeom>
              <a:avLst/>
              <a:gdLst/>
              <a:ahLst/>
              <a:cxnLst/>
              <a:rect l="l" t="t" r="r" b="b"/>
              <a:pathLst>
                <a:path w="432" h="432" extrusionOk="0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0147307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373217-59FD-21E4-3D00-BCFAFE88D3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3494A8F-A464-BD8F-34EF-7C761468EE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494A8F-A464-BD8F-34EF-7C761468E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5F0B56-39DC-2E51-AA87-4B1666C81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E233B59-0D6E-CF0B-1108-E6AE9C77629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0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Google Shape;934;p13">
            <a:extLst>
              <a:ext uri="{FF2B5EF4-FFF2-40B4-BE49-F238E27FC236}">
                <a16:creationId xmlns:a16="http://schemas.microsoft.com/office/drawing/2014/main" id="{683AB6F9-2E26-8CE2-FDA1-6ED640F9EBF0}"/>
              </a:ext>
            </a:extLst>
          </p:cNvPr>
          <p:cNvSpPr/>
          <p:nvPr/>
        </p:nvSpPr>
        <p:spPr>
          <a:xfrm>
            <a:off x="1308127" y="1877145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" name="Google Shape;935;p13">
            <a:extLst>
              <a:ext uri="{FF2B5EF4-FFF2-40B4-BE49-F238E27FC236}">
                <a16:creationId xmlns:a16="http://schemas.microsoft.com/office/drawing/2014/main" id="{6924B1C8-716C-A8D0-E1E2-CD849ED893B6}"/>
              </a:ext>
            </a:extLst>
          </p:cNvPr>
          <p:cNvSpPr/>
          <p:nvPr/>
        </p:nvSpPr>
        <p:spPr>
          <a:xfrm>
            <a:off x="781967" y="1877145"/>
            <a:ext cx="1067268" cy="1067268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7" name="Google Shape;936;p13">
            <a:extLst>
              <a:ext uri="{FF2B5EF4-FFF2-40B4-BE49-F238E27FC236}">
                <a16:creationId xmlns:a16="http://schemas.microsoft.com/office/drawing/2014/main" id="{C96E50AD-9A24-2675-C36D-A5C4BC28C44D}"/>
              </a:ext>
            </a:extLst>
          </p:cNvPr>
          <p:cNvSpPr txBox="1"/>
          <p:nvPr/>
        </p:nvSpPr>
        <p:spPr>
          <a:xfrm>
            <a:off x="1908467" y="247685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8" name="Google Shape;937;p13">
            <a:extLst>
              <a:ext uri="{FF2B5EF4-FFF2-40B4-BE49-F238E27FC236}">
                <a16:creationId xmlns:a16="http://schemas.microsoft.com/office/drawing/2014/main" id="{96AD9DB5-20CB-1DA4-5032-721AB7D5B9A3}"/>
              </a:ext>
            </a:extLst>
          </p:cNvPr>
          <p:cNvSpPr txBox="1"/>
          <p:nvPr/>
        </p:nvSpPr>
        <p:spPr>
          <a:xfrm>
            <a:off x="1908467" y="213980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2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" name="Google Shape;938;p13">
            <a:extLst>
              <a:ext uri="{FF2B5EF4-FFF2-40B4-BE49-F238E27FC236}">
                <a16:creationId xmlns:a16="http://schemas.microsoft.com/office/drawing/2014/main" id="{5C61DB5E-8178-4104-5C28-4A957B30B6E5}"/>
              </a:ext>
            </a:extLst>
          </p:cNvPr>
          <p:cNvSpPr/>
          <p:nvPr/>
        </p:nvSpPr>
        <p:spPr>
          <a:xfrm>
            <a:off x="626323" y="2255134"/>
            <a:ext cx="333522" cy="33352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1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0" name="Google Shape;939;p13">
            <a:extLst>
              <a:ext uri="{FF2B5EF4-FFF2-40B4-BE49-F238E27FC236}">
                <a16:creationId xmlns:a16="http://schemas.microsoft.com/office/drawing/2014/main" id="{9EB835E4-6921-B2CD-9084-BA1073F0A3F4}"/>
              </a:ext>
            </a:extLst>
          </p:cNvPr>
          <p:cNvCxnSpPr>
            <a:stCxn id="6" idx="3"/>
          </p:cNvCxnSpPr>
          <p:nvPr/>
        </p:nvCxnSpPr>
        <p:spPr>
          <a:xfrm>
            <a:off x="1849231" y="2410778"/>
            <a:ext cx="1256033" cy="0"/>
          </a:xfrm>
          <a:prstGeom prst="straightConnector1">
            <a:avLst/>
          </a:prstGeom>
          <a:noFill/>
          <a:ln w="9525" cap="flat" cmpd="sng">
            <a:solidFill>
              <a:srgbClr val="92999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607AEAA-A9DA-C152-65D0-4ABB2E5412D8}"/>
              </a:ext>
            </a:extLst>
          </p:cNvPr>
          <p:cNvGrpSpPr/>
          <p:nvPr/>
        </p:nvGrpSpPr>
        <p:grpSpPr>
          <a:xfrm>
            <a:off x="1127547" y="2204647"/>
            <a:ext cx="376105" cy="412264"/>
            <a:chOff x="994105" y="2461399"/>
            <a:chExt cx="391443" cy="429076"/>
          </a:xfrm>
        </p:grpSpPr>
        <p:sp>
          <p:nvSpPr>
            <p:cNvPr id="86" name="Google Shape;941;p13">
              <a:extLst>
                <a:ext uri="{FF2B5EF4-FFF2-40B4-BE49-F238E27FC236}">
                  <a16:creationId xmlns:a16="http://schemas.microsoft.com/office/drawing/2014/main" id="{96704064-3478-3706-8AD9-C741514960CF}"/>
                </a:ext>
              </a:extLst>
            </p:cNvPr>
            <p:cNvSpPr/>
            <p:nvPr/>
          </p:nvSpPr>
          <p:spPr>
            <a:xfrm>
              <a:off x="1084437" y="2555495"/>
              <a:ext cx="207014" cy="334980"/>
            </a:xfrm>
            <a:custGeom>
              <a:avLst/>
              <a:gdLst/>
              <a:ahLst/>
              <a:cxnLst/>
              <a:rect l="l" t="t" r="r" b="b"/>
              <a:pathLst>
                <a:path w="201" h="320" extrusionOk="0">
                  <a:moveTo>
                    <a:pt x="100" y="320"/>
                  </a:moveTo>
                  <a:cubicBezTo>
                    <a:pt x="77" y="320"/>
                    <a:pt x="58" y="302"/>
                    <a:pt x="57" y="27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56" y="233"/>
                    <a:pt x="42" y="192"/>
                    <a:pt x="19" y="156"/>
                  </a:cubicBezTo>
                  <a:cubicBezTo>
                    <a:pt x="6" y="137"/>
                    <a:pt x="0" y="114"/>
                    <a:pt x="3" y="90"/>
                  </a:cubicBezTo>
                  <a:cubicBezTo>
                    <a:pt x="8" y="45"/>
                    <a:pt x="44" y="8"/>
                    <a:pt x="90" y="3"/>
                  </a:cubicBezTo>
                  <a:cubicBezTo>
                    <a:pt x="119" y="0"/>
                    <a:pt x="146" y="8"/>
                    <a:pt x="168" y="27"/>
                  </a:cubicBezTo>
                  <a:cubicBezTo>
                    <a:pt x="189" y="46"/>
                    <a:pt x="201" y="73"/>
                    <a:pt x="201" y="101"/>
                  </a:cubicBezTo>
                  <a:cubicBezTo>
                    <a:pt x="201" y="122"/>
                    <a:pt x="194" y="141"/>
                    <a:pt x="183" y="158"/>
                  </a:cubicBezTo>
                  <a:cubicBezTo>
                    <a:pt x="158" y="194"/>
                    <a:pt x="144" y="236"/>
                    <a:pt x="142" y="279"/>
                  </a:cubicBezTo>
                  <a:cubicBezTo>
                    <a:pt x="141" y="302"/>
                    <a:pt x="123" y="320"/>
                    <a:pt x="100" y="320"/>
                  </a:cubicBezTo>
                  <a:close/>
                  <a:moveTo>
                    <a:pt x="101" y="14"/>
                  </a:moveTo>
                  <a:cubicBezTo>
                    <a:pt x="98" y="14"/>
                    <a:pt x="95" y="15"/>
                    <a:pt x="91" y="15"/>
                  </a:cubicBezTo>
                  <a:cubicBezTo>
                    <a:pt x="51" y="19"/>
                    <a:pt x="19" y="52"/>
                    <a:pt x="15" y="91"/>
                  </a:cubicBezTo>
                  <a:cubicBezTo>
                    <a:pt x="12" y="112"/>
                    <a:pt x="17" y="132"/>
                    <a:pt x="29" y="150"/>
                  </a:cubicBezTo>
                  <a:cubicBezTo>
                    <a:pt x="54" y="187"/>
                    <a:pt x="68" y="230"/>
                    <a:pt x="69" y="274"/>
                  </a:cubicBezTo>
                  <a:cubicBezTo>
                    <a:pt x="70" y="279"/>
                    <a:pt x="70" y="279"/>
                    <a:pt x="70" y="279"/>
                  </a:cubicBezTo>
                  <a:cubicBezTo>
                    <a:pt x="70" y="295"/>
                    <a:pt x="83" y="308"/>
                    <a:pt x="100" y="308"/>
                  </a:cubicBezTo>
                  <a:cubicBezTo>
                    <a:pt x="116" y="308"/>
                    <a:pt x="129" y="295"/>
                    <a:pt x="130" y="279"/>
                  </a:cubicBezTo>
                  <a:cubicBezTo>
                    <a:pt x="131" y="233"/>
                    <a:pt x="146" y="189"/>
                    <a:pt x="173" y="151"/>
                  </a:cubicBezTo>
                  <a:cubicBezTo>
                    <a:pt x="183" y="136"/>
                    <a:pt x="188" y="119"/>
                    <a:pt x="188" y="101"/>
                  </a:cubicBezTo>
                  <a:cubicBezTo>
                    <a:pt x="188" y="77"/>
                    <a:pt x="178" y="53"/>
                    <a:pt x="159" y="37"/>
                  </a:cubicBezTo>
                  <a:cubicBezTo>
                    <a:pt x="143" y="22"/>
                    <a:pt x="123" y="14"/>
                    <a:pt x="10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7" name="Google Shape;942;p13">
              <a:extLst>
                <a:ext uri="{FF2B5EF4-FFF2-40B4-BE49-F238E27FC236}">
                  <a16:creationId xmlns:a16="http://schemas.microsoft.com/office/drawing/2014/main" id="{54C083BF-3F31-4B9B-3E0A-D21AAF9356C5}"/>
                </a:ext>
              </a:extLst>
            </p:cNvPr>
            <p:cNvSpPr/>
            <p:nvPr/>
          </p:nvSpPr>
          <p:spPr>
            <a:xfrm>
              <a:off x="1140897" y="2788851"/>
              <a:ext cx="94097" cy="26348"/>
            </a:xfrm>
            <a:custGeom>
              <a:avLst/>
              <a:gdLst/>
              <a:ahLst/>
              <a:cxnLst/>
              <a:rect l="l" t="t" r="r" b="b"/>
              <a:pathLst>
                <a:path w="91" h="22" extrusionOk="0">
                  <a:moveTo>
                    <a:pt x="45" y="22"/>
                  </a:moveTo>
                  <a:cubicBezTo>
                    <a:pt x="21" y="22"/>
                    <a:pt x="5" y="13"/>
                    <a:pt x="4" y="13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11" y="3"/>
                    <a:pt x="42" y="20"/>
                    <a:pt x="82" y="2"/>
                  </a:cubicBezTo>
                  <a:cubicBezTo>
                    <a:pt x="85" y="1"/>
                    <a:pt x="88" y="2"/>
                    <a:pt x="90" y="5"/>
                  </a:cubicBezTo>
                  <a:cubicBezTo>
                    <a:pt x="91" y="8"/>
                    <a:pt x="90" y="12"/>
                    <a:pt x="87" y="13"/>
                  </a:cubicBezTo>
                  <a:cubicBezTo>
                    <a:pt x="71" y="20"/>
                    <a:pt x="57" y="22"/>
                    <a:pt x="45" y="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8" name="Google Shape;943;p13">
              <a:extLst>
                <a:ext uri="{FF2B5EF4-FFF2-40B4-BE49-F238E27FC236}">
                  <a16:creationId xmlns:a16="http://schemas.microsoft.com/office/drawing/2014/main" id="{8E8C5208-2FE8-538A-3D80-4CEA82FCA7E8}"/>
                </a:ext>
              </a:extLst>
            </p:cNvPr>
            <p:cNvSpPr/>
            <p:nvPr/>
          </p:nvSpPr>
          <p:spPr>
            <a:xfrm>
              <a:off x="1182297" y="2461399"/>
              <a:ext cx="11292" cy="48931"/>
            </a:xfrm>
            <a:custGeom>
              <a:avLst/>
              <a:gdLst/>
              <a:ahLst/>
              <a:cxnLst/>
              <a:rect l="l" t="t" r="r" b="b"/>
              <a:pathLst>
                <a:path w="12" h="45" extrusionOk="0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2"/>
                    <a:pt x="10" y="45"/>
                    <a:pt x="6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9" name="Google Shape;944;p13">
              <a:extLst>
                <a:ext uri="{FF2B5EF4-FFF2-40B4-BE49-F238E27FC236}">
                  <a16:creationId xmlns:a16="http://schemas.microsoft.com/office/drawing/2014/main" id="{909E6CB1-58C6-62AA-707B-2EC0C3F74783}"/>
                </a:ext>
              </a:extLst>
            </p:cNvPr>
            <p:cNvSpPr/>
            <p:nvPr/>
          </p:nvSpPr>
          <p:spPr>
            <a:xfrm>
              <a:off x="1058091" y="2506564"/>
              <a:ext cx="33877" cy="41403"/>
            </a:xfrm>
            <a:custGeom>
              <a:avLst/>
              <a:gdLst/>
              <a:ahLst/>
              <a:cxnLst/>
              <a:rect l="l" t="t" r="r" b="b"/>
              <a:pathLst>
                <a:path w="34" h="37" extrusionOk="0">
                  <a:moveTo>
                    <a:pt x="27" y="37"/>
                  </a:moveTo>
                  <a:cubicBezTo>
                    <a:pt x="26" y="37"/>
                    <a:pt x="24" y="37"/>
                    <a:pt x="23" y="3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4" y="30"/>
                    <a:pt x="34" y="34"/>
                    <a:pt x="31" y="36"/>
                  </a:cubicBezTo>
                  <a:cubicBezTo>
                    <a:pt x="30" y="37"/>
                    <a:pt x="29" y="37"/>
                    <a:pt x="27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0" name="Google Shape;945;p13">
              <a:extLst>
                <a:ext uri="{FF2B5EF4-FFF2-40B4-BE49-F238E27FC236}">
                  <a16:creationId xmlns:a16="http://schemas.microsoft.com/office/drawing/2014/main" id="{4FF0D6D6-18BF-5EB3-E1BC-D99C8EA7AF9F}"/>
                </a:ext>
              </a:extLst>
            </p:cNvPr>
            <p:cNvSpPr/>
            <p:nvPr/>
          </p:nvSpPr>
          <p:spPr>
            <a:xfrm>
              <a:off x="994105" y="2619479"/>
              <a:ext cx="45166" cy="22584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38" y="19"/>
                  </a:moveTo>
                  <a:cubicBezTo>
                    <a:pt x="38" y="19"/>
                    <a:pt x="37" y="19"/>
                    <a:pt x="37" y="1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3"/>
                    <a:pt x="4" y="0"/>
                    <a:pt x="7" y="1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3" y="7"/>
                    <a:pt x="45" y="10"/>
                    <a:pt x="44" y="14"/>
                  </a:cubicBezTo>
                  <a:cubicBezTo>
                    <a:pt x="44" y="17"/>
                    <a:pt x="41" y="19"/>
                    <a:pt x="38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1" name="Google Shape;946;p13">
              <a:extLst>
                <a:ext uri="{FF2B5EF4-FFF2-40B4-BE49-F238E27FC236}">
                  <a16:creationId xmlns:a16="http://schemas.microsoft.com/office/drawing/2014/main" id="{F30A15C9-2291-7A51-6BC9-48EC830E0E4A}"/>
                </a:ext>
              </a:extLst>
            </p:cNvPr>
            <p:cNvSpPr/>
            <p:nvPr/>
          </p:nvSpPr>
          <p:spPr>
            <a:xfrm>
              <a:off x="1012926" y="2732393"/>
              <a:ext cx="45166" cy="30110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3"/>
                    <a:pt x="1" y="20"/>
                    <a:pt x="4" y="1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5" y="0"/>
                    <a:pt x="39" y="1"/>
                    <a:pt x="41" y="4"/>
                  </a:cubicBezTo>
                  <a:cubicBezTo>
                    <a:pt x="42" y="7"/>
                    <a:pt x="41" y="11"/>
                    <a:pt x="38" y="1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9" y="29"/>
                    <a:pt x="8" y="29"/>
                    <a:pt x="7" y="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2" name="Google Shape;947;p13">
              <a:extLst>
                <a:ext uri="{FF2B5EF4-FFF2-40B4-BE49-F238E27FC236}">
                  <a16:creationId xmlns:a16="http://schemas.microsoft.com/office/drawing/2014/main" id="{9A4D577A-8301-0266-DAFC-4DBEC249FC34}"/>
                </a:ext>
              </a:extLst>
            </p:cNvPr>
            <p:cNvSpPr/>
            <p:nvPr/>
          </p:nvSpPr>
          <p:spPr>
            <a:xfrm>
              <a:off x="1317796" y="2732393"/>
              <a:ext cx="45166" cy="30110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35" y="29"/>
                  </a:moveTo>
                  <a:cubicBezTo>
                    <a:pt x="34" y="29"/>
                    <a:pt x="33" y="29"/>
                    <a:pt x="32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1" y="20"/>
                    <a:pt x="42" y="23"/>
                    <a:pt x="41" y="26"/>
                  </a:cubicBezTo>
                  <a:cubicBezTo>
                    <a:pt x="39" y="28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3" name="Google Shape;948;p13">
              <a:extLst>
                <a:ext uri="{FF2B5EF4-FFF2-40B4-BE49-F238E27FC236}">
                  <a16:creationId xmlns:a16="http://schemas.microsoft.com/office/drawing/2014/main" id="{E303AD64-2D67-2AF4-E45D-953D15BC5897}"/>
                </a:ext>
              </a:extLst>
            </p:cNvPr>
            <p:cNvSpPr/>
            <p:nvPr/>
          </p:nvSpPr>
          <p:spPr>
            <a:xfrm>
              <a:off x="1336616" y="2619479"/>
              <a:ext cx="48932" cy="22584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6" y="19"/>
                  </a:moveTo>
                  <a:cubicBezTo>
                    <a:pt x="4" y="19"/>
                    <a:pt x="1" y="17"/>
                    <a:pt x="0" y="14"/>
                  </a:cubicBezTo>
                  <a:cubicBezTo>
                    <a:pt x="0" y="10"/>
                    <a:pt x="2" y="7"/>
                    <a:pt x="5" y="6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5" y="9"/>
                    <a:pt x="43" y="12"/>
                    <a:pt x="39" y="1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6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4" name="Google Shape;949;p13">
              <a:extLst>
                <a:ext uri="{FF2B5EF4-FFF2-40B4-BE49-F238E27FC236}">
                  <a16:creationId xmlns:a16="http://schemas.microsoft.com/office/drawing/2014/main" id="{8B3C3F56-5510-E686-C6BC-CDD63BF3DA27}"/>
                </a:ext>
              </a:extLst>
            </p:cNvPr>
            <p:cNvSpPr/>
            <p:nvPr/>
          </p:nvSpPr>
          <p:spPr>
            <a:xfrm>
              <a:off x="1283922" y="2506564"/>
              <a:ext cx="33877" cy="41403"/>
            </a:xfrm>
            <a:custGeom>
              <a:avLst/>
              <a:gdLst/>
              <a:ahLst/>
              <a:cxnLst/>
              <a:rect l="l" t="t" r="r" b="b"/>
              <a:pathLst>
                <a:path w="35" h="37" extrusionOk="0">
                  <a:moveTo>
                    <a:pt x="7" y="37"/>
                  </a:moveTo>
                  <a:cubicBezTo>
                    <a:pt x="6" y="37"/>
                    <a:pt x="5" y="37"/>
                    <a:pt x="3" y="36"/>
                  </a:cubicBezTo>
                  <a:cubicBezTo>
                    <a:pt x="1" y="34"/>
                    <a:pt x="0" y="30"/>
                    <a:pt x="3" y="27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6" y="0"/>
                    <a:pt x="29" y="0"/>
                    <a:pt x="32" y="2"/>
                  </a:cubicBezTo>
                  <a:cubicBezTo>
                    <a:pt x="35" y="4"/>
                    <a:pt x="35" y="8"/>
                    <a:pt x="33" y="10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7"/>
                    <a:pt x="9" y="37"/>
                    <a:pt x="7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12" name="Google Shape;950;p13">
            <a:extLst>
              <a:ext uri="{FF2B5EF4-FFF2-40B4-BE49-F238E27FC236}">
                <a16:creationId xmlns:a16="http://schemas.microsoft.com/office/drawing/2014/main" id="{83B048F9-F1EB-A2C1-876F-7CEB62087CD3}"/>
              </a:ext>
            </a:extLst>
          </p:cNvPr>
          <p:cNvSpPr/>
          <p:nvPr/>
        </p:nvSpPr>
        <p:spPr>
          <a:xfrm>
            <a:off x="5034023" y="1877145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3" name="Google Shape;951;p13">
            <a:extLst>
              <a:ext uri="{FF2B5EF4-FFF2-40B4-BE49-F238E27FC236}">
                <a16:creationId xmlns:a16="http://schemas.microsoft.com/office/drawing/2014/main" id="{86D94CD7-A244-C197-F187-63BAF99C1EE0}"/>
              </a:ext>
            </a:extLst>
          </p:cNvPr>
          <p:cNvSpPr/>
          <p:nvPr/>
        </p:nvSpPr>
        <p:spPr>
          <a:xfrm>
            <a:off x="4507862" y="1877145"/>
            <a:ext cx="1067268" cy="1067268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4" name="Google Shape;952;p13">
            <a:extLst>
              <a:ext uri="{FF2B5EF4-FFF2-40B4-BE49-F238E27FC236}">
                <a16:creationId xmlns:a16="http://schemas.microsoft.com/office/drawing/2014/main" id="{5C168140-821A-3457-0C19-4384DB3F2442}"/>
              </a:ext>
            </a:extLst>
          </p:cNvPr>
          <p:cNvSpPr txBox="1"/>
          <p:nvPr/>
        </p:nvSpPr>
        <p:spPr>
          <a:xfrm>
            <a:off x="5634362" y="247685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5" name="Google Shape;953;p13">
            <a:extLst>
              <a:ext uri="{FF2B5EF4-FFF2-40B4-BE49-F238E27FC236}">
                <a16:creationId xmlns:a16="http://schemas.microsoft.com/office/drawing/2014/main" id="{DFBE76BA-6941-2BB0-05C5-5CCA982CB952}"/>
              </a:ext>
            </a:extLst>
          </p:cNvPr>
          <p:cNvSpPr txBox="1"/>
          <p:nvPr/>
        </p:nvSpPr>
        <p:spPr>
          <a:xfrm>
            <a:off x="5634362" y="213980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1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6" name="Google Shape;954;p13">
            <a:extLst>
              <a:ext uri="{FF2B5EF4-FFF2-40B4-BE49-F238E27FC236}">
                <a16:creationId xmlns:a16="http://schemas.microsoft.com/office/drawing/2014/main" id="{5ED29EC4-551B-955F-789A-224129964CEA}"/>
              </a:ext>
            </a:extLst>
          </p:cNvPr>
          <p:cNvSpPr/>
          <p:nvPr/>
        </p:nvSpPr>
        <p:spPr>
          <a:xfrm>
            <a:off x="4352217" y="2255134"/>
            <a:ext cx="333522" cy="33352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2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7" name="Google Shape;955;p13">
            <a:extLst>
              <a:ext uri="{FF2B5EF4-FFF2-40B4-BE49-F238E27FC236}">
                <a16:creationId xmlns:a16="http://schemas.microsoft.com/office/drawing/2014/main" id="{2A0F3CB4-BC74-E795-6286-1D4C8062A560}"/>
              </a:ext>
            </a:extLst>
          </p:cNvPr>
          <p:cNvCxnSpPr>
            <a:stCxn id="13" idx="3"/>
          </p:cNvCxnSpPr>
          <p:nvPr/>
        </p:nvCxnSpPr>
        <p:spPr>
          <a:xfrm>
            <a:off x="5575127" y="2410778"/>
            <a:ext cx="1256033" cy="0"/>
          </a:xfrm>
          <a:prstGeom prst="straightConnector1">
            <a:avLst/>
          </a:prstGeom>
          <a:noFill/>
          <a:ln w="9525" cap="flat" cmpd="sng">
            <a:solidFill>
              <a:srgbClr val="92999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" name="Google Shape;956;p13">
            <a:extLst>
              <a:ext uri="{FF2B5EF4-FFF2-40B4-BE49-F238E27FC236}">
                <a16:creationId xmlns:a16="http://schemas.microsoft.com/office/drawing/2014/main" id="{0BC4F23C-EF3D-6EFF-6303-CDA371CE2ACE}"/>
              </a:ext>
            </a:extLst>
          </p:cNvPr>
          <p:cNvSpPr/>
          <p:nvPr/>
        </p:nvSpPr>
        <p:spPr>
          <a:xfrm>
            <a:off x="8759918" y="1877145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9" name="Google Shape;957;p13">
            <a:extLst>
              <a:ext uri="{FF2B5EF4-FFF2-40B4-BE49-F238E27FC236}">
                <a16:creationId xmlns:a16="http://schemas.microsoft.com/office/drawing/2014/main" id="{1D2A0466-70F7-7189-954C-B23C8710C5F4}"/>
              </a:ext>
            </a:extLst>
          </p:cNvPr>
          <p:cNvSpPr/>
          <p:nvPr/>
        </p:nvSpPr>
        <p:spPr>
          <a:xfrm>
            <a:off x="8233757" y="1877145"/>
            <a:ext cx="1067268" cy="1067268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0" name="Google Shape;958;p13">
            <a:extLst>
              <a:ext uri="{FF2B5EF4-FFF2-40B4-BE49-F238E27FC236}">
                <a16:creationId xmlns:a16="http://schemas.microsoft.com/office/drawing/2014/main" id="{DE8DD4B5-C1AF-274E-C223-E21F4DB1E19B}"/>
              </a:ext>
            </a:extLst>
          </p:cNvPr>
          <p:cNvSpPr txBox="1"/>
          <p:nvPr/>
        </p:nvSpPr>
        <p:spPr>
          <a:xfrm>
            <a:off x="9360258" y="247685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" name="Google Shape;959;p13">
            <a:extLst>
              <a:ext uri="{FF2B5EF4-FFF2-40B4-BE49-F238E27FC236}">
                <a16:creationId xmlns:a16="http://schemas.microsoft.com/office/drawing/2014/main" id="{ED33BA6C-D0B6-49D4-F49C-D18ECD51AC4A}"/>
              </a:ext>
            </a:extLst>
          </p:cNvPr>
          <p:cNvSpPr txBox="1"/>
          <p:nvPr/>
        </p:nvSpPr>
        <p:spPr>
          <a:xfrm>
            <a:off x="9360258" y="213980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2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2" name="Google Shape;960;p13">
            <a:extLst>
              <a:ext uri="{FF2B5EF4-FFF2-40B4-BE49-F238E27FC236}">
                <a16:creationId xmlns:a16="http://schemas.microsoft.com/office/drawing/2014/main" id="{3DB88F48-46EB-BC45-0C5A-01B05FEC8322}"/>
              </a:ext>
            </a:extLst>
          </p:cNvPr>
          <p:cNvSpPr/>
          <p:nvPr/>
        </p:nvSpPr>
        <p:spPr>
          <a:xfrm>
            <a:off x="8078113" y="2255134"/>
            <a:ext cx="333522" cy="33352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3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23" name="Google Shape;961;p13">
            <a:extLst>
              <a:ext uri="{FF2B5EF4-FFF2-40B4-BE49-F238E27FC236}">
                <a16:creationId xmlns:a16="http://schemas.microsoft.com/office/drawing/2014/main" id="{5AD5B1ED-CEE6-4937-C910-A0345FEC290E}"/>
              </a:ext>
            </a:extLst>
          </p:cNvPr>
          <p:cNvCxnSpPr>
            <a:stCxn id="19" idx="3"/>
          </p:cNvCxnSpPr>
          <p:nvPr/>
        </p:nvCxnSpPr>
        <p:spPr>
          <a:xfrm>
            <a:off x="9301021" y="2410778"/>
            <a:ext cx="1256033" cy="0"/>
          </a:xfrm>
          <a:prstGeom prst="straightConnector1">
            <a:avLst/>
          </a:prstGeom>
          <a:noFill/>
          <a:ln w="9525" cap="flat" cmpd="sng">
            <a:solidFill>
              <a:srgbClr val="92999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A33A0CD-39AD-3B08-8400-20C9A07699B1}"/>
              </a:ext>
            </a:extLst>
          </p:cNvPr>
          <p:cNvGrpSpPr/>
          <p:nvPr/>
        </p:nvGrpSpPr>
        <p:grpSpPr>
          <a:xfrm>
            <a:off x="8586573" y="2228154"/>
            <a:ext cx="361638" cy="365252"/>
            <a:chOff x="8757315" y="2485864"/>
            <a:chExt cx="376386" cy="380147"/>
          </a:xfrm>
        </p:grpSpPr>
        <p:sp>
          <p:nvSpPr>
            <p:cNvPr id="83" name="Google Shape;963;p13">
              <a:extLst>
                <a:ext uri="{FF2B5EF4-FFF2-40B4-BE49-F238E27FC236}">
                  <a16:creationId xmlns:a16="http://schemas.microsoft.com/office/drawing/2014/main" id="{E08B312C-860C-94DA-842A-9E20410D0823}"/>
                </a:ext>
              </a:extLst>
            </p:cNvPr>
            <p:cNvSpPr/>
            <p:nvPr/>
          </p:nvSpPr>
          <p:spPr>
            <a:xfrm>
              <a:off x="8757315" y="2485864"/>
              <a:ext cx="293581" cy="297343"/>
            </a:xfrm>
            <a:custGeom>
              <a:avLst/>
              <a:gdLst/>
              <a:ahLst/>
              <a:cxnLst/>
              <a:rect l="l" t="t" r="r" b="b"/>
              <a:pathLst>
                <a:path w="285" h="285" extrusionOk="0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4" name="Google Shape;964;p13">
              <a:extLst>
                <a:ext uri="{FF2B5EF4-FFF2-40B4-BE49-F238E27FC236}">
                  <a16:creationId xmlns:a16="http://schemas.microsoft.com/office/drawing/2014/main" id="{C7660160-CE11-0713-89C7-B8EE3AA78C5D}"/>
                </a:ext>
              </a:extLst>
            </p:cNvPr>
            <p:cNvSpPr/>
            <p:nvPr/>
          </p:nvSpPr>
          <p:spPr>
            <a:xfrm>
              <a:off x="8983148" y="2711693"/>
              <a:ext cx="150553" cy="154318"/>
            </a:xfrm>
            <a:custGeom>
              <a:avLst/>
              <a:gdLst/>
              <a:ahLst/>
              <a:cxnLst/>
              <a:rect l="l" t="t" r="r" b="b"/>
              <a:pathLst>
                <a:path w="145" h="146" extrusionOk="0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5" name="Google Shape;965;p13">
              <a:extLst>
                <a:ext uri="{FF2B5EF4-FFF2-40B4-BE49-F238E27FC236}">
                  <a16:creationId xmlns:a16="http://schemas.microsoft.com/office/drawing/2014/main" id="{52DB2C61-B8B2-DC65-1518-9655883DB382}"/>
                </a:ext>
              </a:extLst>
            </p:cNvPr>
            <p:cNvSpPr/>
            <p:nvPr/>
          </p:nvSpPr>
          <p:spPr>
            <a:xfrm>
              <a:off x="8806244" y="2534793"/>
              <a:ext cx="105388" cy="105386"/>
            </a:xfrm>
            <a:custGeom>
              <a:avLst/>
              <a:gdLst/>
              <a:ahLst/>
              <a:cxnLst/>
              <a:rect l="l" t="t" r="r" b="b"/>
              <a:pathLst>
                <a:path w="99" h="100" extrusionOk="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F29239C-2092-75FC-F10E-65BE355FDAEB}"/>
              </a:ext>
            </a:extLst>
          </p:cNvPr>
          <p:cNvGrpSpPr/>
          <p:nvPr/>
        </p:nvGrpSpPr>
        <p:grpSpPr>
          <a:xfrm>
            <a:off x="4819029" y="2241774"/>
            <a:ext cx="444931" cy="338010"/>
            <a:chOff x="4836129" y="2500040"/>
            <a:chExt cx="463076" cy="351794"/>
          </a:xfrm>
        </p:grpSpPr>
        <p:sp>
          <p:nvSpPr>
            <p:cNvPr id="75" name="Google Shape;967;p13">
              <a:extLst>
                <a:ext uri="{FF2B5EF4-FFF2-40B4-BE49-F238E27FC236}">
                  <a16:creationId xmlns:a16="http://schemas.microsoft.com/office/drawing/2014/main" id="{90B6006A-9002-482C-4920-7F9672296FCE}"/>
                </a:ext>
              </a:extLst>
            </p:cNvPr>
            <p:cNvSpPr/>
            <p:nvPr/>
          </p:nvSpPr>
          <p:spPr>
            <a:xfrm>
              <a:off x="4986897" y="2500040"/>
              <a:ext cx="157949" cy="53848"/>
            </a:xfrm>
            <a:custGeom>
              <a:avLst/>
              <a:gdLst/>
              <a:ahLst/>
              <a:cxnLst/>
              <a:rect l="l" t="t" r="r" b="b"/>
              <a:pathLst>
                <a:path w="158" h="54" extrusionOk="0">
                  <a:moveTo>
                    <a:pt x="151" y="54"/>
                  </a:moveTo>
                  <a:cubicBezTo>
                    <a:pt x="8" y="54"/>
                    <a:pt x="8" y="54"/>
                    <a:pt x="8" y="54"/>
                  </a:cubicBezTo>
                  <a:cubicBezTo>
                    <a:pt x="4" y="54"/>
                    <a:pt x="0" y="51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5" y="0"/>
                    <a:pt x="158" y="12"/>
                    <a:pt x="158" y="28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51"/>
                    <a:pt x="155" y="54"/>
                    <a:pt x="151" y="54"/>
                  </a:cubicBezTo>
                  <a:close/>
                  <a:moveTo>
                    <a:pt x="15" y="40"/>
                  </a:moveTo>
                  <a:cubicBezTo>
                    <a:pt x="143" y="40"/>
                    <a:pt x="143" y="40"/>
                    <a:pt x="143" y="40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0"/>
                    <a:pt x="137" y="14"/>
                    <a:pt x="1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1" y="14"/>
                    <a:pt x="15" y="20"/>
                    <a:pt x="15" y="28"/>
                  </a:cubicBezTo>
                  <a:lnTo>
                    <a:pt x="15" y="4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6" name="Google Shape;968;p13">
              <a:extLst>
                <a:ext uri="{FF2B5EF4-FFF2-40B4-BE49-F238E27FC236}">
                  <a16:creationId xmlns:a16="http://schemas.microsoft.com/office/drawing/2014/main" id="{8BBE826D-9FD0-5D7B-9285-530E0AA20C67}"/>
                </a:ext>
              </a:extLst>
            </p:cNvPr>
            <p:cNvSpPr/>
            <p:nvPr/>
          </p:nvSpPr>
          <p:spPr>
            <a:xfrm>
              <a:off x="4854078" y="2679527"/>
              <a:ext cx="423588" cy="172307"/>
            </a:xfrm>
            <a:custGeom>
              <a:avLst/>
              <a:gdLst/>
              <a:ahLst/>
              <a:cxnLst/>
              <a:rect l="l" t="t" r="r" b="b"/>
              <a:pathLst>
                <a:path w="428" h="174" extrusionOk="0">
                  <a:moveTo>
                    <a:pt x="399" y="174"/>
                  </a:moveTo>
                  <a:cubicBezTo>
                    <a:pt x="30" y="174"/>
                    <a:pt x="30" y="174"/>
                    <a:pt x="30" y="174"/>
                  </a:cubicBezTo>
                  <a:cubicBezTo>
                    <a:pt x="13" y="174"/>
                    <a:pt x="0" y="160"/>
                    <a:pt x="0" y="14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4"/>
                    <a:pt x="2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6" y="17"/>
                    <a:pt x="98" y="20"/>
                    <a:pt x="98" y="24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29"/>
                    <a:pt x="125" y="27"/>
                    <a:pt x="127" y="26"/>
                  </a:cubicBezTo>
                  <a:cubicBezTo>
                    <a:pt x="128" y="24"/>
                    <a:pt x="131" y="24"/>
                    <a:pt x="133" y="24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95" y="24"/>
                    <a:pt x="295" y="24"/>
                    <a:pt x="295" y="24"/>
                  </a:cubicBezTo>
                  <a:cubicBezTo>
                    <a:pt x="297" y="24"/>
                    <a:pt x="300" y="24"/>
                    <a:pt x="301" y="26"/>
                  </a:cubicBezTo>
                  <a:cubicBezTo>
                    <a:pt x="303" y="27"/>
                    <a:pt x="304" y="29"/>
                    <a:pt x="304" y="31"/>
                  </a:cubicBezTo>
                  <a:cubicBezTo>
                    <a:pt x="304" y="63"/>
                    <a:pt x="304" y="63"/>
                    <a:pt x="304" y="63"/>
                  </a:cubicBezTo>
                  <a:cubicBezTo>
                    <a:pt x="330" y="63"/>
                    <a:pt x="330" y="63"/>
                    <a:pt x="330" y="63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0"/>
                    <a:pt x="332" y="17"/>
                    <a:pt x="336" y="17"/>
                  </a:cubicBezTo>
                  <a:cubicBezTo>
                    <a:pt x="420" y="1"/>
                    <a:pt x="420" y="1"/>
                    <a:pt x="420" y="1"/>
                  </a:cubicBezTo>
                  <a:cubicBezTo>
                    <a:pt x="422" y="0"/>
                    <a:pt x="424" y="1"/>
                    <a:pt x="426" y="2"/>
                  </a:cubicBezTo>
                  <a:cubicBezTo>
                    <a:pt x="428" y="4"/>
                    <a:pt x="428" y="6"/>
                    <a:pt x="428" y="8"/>
                  </a:cubicBezTo>
                  <a:cubicBezTo>
                    <a:pt x="428" y="144"/>
                    <a:pt x="428" y="144"/>
                    <a:pt x="428" y="144"/>
                  </a:cubicBezTo>
                  <a:cubicBezTo>
                    <a:pt x="428" y="160"/>
                    <a:pt x="415" y="174"/>
                    <a:pt x="399" y="174"/>
                  </a:cubicBezTo>
                  <a:close/>
                  <a:moveTo>
                    <a:pt x="14" y="17"/>
                  </a:moveTo>
                  <a:cubicBezTo>
                    <a:pt x="14" y="144"/>
                    <a:pt x="14" y="144"/>
                    <a:pt x="14" y="144"/>
                  </a:cubicBezTo>
                  <a:cubicBezTo>
                    <a:pt x="14" y="152"/>
                    <a:pt x="21" y="159"/>
                    <a:pt x="30" y="159"/>
                  </a:cubicBezTo>
                  <a:cubicBezTo>
                    <a:pt x="399" y="159"/>
                    <a:pt x="399" y="159"/>
                    <a:pt x="399" y="159"/>
                  </a:cubicBezTo>
                  <a:cubicBezTo>
                    <a:pt x="407" y="159"/>
                    <a:pt x="414" y="152"/>
                    <a:pt x="414" y="14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44" y="70"/>
                    <a:pt x="344" y="70"/>
                    <a:pt x="344" y="70"/>
                  </a:cubicBezTo>
                  <a:cubicBezTo>
                    <a:pt x="344" y="74"/>
                    <a:pt x="341" y="77"/>
                    <a:pt x="337" y="77"/>
                  </a:cubicBezTo>
                  <a:cubicBezTo>
                    <a:pt x="297" y="77"/>
                    <a:pt x="297" y="77"/>
                    <a:pt x="297" y="77"/>
                  </a:cubicBezTo>
                  <a:cubicBezTo>
                    <a:pt x="293" y="77"/>
                    <a:pt x="289" y="74"/>
                    <a:pt x="289" y="70"/>
                  </a:cubicBezTo>
                  <a:cubicBezTo>
                    <a:pt x="289" y="40"/>
                    <a:pt x="289" y="40"/>
                    <a:pt x="289" y="40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214" y="54"/>
                    <a:pt x="214" y="54"/>
                    <a:pt x="213" y="54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4"/>
                    <a:pt x="135" y="77"/>
                    <a:pt x="13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87" y="77"/>
                    <a:pt x="84" y="74"/>
                    <a:pt x="84" y="70"/>
                  </a:cubicBezTo>
                  <a:cubicBezTo>
                    <a:pt x="84" y="30"/>
                    <a:pt x="84" y="30"/>
                    <a:pt x="84" y="30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7" name="Google Shape;969;p13">
              <a:extLst>
                <a:ext uri="{FF2B5EF4-FFF2-40B4-BE49-F238E27FC236}">
                  <a16:creationId xmlns:a16="http://schemas.microsoft.com/office/drawing/2014/main" id="{6838D6B8-5653-62B6-D376-91DCC9BAAA77}"/>
                </a:ext>
              </a:extLst>
            </p:cNvPr>
            <p:cNvSpPr/>
            <p:nvPr/>
          </p:nvSpPr>
          <p:spPr>
            <a:xfrm>
              <a:off x="4836129" y="2539527"/>
              <a:ext cx="463076" cy="193846"/>
            </a:xfrm>
            <a:custGeom>
              <a:avLst/>
              <a:gdLst/>
              <a:ahLst/>
              <a:cxnLst/>
              <a:rect l="l" t="t" r="r" b="b"/>
              <a:pathLst>
                <a:path w="466" h="196" extrusionOk="0">
                  <a:moveTo>
                    <a:pt x="233" y="196"/>
                  </a:moveTo>
                  <a:cubicBezTo>
                    <a:pt x="233" y="196"/>
                    <a:pt x="232" y="196"/>
                    <a:pt x="232" y="196"/>
                  </a:cubicBezTo>
                  <a:cubicBezTo>
                    <a:pt x="149" y="180"/>
                    <a:pt x="149" y="180"/>
                    <a:pt x="149" y="180"/>
                  </a:cubicBezTo>
                  <a:cubicBezTo>
                    <a:pt x="146" y="180"/>
                    <a:pt x="143" y="177"/>
                    <a:pt x="143" y="173"/>
                  </a:cubicBezTo>
                  <a:cubicBezTo>
                    <a:pt x="143" y="142"/>
                    <a:pt x="143" y="142"/>
                    <a:pt x="143" y="142"/>
                  </a:cubicBezTo>
                  <a:cubicBezTo>
                    <a:pt x="117" y="142"/>
                    <a:pt x="117" y="142"/>
                    <a:pt x="117" y="142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7" y="168"/>
                    <a:pt x="116" y="170"/>
                    <a:pt x="115" y="171"/>
                  </a:cubicBezTo>
                  <a:cubicBezTo>
                    <a:pt x="113" y="173"/>
                    <a:pt x="111" y="173"/>
                    <a:pt x="109" y="173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10" y="154"/>
                    <a:pt x="0" y="142"/>
                    <a:pt x="0" y="1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53" y="0"/>
                    <a:pt x="466" y="13"/>
                    <a:pt x="466" y="30"/>
                  </a:cubicBezTo>
                  <a:cubicBezTo>
                    <a:pt x="466" y="128"/>
                    <a:pt x="466" y="128"/>
                    <a:pt x="466" y="128"/>
                  </a:cubicBezTo>
                  <a:cubicBezTo>
                    <a:pt x="466" y="142"/>
                    <a:pt x="456" y="154"/>
                    <a:pt x="442" y="157"/>
                  </a:cubicBezTo>
                  <a:cubicBezTo>
                    <a:pt x="357" y="173"/>
                    <a:pt x="357" y="173"/>
                    <a:pt x="357" y="173"/>
                  </a:cubicBezTo>
                  <a:cubicBezTo>
                    <a:pt x="355" y="173"/>
                    <a:pt x="353" y="173"/>
                    <a:pt x="351" y="171"/>
                  </a:cubicBezTo>
                  <a:cubicBezTo>
                    <a:pt x="350" y="170"/>
                    <a:pt x="349" y="168"/>
                    <a:pt x="349" y="166"/>
                  </a:cubicBezTo>
                  <a:cubicBezTo>
                    <a:pt x="349" y="142"/>
                    <a:pt x="349" y="142"/>
                    <a:pt x="349" y="142"/>
                  </a:cubicBezTo>
                  <a:cubicBezTo>
                    <a:pt x="323" y="142"/>
                    <a:pt x="323" y="142"/>
                    <a:pt x="323" y="142"/>
                  </a:cubicBezTo>
                  <a:cubicBezTo>
                    <a:pt x="323" y="173"/>
                    <a:pt x="323" y="173"/>
                    <a:pt x="323" y="173"/>
                  </a:cubicBezTo>
                  <a:cubicBezTo>
                    <a:pt x="323" y="177"/>
                    <a:pt x="320" y="180"/>
                    <a:pt x="317" y="180"/>
                  </a:cubicBezTo>
                  <a:cubicBezTo>
                    <a:pt x="234" y="196"/>
                    <a:pt x="234" y="196"/>
                    <a:pt x="234" y="196"/>
                  </a:cubicBezTo>
                  <a:cubicBezTo>
                    <a:pt x="234" y="196"/>
                    <a:pt x="233" y="196"/>
                    <a:pt x="233" y="196"/>
                  </a:cubicBezTo>
                  <a:close/>
                  <a:moveTo>
                    <a:pt x="158" y="167"/>
                  </a:moveTo>
                  <a:cubicBezTo>
                    <a:pt x="233" y="181"/>
                    <a:pt x="233" y="181"/>
                    <a:pt x="233" y="181"/>
                  </a:cubicBezTo>
                  <a:cubicBezTo>
                    <a:pt x="308" y="167"/>
                    <a:pt x="308" y="167"/>
                    <a:pt x="308" y="167"/>
                  </a:cubicBezTo>
                  <a:cubicBezTo>
                    <a:pt x="308" y="135"/>
                    <a:pt x="308" y="135"/>
                    <a:pt x="308" y="135"/>
                  </a:cubicBezTo>
                  <a:cubicBezTo>
                    <a:pt x="308" y="131"/>
                    <a:pt x="312" y="127"/>
                    <a:pt x="316" y="127"/>
                  </a:cubicBezTo>
                  <a:cubicBezTo>
                    <a:pt x="356" y="127"/>
                    <a:pt x="356" y="127"/>
                    <a:pt x="356" y="127"/>
                  </a:cubicBezTo>
                  <a:cubicBezTo>
                    <a:pt x="360" y="127"/>
                    <a:pt x="363" y="131"/>
                    <a:pt x="363" y="135"/>
                  </a:cubicBezTo>
                  <a:cubicBezTo>
                    <a:pt x="363" y="157"/>
                    <a:pt x="363" y="157"/>
                    <a:pt x="363" y="157"/>
                  </a:cubicBezTo>
                  <a:cubicBezTo>
                    <a:pt x="439" y="143"/>
                    <a:pt x="439" y="143"/>
                    <a:pt x="439" y="143"/>
                  </a:cubicBezTo>
                  <a:cubicBezTo>
                    <a:pt x="446" y="142"/>
                    <a:pt x="451" y="135"/>
                    <a:pt x="451" y="128"/>
                  </a:cubicBezTo>
                  <a:cubicBezTo>
                    <a:pt x="451" y="30"/>
                    <a:pt x="451" y="30"/>
                    <a:pt x="451" y="30"/>
                  </a:cubicBezTo>
                  <a:cubicBezTo>
                    <a:pt x="451" y="21"/>
                    <a:pt x="445" y="14"/>
                    <a:pt x="436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2" y="14"/>
                    <a:pt x="15" y="21"/>
                    <a:pt x="15" y="30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35"/>
                    <a:pt x="20" y="142"/>
                    <a:pt x="27" y="143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3" y="135"/>
                    <a:pt x="103" y="135"/>
                    <a:pt x="103" y="135"/>
                  </a:cubicBezTo>
                  <a:cubicBezTo>
                    <a:pt x="103" y="131"/>
                    <a:pt x="106" y="127"/>
                    <a:pt x="110" y="127"/>
                  </a:cubicBezTo>
                  <a:cubicBezTo>
                    <a:pt x="150" y="127"/>
                    <a:pt x="150" y="127"/>
                    <a:pt x="150" y="127"/>
                  </a:cubicBezTo>
                  <a:cubicBezTo>
                    <a:pt x="154" y="127"/>
                    <a:pt x="158" y="131"/>
                    <a:pt x="158" y="135"/>
                  </a:cubicBezTo>
                  <a:lnTo>
                    <a:pt x="158" y="16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8" name="Google Shape;970;p13">
              <a:extLst>
                <a:ext uri="{FF2B5EF4-FFF2-40B4-BE49-F238E27FC236}">
                  <a16:creationId xmlns:a16="http://schemas.microsoft.com/office/drawing/2014/main" id="{C0895DE8-545F-8C64-E41A-E11F279E2B65}"/>
                </a:ext>
              </a:extLst>
            </p:cNvPr>
            <p:cNvSpPr/>
            <p:nvPr/>
          </p:nvSpPr>
          <p:spPr>
            <a:xfrm>
              <a:off x="5058693" y="2701066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8" y="31"/>
                  </a:moveTo>
                  <a:cubicBezTo>
                    <a:pt x="5" y="31"/>
                    <a:pt x="2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3" y="0"/>
                    <a:pt x="97" y="3"/>
                    <a:pt x="98" y="7"/>
                  </a:cubicBezTo>
                  <a:cubicBezTo>
                    <a:pt x="98" y="7"/>
                    <a:pt x="98" y="8"/>
                    <a:pt x="98" y="8"/>
                  </a:cubicBezTo>
                  <a:cubicBezTo>
                    <a:pt x="98" y="11"/>
                    <a:pt x="96" y="14"/>
                    <a:pt x="93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15"/>
                    <a:pt x="92" y="15"/>
                    <a:pt x="92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9" name="Google Shape;971;p13">
              <a:extLst>
                <a:ext uri="{FF2B5EF4-FFF2-40B4-BE49-F238E27FC236}">
                  <a16:creationId xmlns:a16="http://schemas.microsoft.com/office/drawing/2014/main" id="{35F89F09-2043-1003-1195-B6849EF8C9D0}"/>
                </a:ext>
              </a:extLst>
            </p:cNvPr>
            <p:cNvSpPr/>
            <p:nvPr/>
          </p:nvSpPr>
          <p:spPr>
            <a:xfrm>
              <a:off x="4854078" y="2679527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91" y="31"/>
                  </a:moveTo>
                  <a:cubicBezTo>
                    <a:pt x="91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4"/>
                    <a:pt x="0" y="11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3"/>
                    <a:pt x="4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3" y="17"/>
                    <a:pt x="93" y="17"/>
                    <a:pt x="94" y="17"/>
                  </a:cubicBezTo>
                  <a:cubicBezTo>
                    <a:pt x="96" y="18"/>
                    <a:pt x="98" y="21"/>
                    <a:pt x="98" y="24"/>
                  </a:cubicBezTo>
                  <a:cubicBezTo>
                    <a:pt x="98" y="24"/>
                    <a:pt x="98" y="25"/>
                    <a:pt x="98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8"/>
                    <a:pt x="96" y="29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3" y="31"/>
                    <a:pt x="92" y="31"/>
                    <a:pt x="91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0" name="Google Shape;972;p13">
              <a:extLst>
                <a:ext uri="{FF2B5EF4-FFF2-40B4-BE49-F238E27FC236}">
                  <a16:creationId xmlns:a16="http://schemas.microsoft.com/office/drawing/2014/main" id="{4B7E4AC8-BE2A-7B81-9CBE-10EA77168053}"/>
                </a:ext>
              </a:extLst>
            </p:cNvPr>
            <p:cNvSpPr/>
            <p:nvPr/>
          </p:nvSpPr>
          <p:spPr>
            <a:xfrm>
              <a:off x="4976129" y="2701066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7" h="31" extrusionOk="0">
                  <a:moveTo>
                    <a:pt x="90" y="31"/>
                  </a:moveTo>
                  <a:cubicBezTo>
                    <a:pt x="90" y="31"/>
                    <a:pt x="89" y="31"/>
                    <a:pt x="89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5" y="17"/>
                    <a:pt x="97" y="20"/>
                    <a:pt x="97" y="24"/>
                  </a:cubicBezTo>
                  <a:cubicBezTo>
                    <a:pt x="97" y="24"/>
                    <a:pt x="97" y="25"/>
                    <a:pt x="97" y="25"/>
                  </a:cubicBezTo>
                  <a:cubicBezTo>
                    <a:pt x="97" y="29"/>
                    <a:pt x="93" y="31"/>
                    <a:pt x="90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1" name="Google Shape;973;p13">
              <a:extLst>
                <a:ext uri="{FF2B5EF4-FFF2-40B4-BE49-F238E27FC236}">
                  <a16:creationId xmlns:a16="http://schemas.microsoft.com/office/drawing/2014/main" id="{0546D55A-E869-3433-761B-D8587FBE7F17}"/>
                </a:ext>
              </a:extLst>
            </p:cNvPr>
            <p:cNvSpPr/>
            <p:nvPr/>
          </p:nvSpPr>
          <p:spPr>
            <a:xfrm>
              <a:off x="5180743" y="2679527"/>
              <a:ext cx="100513" cy="32309"/>
            </a:xfrm>
            <a:custGeom>
              <a:avLst/>
              <a:gdLst/>
              <a:ahLst/>
              <a:cxnLst/>
              <a:rect l="l" t="t" r="r" b="b"/>
              <a:pathLst>
                <a:path w="100" h="31" extrusionOk="0">
                  <a:moveTo>
                    <a:pt x="8" y="31"/>
                  </a:moveTo>
                  <a:cubicBezTo>
                    <a:pt x="5" y="31"/>
                    <a:pt x="1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5" y="0"/>
                    <a:pt x="99" y="3"/>
                    <a:pt x="99" y="7"/>
                  </a:cubicBezTo>
                  <a:cubicBezTo>
                    <a:pt x="99" y="7"/>
                    <a:pt x="100" y="8"/>
                    <a:pt x="99" y="8"/>
                  </a:cubicBezTo>
                  <a:cubicBezTo>
                    <a:pt x="99" y="12"/>
                    <a:pt x="97" y="15"/>
                    <a:pt x="94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2" name="Google Shape;974;p13">
              <a:extLst>
                <a:ext uri="{FF2B5EF4-FFF2-40B4-BE49-F238E27FC236}">
                  <a16:creationId xmlns:a16="http://schemas.microsoft.com/office/drawing/2014/main" id="{A7B11DA0-B6FC-BACE-E6CD-2D02E6836804}"/>
                </a:ext>
              </a:extLst>
            </p:cNvPr>
            <p:cNvSpPr/>
            <p:nvPr/>
          </p:nvSpPr>
          <p:spPr>
            <a:xfrm>
              <a:off x="4936642" y="2665168"/>
              <a:ext cx="57436" cy="89744"/>
            </a:xfrm>
            <a:custGeom>
              <a:avLst/>
              <a:gdLst/>
              <a:ahLst/>
              <a:cxnLst/>
              <a:rect l="l" t="t" r="r" b="b"/>
              <a:pathLst>
                <a:path w="55" h="92" extrusionOk="0">
                  <a:moveTo>
                    <a:pt x="47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3" y="92"/>
                    <a:pt x="0" y="89"/>
                    <a:pt x="0" y="8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5" y="4"/>
                    <a:pt x="55" y="8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9"/>
                    <a:pt x="51" y="92"/>
                    <a:pt x="47" y="92"/>
                  </a:cubicBezTo>
                  <a:close/>
                  <a:moveTo>
                    <a:pt x="14" y="78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14" y="7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6" name="Google Shape;975;p13">
            <a:extLst>
              <a:ext uri="{FF2B5EF4-FFF2-40B4-BE49-F238E27FC236}">
                <a16:creationId xmlns:a16="http://schemas.microsoft.com/office/drawing/2014/main" id="{7A289C54-36D2-7261-19BF-6563904688C3}"/>
              </a:ext>
            </a:extLst>
          </p:cNvPr>
          <p:cNvSpPr/>
          <p:nvPr/>
        </p:nvSpPr>
        <p:spPr>
          <a:xfrm>
            <a:off x="1308127" y="3926384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" name="Google Shape;976;p13">
            <a:extLst>
              <a:ext uri="{FF2B5EF4-FFF2-40B4-BE49-F238E27FC236}">
                <a16:creationId xmlns:a16="http://schemas.microsoft.com/office/drawing/2014/main" id="{65CEE834-C77D-ED16-C90F-AD1142E9C21C}"/>
              </a:ext>
            </a:extLst>
          </p:cNvPr>
          <p:cNvSpPr/>
          <p:nvPr/>
        </p:nvSpPr>
        <p:spPr>
          <a:xfrm>
            <a:off x="781967" y="3926384"/>
            <a:ext cx="1067268" cy="1067268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8" name="Google Shape;977;p13">
            <a:extLst>
              <a:ext uri="{FF2B5EF4-FFF2-40B4-BE49-F238E27FC236}">
                <a16:creationId xmlns:a16="http://schemas.microsoft.com/office/drawing/2014/main" id="{4927603F-C22E-E127-05EB-E6DA5A70B58C}"/>
              </a:ext>
            </a:extLst>
          </p:cNvPr>
          <p:cNvSpPr txBox="1"/>
          <p:nvPr/>
        </p:nvSpPr>
        <p:spPr>
          <a:xfrm>
            <a:off x="1908467" y="452609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9" name="Google Shape;978;p13">
            <a:extLst>
              <a:ext uri="{FF2B5EF4-FFF2-40B4-BE49-F238E27FC236}">
                <a16:creationId xmlns:a16="http://schemas.microsoft.com/office/drawing/2014/main" id="{99968170-0635-1E61-1A52-B1D5BDE9BD52}"/>
              </a:ext>
            </a:extLst>
          </p:cNvPr>
          <p:cNvSpPr txBox="1"/>
          <p:nvPr/>
        </p:nvSpPr>
        <p:spPr>
          <a:xfrm>
            <a:off x="1908467" y="418904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3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0" name="Google Shape;979;p13">
            <a:extLst>
              <a:ext uri="{FF2B5EF4-FFF2-40B4-BE49-F238E27FC236}">
                <a16:creationId xmlns:a16="http://schemas.microsoft.com/office/drawing/2014/main" id="{0E23315D-2767-AE59-6F06-158ADBF65B27}"/>
              </a:ext>
            </a:extLst>
          </p:cNvPr>
          <p:cNvSpPr/>
          <p:nvPr/>
        </p:nvSpPr>
        <p:spPr>
          <a:xfrm>
            <a:off x="626323" y="4304373"/>
            <a:ext cx="333522" cy="33352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Trebuchet MS"/>
              </a:rPr>
              <a:t>04</a:t>
            </a:r>
            <a:endParaRPr sz="14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31" name="Google Shape;980;p13">
            <a:extLst>
              <a:ext uri="{FF2B5EF4-FFF2-40B4-BE49-F238E27FC236}">
                <a16:creationId xmlns:a16="http://schemas.microsoft.com/office/drawing/2014/main" id="{B49C531C-705A-4B9A-BA21-99EEEF36299E}"/>
              </a:ext>
            </a:extLst>
          </p:cNvPr>
          <p:cNvCxnSpPr>
            <a:stCxn id="27" idx="3"/>
          </p:cNvCxnSpPr>
          <p:nvPr/>
        </p:nvCxnSpPr>
        <p:spPr>
          <a:xfrm>
            <a:off x="1849231" y="4460016"/>
            <a:ext cx="1256033" cy="0"/>
          </a:xfrm>
          <a:prstGeom prst="straightConnector1">
            <a:avLst/>
          </a:prstGeom>
          <a:noFill/>
          <a:ln w="9525" cap="flat" cmpd="sng">
            <a:solidFill>
              <a:srgbClr val="92999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" name="Google Shape;981;p13">
            <a:extLst>
              <a:ext uri="{FF2B5EF4-FFF2-40B4-BE49-F238E27FC236}">
                <a16:creationId xmlns:a16="http://schemas.microsoft.com/office/drawing/2014/main" id="{83054146-9237-9C2F-85DA-660B52AC200B}"/>
              </a:ext>
            </a:extLst>
          </p:cNvPr>
          <p:cNvSpPr/>
          <p:nvPr/>
        </p:nvSpPr>
        <p:spPr>
          <a:xfrm>
            <a:off x="5034023" y="3926384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3" name="Google Shape;982;p13">
            <a:extLst>
              <a:ext uri="{FF2B5EF4-FFF2-40B4-BE49-F238E27FC236}">
                <a16:creationId xmlns:a16="http://schemas.microsoft.com/office/drawing/2014/main" id="{326C9885-6AEA-3BBA-17D0-9DD3CA2F8333}"/>
              </a:ext>
            </a:extLst>
          </p:cNvPr>
          <p:cNvSpPr/>
          <p:nvPr/>
        </p:nvSpPr>
        <p:spPr>
          <a:xfrm>
            <a:off x="4507862" y="3926384"/>
            <a:ext cx="1067268" cy="1067268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4" name="Google Shape;983;p13">
            <a:extLst>
              <a:ext uri="{FF2B5EF4-FFF2-40B4-BE49-F238E27FC236}">
                <a16:creationId xmlns:a16="http://schemas.microsoft.com/office/drawing/2014/main" id="{AF19B8D1-56AF-A53E-8D04-9921D99E7166}"/>
              </a:ext>
            </a:extLst>
          </p:cNvPr>
          <p:cNvSpPr txBox="1"/>
          <p:nvPr/>
        </p:nvSpPr>
        <p:spPr>
          <a:xfrm>
            <a:off x="5634362" y="4526094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5" name="Google Shape;984;p13">
            <a:extLst>
              <a:ext uri="{FF2B5EF4-FFF2-40B4-BE49-F238E27FC236}">
                <a16:creationId xmlns:a16="http://schemas.microsoft.com/office/drawing/2014/main" id="{3DFD194E-D95C-0C0D-EC37-7700AFD04B22}"/>
              </a:ext>
            </a:extLst>
          </p:cNvPr>
          <p:cNvSpPr txBox="1"/>
          <p:nvPr/>
        </p:nvSpPr>
        <p:spPr>
          <a:xfrm>
            <a:off x="5634362" y="418904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4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6" name="Google Shape;985;p13">
            <a:extLst>
              <a:ext uri="{FF2B5EF4-FFF2-40B4-BE49-F238E27FC236}">
                <a16:creationId xmlns:a16="http://schemas.microsoft.com/office/drawing/2014/main" id="{BBA959D0-E594-BD32-D3E5-A30DEE846F59}"/>
              </a:ext>
            </a:extLst>
          </p:cNvPr>
          <p:cNvSpPr/>
          <p:nvPr/>
        </p:nvSpPr>
        <p:spPr>
          <a:xfrm>
            <a:off x="4352217" y="4304373"/>
            <a:ext cx="333522" cy="33352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5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7" name="Google Shape;986;p13">
            <a:extLst>
              <a:ext uri="{FF2B5EF4-FFF2-40B4-BE49-F238E27FC236}">
                <a16:creationId xmlns:a16="http://schemas.microsoft.com/office/drawing/2014/main" id="{A959246A-D604-50DD-D080-EDA317B4ABC2}"/>
              </a:ext>
            </a:extLst>
          </p:cNvPr>
          <p:cNvCxnSpPr>
            <a:stCxn id="33" idx="3"/>
          </p:cNvCxnSpPr>
          <p:nvPr/>
        </p:nvCxnSpPr>
        <p:spPr>
          <a:xfrm>
            <a:off x="5575127" y="4460016"/>
            <a:ext cx="1256033" cy="0"/>
          </a:xfrm>
          <a:prstGeom prst="straightConnector1">
            <a:avLst/>
          </a:prstGeom>
          <a:noFill/>
          <a:ln w="9525" cap="flat" cmpd="sng">
            <a:solidFill>
              <a:srgbClr val="92999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" name="Google Shape;987;p13">
            <a:extLst>
              <a:ext uri="{FF2B5EF4-FFF2-40B4-BE49-F238E27FC236}">
                <a16:creationId xmlns:a16="http://schemas.microsoft.com/office/drawing/2014/main" id="{5ADC3DA6-0E01-5A5D-158C-51AF99B3AC8C}"/>
              </a:ext>
            </a:extLst>
          </p:cNvPr>
          <p:cNvSpPr/>
          <p:nvPr/>
        </p:nvSpPr>
        <p:spPr>
          <a:xfrm>
            <a:off x="8759918" y="3926384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9" name="Google Shape;988;p13">
            <a:extLst>
              <a:ext uri="{FF2B5EF4-FFF2-40B4-BE49-F238E27FC236}">
                <a16:creationId xmlns:a16="http://schemas.microsoft.com/office/drawing/2014/main" id="{5D93FF47-3431-77DE-84F8-8C8EF105509E}"/>
              </a:ext>
            </a:extLst>
          </p:cNvPr>
          <p:cNvSpPr/>
          <p:nvPr/>
        </p:nvSpPr>
        <p:spPr>
          <a:xfrm>
            <a:off x="8233757" y="3926384"/>
            <a:ext cx="1067268" cy="1067268"/>
          </a:xfrm>
          <a:prstGeom prst="diamond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40" name="Google Shape;989;p13">
            <a:extLst>
              <a:ext uri="{FF2B5EF4-FFF2-40B4-BE49-F238E27FC236}">
                <a16:creationId xmlns:a16="http://schemas.microsoft.com/office/drawing/2014/main" id="{9FCAFF31-80CB-9201-7994-03139FE71B8A}"/>
              </a:ext>
            </a:extLst>
          </p:cNvPr>
          <p:cNvSpPr txBox="1"/>
          <p:nvPr/>
        </p:nvSpPr>
        <p:spPr>
          <a:xfrm>
            <a:off x="9360258" y="452609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41" name="Google Shape;990;p13">
            <a:extLst>
              <a:ext uri="{FF2B5EF4-FFF2-40B4-BE49-F238E27FC236}">
                <a16:creationId xmlns:a16="http://schemas.microsoft.com/office/drawing/2014/main" id="{9F34E69F-1644-5530-5842-401388697C30}"/>
              </a:ext>
            </a:extLst>
          </p:cNvPr>
          <p:cNvSpPr txBox="1"/>
          <p:nvPr/>
        </p:nvSpPr>
        <p:spPr>
          <a:xfrm>
            <a:off x="9360258" y="418904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5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2" name="Google Shape;991;p13">
            <a:extLst>
              <a:ext uri="{FF2B5EF4-FFF2-40B4-BE49-F238E27FC236}">
                <a16:creationId xmlns:a16="http://schemas.microsoft.com/office/drawing/2014/main" id="{9B7E75B9-4DB9-B6D1-A00A-CB6970581EA8}"/>
              </a:ext>
            </a:extLst>
          </p:cNvPr>
          <p:cNvSpPr/>
          <p:nvPr/>
        </p:nvSpPr>
        <p:spPr>
          <a:xfrm>
            <a:off x="8078113" y="4304373"/>
            <a:ext cx="333522" cy="33352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6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3" name="Google Shape;992;p13">
            <a:extLst>
              <a:ext uri="{FF2B5EF4-FFF2-40B4-BE49-F238E27FC236}">
                <a16:creationId xmlns:a16="http://schemas.microsoft.com/office/drawing/2014/main" id="{C66F515C-D6DE-3D1E-51A5-305B49E4E866}"/>
              </a:ext>
            </a:extLst>
          </p:cNvPr>
          <p:cNvCxnSpPr>
            <a:stCxn id="39" idx="3"/>
          </p:cNvCxnSpPr>
          <p:nvPr/>
        </p:nvCxnSpPr>
        <p:spPr>
          <a:xfrm>
            <a:off x="9301021" y="4460016"/>
            <a:ext cx="1256033" cy="0"/>
          </a:xfrm>
          <a:prstGeom prst="straightConnector1">
            <a:avLst/>
          </a:prstGeom>
          <a:noFill/>
          <a:ln w="9525" cap="flat" cmpd="sng">
            <a:solidFill>
              <a:srgbClr val="92999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632AF53-BA35-B488-2AB4-DAFB7E3D5B44}"/>
              </a:ext>
            </a:extLst>
          </p:cNvPr>
          <p:cNvGrpSpPr/>
          <p:nvPr/>
        </p:nvGrpSpPr>
        <p:grpSpPr>
          <a:xfrm>
            <a:off x="1198067" y="4259237"/>
            <a:ext cx="235065" cy="430344"/>
            <a:chOff x="1067501" y="4599775"/>
            <a:chExt cx="244651" cy="447895"/>
          </a:xfrm>
        </p:grpSpPr>
        <p:sp>
          <p:nvSpPr>
            <p:cNvPr id="68" name="Google Shape;994;p13">
              <a:extLst>
                <a:ext uri="{FF2B5EF4-FFF2-40B4-BE49-F238E27FC236}">
                  <a16:creationId xmlns:a16="http://schemas.microsoft.com/office/drawing/2014/main" id="{43B56351-544C-5FEA-0EC8-9A84581FAB9B}"/>
                </a:ext>
              </a:extLst>
            </p:cNvPr>
            <p:cNvSpPr/>
            <p:nvPr/>
          </p:nvSpPr>
          <p:spPr>
            <a:xfrm>
              <a:off x="1157833" y="4885825"/>
              <a:ext cx="15055" cy="135498"/>
            </a:xfrm>
            <a:custGeom>
              <a:avLst/>
              <a:gdLst/>
              <a:ahLst/>
              <a:cxnLst/>
              <a:rect l="l" t="t" r="r" b="b"/>
              <a:pathLst>
                <a:path w="12" h="131" extrusionOk="0">
                  <a:moveTo>
                    <a:pt x="6" y="131"/>
                  </a:moveTo>
                  <a:cubicBezTo>
                    <a:pt x="3" y="131"/>
                    <a:pt x="0" y="128"/>
                    <a:pt x="0" y="12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12" y="128"/>
                    <a:pt x="9" y="131"/>
                    <a:pt x="6" y="13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9" name="Google Shape;995;p13">
              <a:extLst>
                <a:ext uri="{FF2B5EF4-FFF2-40B4-BE49-F238E27FC236}">
                  <a16:creationId xmlns:a16="http://schemas.microsoft.com/office/drawing/2014/main" id="{701C2734-ADA5-769B-6A81-7AE7ED4644DF}"/>
                </a:ext>
              </a:extLst>
            </p:cNvPr>
            <p:cNvSpPr/>
            <p:nvPr/>
          </p:nvSpPr>
          <p:spPr>
            <a:xfrm>
              <a:off x="1067501" y="4697634"/>
              <a:ext cx="195719" cy="350036"/>
            </a:xfrm>
            <a:custGeom>
              <a:avLst/>
              <a:gdLst/>
              <a:ahLst/>
              <a:cxnLst/>
              <a:rect l="l" t="t" r="r" b="b"/>
              <a:pathLst>
                <a:path w="189" h="336" extrusionOk="0">
                  <a:moveTo>
                    <a:pt x="120" y="336"/>
                  </a:moveTo>
                  <a:cubicBezTo>
                    <a:pt x="109" y="336"/>
                    <a:pt x="101" y="331"/>
                    <a:pt x="95" y="323"/>
                  </a:cubicBezTo>
                  <a:cubicBezTo>
                    <a:pt x="89" y="331"/>
                    <a:pt x="80" y="336"/>
                    <a:pt x="70" y="336"/>
                  </a:cubicBezTo>
                  <a:cubicBezTo>
                    <a:pt x="53" y="336"/>
                    <a:pt x="40" y="322"/>
                    <a:pt x="40" y="305"/>
                  </a:cubicBezTo>
                  <a:cubicBezTo>
                    <a:pt x="40" y="170"/>
                    <a:pt x="40" y="170"/>
                    <a:pt x="40" y="170"/>
                  </a:cubicBezTo>
                  <a:cubicBezTo>
                    <a:pt x="36" y="172"/>
                    <a:pt x="33" y="173"/>
                    <a:pt x="29" y="174"/>
                  </a:cubicBezTo>
                  <a:cubicBezTo>
                    <a:pt x="21" y="174"/>
                    <a:pt x="14" y="172"/>
                    <a:pt x="9" y="167"/>
                  </a:cubicBezTo>
                  <a:cubicBezTo>
                    <a:pt x="4" y="162"/>
                    <a:pt x="0" y="155"/>
                    <a:pt x="0" y="14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69" y="0"/>
                    <a:pt x="189" y="20"/>
                    <a:pt x="189" y="45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50"/>
                    <a:pt x="189" y="152"/>
                    <a:pt x="189" y="154"/>
                  </a:cubicBezTo>
                  <a:cubicBezTo>
                    <a:pt x="188" y="157"/>
                    <a:pt x="185" y="159"/>
                    <a:pt x="181" y="159"/>
                  </a:cubicBezTo>
                  <a:cubicBezTo>
                    <a:pt x="178" y="158"/>
                    <a:pt x="176" y="154"/>
                    <a:pt x="177" y="151"/>
                  </a:cubicBezTo>
                  <a:cubicBezTo>
                    <a:pt x="177" y="150"/>
                    <a:pt x="177" y="149"/>
                    <a:pt x="177" y="148"/>
                  </a:cubicBezTo>
                  <a:cubicBezTo>
                    <a:pt x="177" y="45"/>
                    <a:pt x="177" y="45"/>
                    <a:pt x="177" y="45"/>
                  </a:cubicBezTo>
                  <a:cubicBezTo>
                    <a:pt x="177" y="27"/>
                    <a:pt x="162" y="12"/>
                    <a:pt x="144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27" y="12"/>
                    <a:pt x="13" y="27"/>
                    <a:pt x="13" y="45"/>
                  </a:cubicBezTo>
                  <a:cubicBezTo>
                    <a:pt x="13" y="148"/>
                    <a:pt x="13" y="148"/>
                    <a:pt x="13" y="148"/>
                  </a:cubicBezTo>
                  <a:cubicBezTo>
                    <a:pt x="13" y="152"/>
                    <a:pt x="14" y="155"/>
                    <a:pt x="17" y="158"/>
                  </a:cubicBezTo>
                  <a:cubicBezTo>
                    <a:pt x="20" y="161"/>
                    <a:pt x="24" y="162"/>
                    <a:pt x="27" y="161"/>
                  </a:cubicBezTo>
                  <a:cubicBezTo>
                    <a:pt x="34" y="161"/>
                    <a:pt x="40" y="155"/>
                    <a:pt x="40" y="147"/>
                  </a:cubicBezTo>
                  <a:cubicBezTo>
                    <a:pt x="40" y="144"/>
                    <a:pt x="42" y="141"/>
                    <a:pt x="46" y="141"/>
                  </a:cubicBezTo>
                  <a:cubicBezTo>
                    <a:pt x="49" y="141"/>
                    <a:pt x="52" y="144"/>
                    <a:pt x="52" y="147"/>
                  </a:cubicBezTo>
                  <a:cubicBezTo>
                    <a:pt x="52" y="305"/>
                    <a:pt x="52" y="305"/>
                    <a:pt x="52" y="305"/>
                  </a:cubicBezTo>
                  <a:cubicBezTo>
                    <a:pt x="52" y="315"/>
                    <a:pt x="60" y="323"/>
                    <a:pt x="70" y="323"/>
                  </a:cubicBezTo>
                  <a:cubicBezTo>
                    <a:pt x="81" y="323"/>
                    <a:pt x="89" y="315"/>
                    <a:pt x="89" y="305"/>
                  </a:cubicBezTo>
                  <a:cubicBezTo>
                    <a:pt x="89" y="302"/>
                    <a:pt x="92" y="299"/>
                    <a:pt x="95" y="299"/>
                  </a:cubicBezTo>
                  <a:cubicBezTo>
                    <a:pt x="98" y="299"/>
                    <a:pt x="101" y="302"/>
                    <a:pt x="101" y="305"/>
                  </a:cubicBezTo>
                  <a:cubicBezTo>
                    <a:pt x="101" y="315"/>
                    <a:pt x="109" y="323"/>
                    <a:pt x="120" y="323"/>
                  </a:cubicBezTo>
                  <a:cubicBezTo>
                    <a:pt x="130" y="323"/>
                    <a:pt x="138" y="315"/>
                    <a:pt x="138" y="305"/>
                  </a:cubicBezTo>
                  <a:cubicBezTo>
                    <a:pt x="138" y="238"/>
                    <a:pt x="138" y="238"/>
                    <a:pt x="138" y="238"/>
                  </a:cubicBezTo>
                  <a:cubicBezTo>
                    <a:pt x="138" y="235"/>
                    <a:pt x="141" y="232"/>
                    <a:pt x="144" y="232"/>
                  </a:cubicBezTo>
                  <a:cubicBezTo>
                    <a:pt x="148" y="232"/>
                    <a:pt x="150" y="235"/>
                    <a:pt x="150" y="238"/>
                  </a:cubicBezTo>
                  <a:cubicBezTo>
                    <a:pt x="150" y="305"/>
                    <a:pt x="150" y="305"/>
                    <a:pt x="150" y="305"/>
                  </a:cubicBezTo>
                  <a:cubicBezTo>
                    <a:pt x="150" y="322"/>
                    <a:pt x="136" y="336"/>
                    <a:pt x="120" y="3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0" name="Google Shape;996;p13">
              <a:extLst>
                <a:ext uri="{FF2B5EF4-FFF2-40B4-BE49-F238E27FC236}">
                  <a16:creationId xmlns:a16="http://schemas.microsoft.com/office/drawing/2014/main" id="{A4CBC99E-6E90-90C3-1EE8-4BB20DBB570C}"/>
                </a:ext>
              </a:extLst>
            </p:cNvPr>
            <p:cNvSpPr/>
            <p:nvPr/>
          </p:nvSpPr>
          <p:spPr>
            <a:xfrm>
              <a:off x="1108904" y="4697634"/>
              <a:ext cx="112916" cy="11291"/>
            </a:xfrm>
            <a:custGeom>
              <a:avLst/>
              <a:gdLst/>
              <a:ahLst/>
              <a:cxnLst/>
              <a:rect l="l" t="t" r="r" b="b"/>
              <a:pathLst>
                <a:path w="110" h="12" extrusionOk="0">
                  <a:moveTo>
                    <a:pt x="10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8" y="0"/>
                    <a:pt x="110" y="2"/>
                    <a:pt x="110" y="6"/>
                  </a:cubicBezTo>
                  <a:cubicBezTo>
                    <a:pt x="110" y="9"/>
                    <a:pt x="108" y="12"/>
                    <a:pt x="10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1" name="Google Shape;997;p13">
              <a:extLst>
                <a:ext uri="{FF2B5EF4-FFF2-40B4-BE49-F238E27FC236}">
                  <a16:creationId xmlns:a16="http://schemas.microsoft.com/office/drawing/2014/main" id="{6AF2EE8F-9D4B-AAAC-B795-4D80B51452B6}"/>
                </a:ext>
              </a:extLst>
            </p:cNvPr>
            <p:cNvSpPr/>
            <p:nvPr/>
          </p:nvSpPr>
          <p:spPr>
            <a:xfrm>
              <a:off x="1108904" y="4769144"/>
              <a:ext cx="11292" cy="86570"/>
            </a:xfrm>
            <a:custGeom>
              <a:avLst/>
              <a:gdLst/>
              <a:ahLst/>
              <a:cxnLst/>
              <a:rect l="l" t="t" r="r" b="b"/>
              <a:pathLst>
                <a:path w="12" h="83" extrusionOk="0">
                  <a:moveTo>
                    <a:pt x="6" y="83"/>
                  </a:moveTo>
                  <a:cubicBezTo>
                    <a:pt x="2" y="83"/>
                    <a:pt x="0" y="81"/>
                    <a:pt x="0" y="7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81"/>
                    <a:pt x="9" y="83"/>
                    <a:pt x="6" y="8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2" name="Google Shape;998;p13">
              <a:extLst>
                <a:ext uri="{FF2B5EF4-FFF2-40B4-BE49-F238E27FC236}">
                  <a16:creationId xmlns:a16="http://schemas.microsoft.com/office/drawing/2014/main" id="{62BD6123-1324-952C-D1E7-7801A62D67D0}"/>
                </a:ext>
              </a:extLst>
            </p:cNvPr>
            <p:cNvSpPr/>
            <p:nvPr/>
          </p:nvSpPr>
          <p:spPr>
            <a:xfrm>
              <a:off x="1210528" y="4769144"/>
              <a:ext cx="11292" cy="86570"/>
            </a:xfrm>
            <a:custGeom>
              <a:avLst/>
              <a:gdLst/>
              <a:ahLst/>
              <a:cxnLst/>
              <a:rect l="l" t="t" r="r" b="b"/>
              <a:pathLst>
                <a:path w="12" h="83" extrusionOk="0">
                  <a:moveTo>
                    <a:pt x="6" y="83"/>
                  </a:moveTo>
                  <a:cubicBezTo>
                    <a:pt x="3" y="83"/>
                    <a:pt x="0" y="81"/>
                    <a:pt x="0" y="7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81"/>
                    <a:pt x="10" y="83"/>
                    <a:pt x="6" y="8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3" name="Google Shape;999;p13">
              <a:extLst>
                <a:ext uri="{FF2B5EF4-FFF2-40B4-BE49-F238E27FC236}">
                  <a16:creationId xmlns:a16="http://schemas.microsoft.com/office/drawing/2014/main" id="{74DD9189-9555-FD22-C15B-A4CD2D421CE0}"/>
                </a:ext>
              </a:extLst>
            </p:cNvPr>
            <p:cNvSpPr/>
            <p:nvPr/>
          </p:nvSpPr>
          <p:spPr>
            <a:xfrm>
              <a:off x="1123960" y="4599775"/>
              <a:ext cx="82805" cy="82804"/>
            </a:xfrm>
            <a:custGeom>
              <a:avLst/>
              <a:gdLst/>
              <a:ahLst/>
              <a:cxnLst/>
              <a:rect l="l" t="t" r="r" b="b"/>
              <a:pathLst>
                <a:path w="78" h="78" extrusionOk="0">
                  <a:moveTo>
                    <a:pt x="39" y="78"/>
                  </a:moveTo>
                  <a:cubicBezTo>
                    <a:pt x="17" y="78"/>
                    <a:pt x="0" y="61"/>
                    <a:pt x="0" y="39"/>
                  </a:cubicBezTo>
                  <a:cubicBezTo>
                    <a:pt x="0" y="17"/>
                    <a:pt x="17" y="0"/>
                    <a:pt x="39" y="0"/>
                  </a:cubicBezTo>
                  <a:cubicBezTo>
                    <a:pt x="61" y="0"/>
                    <a:pt x="78" y="17"/>
                    <a:pt x="78" y="39"/>
                  </a:cubicBezTo>
                  <a:cubicBezTo>
                    <a:pt x="78" y="61"/>
                    <a:pt x="61" y="78"/>
                    <a:pt x="39" y="78"/>
                  </a:cubicBezTo>
                  <a:close/>
                  <a:moveTo>
                    <a:pt x="39" y="12"/>
                  </a:moveTo>
                  <a:cubicBezTo>
                    <a:pt x="24" y="12"/>
                    <a:pt x="12" y="24"/>
                    <a:pt x="12" y="39"/>
                  </a:cubicBezTo>
                  <a:cubicBezTo>
                    <a:pt x="12" y="54"/>
                    <a:pt x="24" y="66"/>
                    <a:pt x="39" y="66"/>
                  </a:cubicBezTo>
                  <a:cubicBezTo>
                    <a:pt x="54" y="66"/>
                    <a:pt x="66" y="54"/>
                    <a:pt x="66" y="39"/>
                  </a:cubicBezTo>
                  <a:cubicBezTo>
                    <a:pt x="66" y="24"/>
                    <a:pt x="54" y="12"/>
                    <a:pt x="39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4" name="Google Shape;1000;p13">
              <a:extLst>
                <a:ext uri="{FF2B5EF4-FFF2-40B4-BE49-F238E27FC236}">
                  <a16:creationId xmlns:a16="http://schemas.microsoft.com/office/drawing/2014/main" id="{CFE93FAC-548E-4564-DAEA-1ADA3B474ABC}"/>
                </a:ext>
              </a:extLst>
            </p:cNvPr>
            <p:cNvSpPr/>
            <p:nvPr/>
          </p:nvSpPr>
          <p:spPr>
            <a:xfrm>
              <a:off x="1157833" y="4851949"/>
              <a:ext cx="154319" cy="97859"/>
            </a:xfrm>
            <a:custGeom>
              <a:avLst/>
              <a:gdLst/>
              <a:ahLst/>
              <a:cxnLst/>
              <a:rect l="l" t="t" r="r" b="b"/>
              <a:pathLst>
                <a:path w="149" h="94" extrusionOk="0">
                  <a:moveTo>
                    <a:pt x="129" y="94"/>
                  </a:moveTo>
                  <a:cubicBezTo>
                    <a:pt x="19" y="94"/>
                    <a:pt x="19" y="94"/>
                    <a:pt x="19" y="94"/>
                  </a:cubicBezTo>
                  <a:cubicBezTo>
                    <a:pt x="9" y="94"/>
                    <a:pt x="0" y="85"/>
                    <a:pt x="0" y="7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9" y="0"/>
                    <a:pt x="1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0" y="0"/>
                    <a:pt x="149" y="9"/>
                    <a:pt x="149" y="19"/>
                  </a:cubicBezTo>
                  <a:cubicBezTo>
                    <a:pt x="149" y="74"/>
                    <a:pt x="149" y="74"/>
                    <a:pt x="149" y="74"/>
                  </a:cubicBezTo>
                  <a:cubicBezTo>
                    <a:pt x="149" y="85"/>
                    <a:pt x="140" y="94"/>
                    <a:pt x="129" y="94"/>
                  </a:cubicBezTo>
                  <a:close/>
                  <a:moveTo>
                    <a:pt x="19" y="12"/>
                  </a:moveTo>
                  <a:cubicBezTo>
                    <a:pt x="15" y="12"/>
                    <a:pt x="12" y="15"/>
                    <a:pt x="12" y="19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8"/>
                    <a:pt x="15" y="82"/>
                    <a:pt x="1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3" y="82"/>
                    <a:pt x="137" y="78"/>
                    <a:pt x="137" y="74"/>
                  </a:cubicBezTo>
                  <a:cubicBezTo>
                    <a:pt x="137" y="19"/>
                    <a:pt x="137" y="19"/>
                    <a:pt x="137" y="19"/>
                  </a:cubicBezTo>
                  <a:cubicBezTo>
                    <a:pt x="137" y="15"/>
                    <a:pt x="133" y="12"/>
                    <a:pt x="129" y="12"/>
                  </a:cubicBezTo>
                  <a:lnTo>
                    <a:pt x="19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AD507B2-68C4-84F6-DA7F-AB95B8B20E17}"/>
              </a:ext>
            </a:extLst>
          </p:cNvPr>
          <p:cNvGrpSpPr/>
          <p:nvPr/>
        </p:nvGrpSpPr>
        <p:grpSpPr>
          <a:xfrm>
            <a:off x="4925716" y="4295834"/>
            <a:ext cx="231565" cy="299527"/>
            <a:chOff x="4947165" y="4637864"/>
            <a:chExt cx="241008" cy="311741"/>
          </a:xfrm>
        </p:grpSpPr>
        <p:sp>
          <p:nvSpPr>
            <p:cNvPr id="60" name="Google Shape;1002;p13">
              <a:extLst>
                <a:ext uri="{FF2B5EF4-FFF2-40B4-BE49-F238E27FC236}">
                  <a16:creationId xmlns:a16="http://schemas.microsoft.com/office/drawing/2014/main" id="{83A63C8E-293F-D2B1-256B-725CAEE104E0}"/>
                </a:ext>
              </a:extLst>
            </p:cNvPr>
            <p:cNvSpPr/>
            <p:nvPr/>
          </p:nvSpPr>
          <p:spPr>
            <a:xfrm>
              <a:off x="4947165" y="4637864"/>
              <a:ext cx="241008" cy="311741"/>
            </a:xfrm>
            <a:custGeom>
              <a:avLst/>
              <a:gdLst/>
              <a:ahLst/>
              <a:cxnLst/>
              <a:rect l="l" t="t" r="r" b="b"/>
              <a:pathLst>
                <a:path w="332" h="431" extrusionOk="0">
                  <a:moveTo>
                    <a:pt x="295" y="431"/>
                  </a:moveTo>
                  <a:cubicBezTo>
                    <a:pt x="37" y="431"/>
                    <a:pt x="37" y="431"/>
                    <a:pt x="37" y="431"/>
                  </a:cubicBezTo>
                  <a:cubicBezTo>
                    <a:pt x="17" y="431"/>
                    <a:pt x="0" y="414"/>
                    <a:pt x="0" y="39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316" y="0"/>
                    <a:pt x="332" y="17"/>
                    <a:pt x="332" y="37"/>
                  </a:cubicBezTo>
                  <a:cubicBezTo>
                    <a:pt x="332" y="394"/>
                    <a:pt x="332" y="394"/>
                    <a:pt x="332" y="394"/>
                  </a:cubicBezTo>
                  <a:cubicBezTo>
                    <a:pt x="332" y="414"/>
                    <a:pt x="316" y="431"/>
                    <a:pt x="295" y="431"/>
                  </a:cubicBezTo>
                  <a:close/>
                  <a:moveTo>
                    <a:pt x="37" y="13"/>
                  </a:moveTo>
                  <a:cubicBezTo>
                    <a:pt x="23" y="13"/>
                    <a:pt x="12" y="24"/>
                    <a:pt x="12" y="37"/>
                  </a:cubicBezTo>
                  <a:cubicBezTo>
                    <a:pt x="12" y="394"/>
                    <a:pt x="12" y="394"/>
                    <a:pt x="12" y="394"/>
                  </a:cubicBezTo>
                  <a:cubicBezTo>
                    <a:pt x="12" y="407"/>
                    <a:pt x="23" y="418"/>
                    <a:pt x="37" y="418"/>
                  </a:cubicBezTo>
                  <a:cubicBezTo>
                    <a:pt x="295" y="418"/>
                    <a:pt x="295" y="418"/>
                    <a:pt x="295" y="418"/>
                  </a:cubicBezTo>
                  <a:cubicBezTo>
                    <a:pt x="309" y="418"/>
                    <a:pt x="320" y="407"/>
                    <a:pt x="320" y="394"/>
                  </a:cubicBezTo>
                  <a:cubicBezTo>
                    <a:pt x="320" y="37"/>
                    <a:pt x="320" y="37"/>
                    <a:pt x="320" y="37"/>
                  </a:cubicBezTo>
                  <a:cubicBezTo>
                    <a:pt x="320" y="24"/>
                    <a:pt x="309" y="13"/>
                    <a:pt x="295" y="13"/>
                  </a:cubicBezTo>
                  <a:lnTo>
                    <a:pt x="37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1" name="Google Shape;1003;p13">
              <a:extLst>
                <a:ext uri="{FF2B5EF4-FFF2-40B4-BE49-F238E27FC236}">
                  <a16:creationId xmlns:a16="http://schemas.microsoft.com/office/drawing/2014/main" id="{5E449758-C9ED-9340-ABF8-08A3F3D3AFD0}"/>
                </a:ext>
              </a:extLst>
            </p:cNvPr>
            <p:cNvSpPr/>
            <p:nvPr/>
          </p:nvSpPr>
          <p:spPr>
            <a:xfrm>
              <a:off x="4981220" y="4637864"/>
              <a:ext cx="172898" cy="39296"/>
            </a:xfrm>
            <a:custGeom>
              <a:avLst/>
              <a:gdLst/>
              <a:ahLst/>
              <a:cxnLst/>
              <a:rect l="l" t="t" r="r" b="b"/>
              <a:pathLst>
                <a:path w="242" h="54" extrusionOk="0">
                  <a:moveTo>
                    <a:pt x="236" y="54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3" y="54"/>
                    <a:pt x="0" y="52"/>
                    <a:pt x="0" y="4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9" y="0"/>
                    <a:pt x="242" y="3"/>
                    <a:pt x="242" y="7"/>
                  </a:cubicBezTo>
                  <a:cubicBezTo>
                    <a:pt x="242" y="48"/>
                    <a:pt x="242" y="48"/>
                    <a:pt x="242" y="48"/>
                  </a:cubicBezTo>
                  <a:cubicBezTo>
                    <a:pt x="242" y="52"/>
                    <a:pt x="239" y="54"/>
                    <a:pt x="236" y="54"/>
                  </a:cubicBezTo>
                  <a:close/>
                  <a:moveTo>
                    <a:pt x="13" y="42"/>
                  </a:moveTo>
                  <a:cubicBezTo>
                    <a:pt x="230" y="42"/>
                    <a:pt x="230" y="42"/>
                    <a:pt x="230" y="42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13" y="13"/>
                    <a:pt x="13" y="13"/>
                    <a:pt x="13" y="13"/>
                  </a:cubicBezTo>
                  <a:lnTo>
                    <a:pt x="13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2" name="Google Shape;1004;p13">
              <a:extLst>
                <a:ext uri="{FF2B5EF4-FFF2-40B4-BE49-F238E27FC236}">
                  <a16:creationId xmlns:a16="http://schemas.microsoft.com/office/drawing/2014/main" id="{EC7825DC-866B-368E-B663-1B4B8222CD75}"/>
                </a:ext>
              </a:extLst>
            </p:cNvPr>
            <p:cNvSpPr/>
            <p:nvPr/>
          </p:nvSpPr>
          <p:spPr>
            <a:xfrm>
              <a:off x="4994319" y="4724313"/>
              <a:ext cx="47154" cy="34057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3" name="Google Shape;1005;p13">
              <a:extLst>
                <a:ext uri="{FF2B5EF4-FFF2-40B4-BE49-F238E27FC236}">
                  <a16:creationId xmlns:a16="http://schemas.microsoft.com/office/drawing/2014/main" id="{FA140331-46C8-84A6-E4A4-0D7C711ABACA}"/>
                </a:ext>
              </a:extLst>
            </p:cNvPr>
            <p:cNvSpPr/>
            <p:nvPr/>
          </p:nvSpPr>
          <p:spPr>
            <a:xfrm>
              <a:off x="4994319" y="4787185"/>
              <a:ext cx="47154" cy="36676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4" name="Google Shape;1006;p13">
              <a:extLst>
                <a:ext uri="{FF2B5EF4-FFF2-40B4-BE49-F238E27FC236}">
                  <a16:creationId xmlns:a16="http://schemas.microsoft.com/office/drawing/2014/main" id="{C362187E-DE9D-6BAF-CC97-B1C41F6C0FF8}"/>
                </a:ext>
              </a:extLst>
            </p:cNvPr>
            <p:cNvSpPr/>
            <p:nvPr/>
          </p:nvSpPr>
          <p:spPr>
            <a:xfrm>
              <a:off x="4994319" y="4852676"/>
              <a:ext cx="47154" cy="34057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5" name="Google Shape;1007;p13">
              <a:extLst>
                <a:ext uri="{FF2B5EF4-FFF2-40B4-BE49-F238E27FC236}">
                  <a16:creationId xmlns:a16="http://schemas.microsoft.com/office/drawing/2014/main" id="{031952AA-FA55-D58D-FECA-DEFD72C6134A}"/>
                </a:ext>
              </a:extLst>
            </p:cNvPr>
            <p:cNvSpPr/>
            <p:nvPr/>
          </p:nvSpPr>
          <p:spPr>
            <a:xfrm>
              <a:off x="5059810" y="4750510"/>
              <a:ext cx="81210" cy="785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6" name="Google Shape;1008;p13">
              <a:extLst>
                <a:ext uri="{FF2B5EF4-FFF2-40B4-BE49-F238E27FC236}">
                  <a16:creationId xmlns:a16="http://schemas.microsoft.com/office/drawing/2014/main" id="{AF565B78-9B3F-F11A-7618-B54334B60E10}"/>
                </a:ext>
              </a:extLst>
            </p:cNvPr>
            <p:cNvSpPr/>
            <p:nvPr/>
          </p:nvSpPr>
          <p:spPr>
            <a:xfrm>
              <a:off x="5059810" y="4813382"/>
              <a:ext cx="81210" cy="1047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7" name="Google Shape;1009;p13">
              <a:extLst>
                <a:ext uri="{FF2B5EF4-FFF2-40B4-BE49-F238E27FC236}">
                  <a16:creationId xmlns:a16="http://schemas.microsoft.com/office/drawing/2014/main" id="{BA9FD336-1250-2837-DDA4-8294A3AFF886}"/>
                </a:ext>
              </a:extLst>
            </p:cNvPr>
            <p:cNvSpPr/>
            <p:nvPr/>
          </p:nvSpPr>
          <p:spPr>
            <a:xfrm>
              <a:off x="5059810" y="4878873"/>
              <a:ext cx="81210" cy="785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75FE561-CA96-11E5-1425-7E75DEE73E31}"/>
              </a:ext>
            </a:extLst>
          </p:cNvPr>
          <p:cNvGrpSpPr/>
          <p:nvPr/>
        </p:nvGrpSpPr>
        <p:grpSpPr>
          <a:xfrm>
            <a:off x="8608416" y="4302367"/>
            <a:ext cx="317951" cy="315305"/>
            <a:chOff x="8780048" y="4644664"/>
            <a:chExt cx="330917" cy="328163"/>
          </a:xfrm>
          <a:solidFill>
            <a:schemeClr val="bg1"/>
          </a:solidFill>
        </p:grpSpPr>
        <p:sp>
          <p:nvSpPr>
            <p:cNvPr id="47" name="Google Shape;1011;p13">
              <a:extLst>
                <a:ext uri="{FF2B5EF4-FFF2-40B4-BE49-F238E27FC236}">
                  <a16:creationId xmlns:a16="http://schemas.microsoft.com/office/drawing/2014/main" id="{339391ED-1385-0769-6C91-544D85A6F068}"/>
                </a:ext>
              </a:extLst>
            </p:cNvPr>
            <p:cNvSpPr/>
            <p:nvPr/>
          </p:nvSpPr>
          <p:spPr>
            <a:xfrm>
              <a:off x="9007203" y="4869414"/>
              <a:ext cx="81326" cy="79972"/>
            </a:xfrm>
            <a:custGeom>
              <a:avLst/>
              <a:gdLst/>
              <a:ahLst/>
              <a:cxnLst/>
              <a:rect l="l" t="t" r="r" b="b"/>
              <a:pathLst>
                <a:path w="41" h="41" extrusionOk="0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8" name="Google Shape;1012;p13">
              <a:extLst>
                <a:ext uri="{FF2B5EF4-FFF2-40B4-BE49-F238E27FC236}">
                  <a16:creationId xmlns:a16="http://schemas.microsoft.com/office/drawing/2014/main" id="{6D7D177A-F7D1-BEDA-A946-32DACA516B5E}"/>
                </a:ext>
              </a:extLst>
            </p:cNvPr>
            <p:cNvSpPr/>
            <p:nvPr/>
          </p:nvSpPr>
          <p:spPr>
            <a:xfrm>
              <a:off x="8782852" y="4647423"/>
              <a:ext cx="91143" cy="89624"/>
            </a:xfrm>
            <a:custGeom>
              <a:avLst/>
              <a:gdLst/>
              <a:ahLst/>
              <a:cxnLst/>
              <a:rect l="l" t="t" r="r" b="b"/>
              <a:pathLst>
                <a:path w="46" h="46" extrusionOk="0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9" name="Google Shape;1013;p13">
              <a:extLst>
                <a:ext uri="{FF2B5EF4-FFF2-40B4-BE49-F238E27FC236}">
                  <a16:creationId xmlns:a16="http://schemas.microsoft.com/office/drawing/2014/main" id="{1FF4B681-6E2A-BDAC-74E3-BF13D0EECF35}"/>
                </a:ext>
              </a:extLst>
            </p:cNvPr>
            <p:cNvSpPr/>
            <p:nvPr/>
          </p:nvSpPr>
          <p:spPr>
            <a:xfrm>
              <a:off x="8780048" y="4695681"/>
              <a:ext cx="102361" cy="78593"/>
            </a:xfrm>
            <a:custGeom>
              <a:avLst/>
              <a:gdLst/>
              <a:ahLst/>
              <a:cxnLst/>
              <a:rect l="l" t="t" r="r" b="b"/>
              <a:pathLst>
                <a:path w="51" h="40" extrusionOk="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0" name="Google Shape;1014;p13">
              <a:extLst>
                <a:ext uri="{FF2B5EF4-FFF2-40B4-BE49-F238E27FC236}">
                  <a16:creationId xmlns:a16="http://schemas.microsoft.com/office/drawing/2014/main" id="{3406E22F-4349-ECBC-74AA-6A77F71D3F9D}"/>
                </a:ext>
              </a:extLst>
            </p:cNvPr>
            <p:cNvSpPr/>
            <p:nvPr/>
          </p:nvSpPr>
          <p:spPr>
            <a:xfrm>
              <a:off x="8831929" y="4644664"/>
              <a:ext cx="84131" cy="100654"/>
            </a:xfrm>
            <a:custGeom>
              <a:avLst/>
              <a:gdLst/>
              <a:ahLst/>
              <a:cxnLst/>
              <a:rect l="l" t="t" r="r" b="b"/>
              <a:pathLst>
                <a:path w="42" h="51" extrusionOk="0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1" name="Google Shape;1015;p13">
              <a:extLst>
                <a:ext uri="{FF2B5EF4-FFF2-40B4-BE49-F238E27FC236}">
                  <a16:creationId xmlns:a16="http://schemas.microsoft.com/office/drawing/2014/main" id="{BC09FF23-ABB4-B6F2-AF60-1D3239DEDADB}"/>
                </a:ext>
              </a:extLst>
            </p:cNvPr>
            <p:cNvSpPr/>
            <p:nvPr/>
          </p:nvSpPr>
          <p:spPr>
            <a:xfrm>
              <a:off x="8872593" y="4757728"/>
              <a:ext cx="51881" cy="48260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2" name="Google Shape;1016;p13">
              <a:extLst>
                <a:ext uri="{FF2B5EF4-FFF2-40B4-BE49-F238E27FC236}">
                  <a16:creationId xmlns:a16="http://schemas.microsoft.com/office/drawing/2014/main" id="{340F1E94-8CC1-7245-39E6-13EAD5F2F105}"/>
                </a:ext>
              </a:extLst>
            </p:cNvPr>
            <p:cNvSpPr/>
            <p:nvPr/>
          </p:nvSpPr>
          <p:spPr>
            <a:xfrm>
              <a:off x="8949714" y="4833565"/>
              <a:ext cx="53283" cy="51017"/>
            </a:xfrm>
            <a:custGeom>
              <a:avLst/>
              <a:gdLst/>
              <a:ahLst/>
              <a:cxnLst/>
              <a:rect l="l" t="t" r="r" b="b"/>
              <a:pathLst>
                <a:path w="27" h="26" extrusionOk="0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3" name="Google Shape;1017;p13">
              <a:extLst>
                <a:ext uri="{FF2B5EF4-FFF2-40B4-BE49-F238E27FC236}">
                  <a16:creationId xmlns:a16="http://schemas.microsoft.com/office/drawing/2014/main" id="{CEA6682B-4F95-D67E-4E00-D77CE56B46A7}"/>
                </a:ext>
              </a:extLst>
            </p:cNvPr>
            <p:cNvSpPr/>
            <p:nvPr/>
          </p:nvSpPr>
          <p:spPr>
            <a:xfrm>
              <a:off x="8893626" y="4737047"/>
              <a:ext cx="130404" cy="128232"/>
            </a:xfrm>
            <a:custGeom>
              <a:avLst/>
              <a:gdLst/>
              <a:ahLst/>
              <a:cxnLst/>
              <a:rect l="l" t="t" r="r" b="b"/>
              <a:pathLst>
                <a:path w="65" h="65" extrusionOk="0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4" name="Google Shape;1018;p13">
              <a:extLst>
                <a:ext uri="{FF2B5EF4-FFF2-40B4-BE49-F238E27FC236}">
                  <a16:creationId xmlns:a16="http://schemas.microsoft.com/office/drawing/2014/main" id="{1536B904-89F5-D6B0-3199-51562EB52338}"/>
                </a:ext>
              </a:extLst>
            </p:cNvPr>
            <p:cNvSpPr/>
            <p:nvPr/>
          </p:nvSpPr>
          <p:spPr>
            <a:xfrm>
              <a:off x="8979160" y="4841837"/>
              <a:ext cx="131805" cy="130990"/>
            </a:xfrm>
            <a:custGeom>
              <a:avLst/>
              <a:gdLst/>
              <a:ahLst/>
              <a:cxnLst/>
              <a:rect l="l" t="t" r="r" b="b"/>
              <a:pathLst>
                <a:path w="66" h="67" extrusionOk="0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6" name="Google Shape;1019;p13">
              <a:extLst>
                <a:ext uri="{FF2B5EF4-FFF2-40B4-BE49-F238E27FC236}">
                  <a16:creationId xmlns:a16="http://schemas.microsoft.com/office/drawing/2014/main" id="{B5450441-0503-464C-08D0-719CFFC13475}"/>
                </a:ext>
              </a:extLst>
            </p:cNvPr>
            <p:cNvSpPr/>
            <p:nvPr/>
          </p:nvSpPr>
          <p:spPr>
            <a:xfrm>
              <a:off x="8935692" y="4658453"/>
              <a:ext cx="164057" cy="164082"/>
            </a:xfrm>
            <a:custGeom>
              <a:avLst/>
              <a:gdLst/>
              <a:ahLst/>
              <a:cxnLst/>
              <a:rect l="l" t="t" r="r" b="b"/>
              <a:pathLst>
                <a:path w="82" h="83" extrusionOk="0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7" name="Google Shape;1020;p13">
              <a:extLst>
                <a:ext uri="{FF2B5EF4-FFF2-40B4-BE49-F238E27FC236}">
                  <a16:creationId xmlns:a16="http://schemas.microsoft.com/office/drawing/2014/main" id="{DDAE8099-8D90-5E36-F18A-56D51AA6183D}"/>
                </a:ext>
              </a:extLst>
            </p:cNvPr>
            <p:cNvSpPr/>
            <p:nvPr/>
          </p:nvSpPr>
          <p:spPr>
            <a:xfrm>
              <a:off x="8784254" y="4814261"/>
              <a:ext cx="159849" cy="153050"/>
            </a:xfrm>
            <a:custGeom>
              <a:avLst/>
              <a:gdLst/>
              <a:ahLst/>
              <a:cxnLst/>
              <a:rect l="l" t="t" r="r" b="b"/>
              <a:pathLst>
                <a:path w="80" h="78" extrusionOk="0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8" name="Google Shape;1021;p13">
              <a:extLst>
                <a:ext uri="{FF2B5EF4-FFF2-40B4-BE49-F238E27FC236}">
                  <a16:creationId xmlns:a16="http://schemas.microsoft.com/office/drawing/2014/main" id="{1EB3AED3-26E3-9318-DC85-1CAC39698155}"/>
                </a:ext>
              </a:extLst>
            </p:cNvPr>
            <p:cNvSpPr/>
            <p:nvPr/>
          </p:nvSpPr>
          <p:spPr>
            <a:xfrm>
              <a:off x="8897831" y="4796335"/>
              <a:ext cx="64500" cy="60669"/>
            </a:xfrm>
            <a:custGeom>
              <a:avLst/>
              <a:gdLst/>
              <a:ahLst/>
              <a:cxnLst/>
              <a:rect l="l" t="t" r="r" b="b"/>
              <a:pathLst>
                <a:path w="32" h="31" extrusionOk="0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9" name="Google Shape;1022;p13">
              <a:extLst>
                <a:ext uri="{FF2B5EF4-FFF2-40B4-BE49-F238E27FC236}">
                  <a16:creationId xmlns:a16="http://schemas.microsoft.com/office/drawing/2014/main" id="{FD3E8819-8AD8-099F-AEE9-05794DB96A23}"/>
                </a:ext>
              </a:extLst>
            </p:cNvPr>
            <p:cNvSpPr/>
            <p:nvPr/>
          </p:nvSpPr>
          <p:spPr>
            <a:xfrm>
              <a:off x="9073106" y="4658453"/>
              <a:ext cx="28044" cy="2757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458790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29966B-5681-8623-61CF-571B24588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ECE2250-A074-30C4-FE3F-D25060A5C6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CE2250-A074-30C4-FE3F-D25060A5C6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CB5022-BD90-FC35-658B-0F7E182D2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EB2CB43-93C4-EE45-7435-69B138BEA96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0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Google Shape;1643;p29">
            <a:extLst>
              <a:ext uri="{FF2B5EF4-FFF2-40B4-BE49-F238E27FC236}">
                <a16:creationId xmlns:a16="http://schemas.microsoft.com/office/drawing/2014/main" id="{913E497F-C7EC-1839-0448-E41972EA3708}"/>
              </a:ext>
            </a:extLst>
          </p:cNvPr>
          <p:cNvSpPr/>
          <p:nvPr/>
        </p:nvSpPr>
        <p:spPr>
          <a:xfrm>
            <a:off x="2901353" y="1170830"/>
            <a:ext cx="357804" cy="494431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5" name="Google Shape;1645;p29">
            <a:extLst>
              <a:ext uri="{FF2B5EF4-FFF2-40B4-BE49-F238E27FC236}">
                <a16:creationId xmlns:a16="http://schemas.microsoft.com/office/drawing/2014/main" id="{104C7133-AE12-C73C-DEC7-D4FA1A348CC1}"/>
              </a:ext>
            </a:extLst>
          </p:cNvPr>
          <p:cNvSpPr/>
          <p:nvPr/>
        </p:nvSpPr>
        <p:spPr>
          <a:xfrm>
            <a:off x="2901353" y="1642574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" name="Google Shape;1646;p29">
            <a:extLst>
              <a:ext uri="{FF2B5EF4-FFF2-40B4-BE49-F238E27FC236}">
                <a16:creationId xmlns:a16="http://schemas.microsoft.com/office/drawing/2014/main" id="{88C5E69A-7116-93EE-7284-5204A209425D}"/>
              </a:ext>
            </a:extLst>
          </p:cNvPr>
          <p:cNvSpPr/>
          <p:nvPr/>
        </p:nvSpPr>
        <p:spPr>
          <a:xfrm rot="5400000">
            <a:off x="3388852" y="1758823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7" name="Google Shape;1647;p29">
            <a:extLst>
              <a:ext uri="{FF2B5EF4-FFF2-40B4-BE49-F238E27FC236}">
                <a16:creationId xmlns:a16="http://schemas.microsoft.com/office/drawing/2014/main" id="{FBDB90AD-503B-1E22-5F81-634133BE1B71}"/>
              </a:ext>
            </a:extLst>
          </p:cNvPr>
          <p:cNvSpPr txBox="1"/>
          <p:nvPr/>
        </p:nvSpPr>
        <p:spPr>
          <a:xfrm>
            <a:off x="614291" y="1698364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0:00 AM – 11:00 A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Google Shape;1648;p29">
            <a:extLst>
              <a:ext uri="{FF2B5EF4-FFF2-40B4-BE49-F238E27FC236}">
                <a16:creationId xmlns:a16="http://schemas.microsoft.com/office/drawing/2014/main" id="{DC013150-2E56-6FCB-256C-4CC3A78B6724}"/>
              </a:ext>
            </a:extLst>
          </p:cNvPr>
          <p:cNvSpPr txBox="1"/>
          <p:nvPr/>
        </p:nvSpPr>
        <p:spPr>
          <a:xfrm>
            <a:off x="3726158" y="1876958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9" name="Google Shape;1649;p29">
            <a:extLst>
              <a:ext uri="{FF2B5EF4-FFF2-40B4-BE49-F238E27FC236}">
                <a16:creationId xmlns:a16="http://schemas.microsoft.com/office/drawing/2014/main" id="{D5EBD7DA-1B0A-26B3-4185-F072B59CDA55}"/>
              </a:ext>
            </a:extLst>
          </p:cNvPr>
          <p:cNvSpPr txBox="1"/>
          <p:nvPr/>
        </p:nvSpPr>
        <p:spPr>
          <a:xfrm>
            <a:off x="3726158" y="1541268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Google Shape;1650;p29">
            <a:extLst>
              <a:ext uri="{FF2B5EF4-FFF2-40B4-BE49-F238E27FC236}">
                <a16:creationId xmlns:a16="http://schemas.microsoft.com/office/drawing/2014/main" id="{86A1DA94-CED6-1C85-6DF5-B622A6866B67}"/>
              </a:ext>
            </a:extLst>
          </p:cNvPr>
          <p:cNvSpPr/>
          <p:nvPr/>
        </p:nvSpPr>
        <p:spPr>
          <a:xfrm>
            <a:off x="2901353" y="2850750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1" name="Google Shape;1651;p29">
            <a:extLst>
              <a:ext uri="{FF2B5EF4-FFF2-40B4-BE49-F238E27FC236}">
                <a16:creationId xmlns:a16="http://schemas.microsoft.com/office/drawing/2014/main" id="{11AEB5A2-3A42-CA11-8C04-708EDE1D673D}"/>
              </a:ext>
            </a:extLst>
          </p:cNvPr>
          <p:cNvSpPr/>
          <p:nvPr/>
        </p:nvSpPr>
        <p:spPr>
          <a:xfrm rot="5400000">
            <a:off x="3388852" y="2967001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2" name="Google Shape;1652;p29">
            <a:extLst>
              <a:ext uri="{FF2B5EF4-FFF2-40B4-BE49-F238E27FC236}">
                <a16:creationId xmlns:a16="http://schemas.microsoft.com/office/drawing/2014/main" id="{8625FD46-FE63-2A82-D11F-87500A5D19FC}"/>
              </a:ext>
            </a:extLst>
          </p:cNvPr>
          <p:cNvSpPr txBox="1"/>
          <p:nvPr/>
        </p:nvSpPr>
        <p:spPr>
          <a:xfrm>
            <a:off x="614291" y="2906542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1:00 AM – 12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3" name="Google Shape;1653;p29">
            <a:extLst>
              <a:ext uri="{FF2B5EF4-FFF2-40B4-BE49-F238E27FC236}">
                <a16:creationId xmlns:a16="http://schemas.microsoft.com/office/drawing/2014/main" id="{BFC01357-4285-DD34-A2C8-7B5C60BB057B}"/>
              </a:ext>
            </a:extLst>
          </p:cNvPr>
          <p:cNvSpPr txBox="1"/>
          <p:nvPr/>
        </p:nvSpPr>
        <p:spPr>
          <a:xfrm>
            <a:off x="3726158" y="3082983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4" name="Google Shape;1654;p29">
            <a:extLst>
              <a:ext uri="{FF2B5EF4-FFF2-40B4-BE49-F238E27FC236}">
                <a16:creationId xmlns:a16="http://schemas.microsoft.com/office/drawing/2014/main" id="{FCC6D01D-C3F9-2BF7-7B83-076E53B38D07}"/>
              </a:ext>
            </a:extLst>
          </p:cNvPr>
          <p:cNvSpPr txBox="1"/>
          <p:nvPr/>
        </p:nvSpPr>
        <p:spPr>
          <a:xfrm>
            <a:off x="3726158" y="2747295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5" name="Google Shape;1655;p29">
            <a:extLst>
              <a:ext uri="{FF2B5EF4-FFF2-40B4-BE49-F238E27FC236}">
                <a16:creationId xmlns:a16="http://schemas.microsoft.com/office/drawing/2014/main" id="{79098A9D-EB65-A0CC-FCF3-52CA9AB4E9A5}"/>
              </a:ext>
            </a:extLst>
          </p:cNvPr>
          <p:cNvSpPr/>
          <p:nvPr/>
        </p:nvSpPr>
        <p:spPr>
          <a:xfrm>
            <a:off x="2901353" y="4058925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6" name="Google Shape;1656;p29">
            <a:extLst>
              <a:ext uri="{FF2B5EF4-FFF2-40B4-BE49-F238E27FC236}">
                <a16:creationId xmlns:a16="http://schemas.microsoft.com/office/drawing/2014/main" id="{103ED63F-74F2-EEE6-D292-7D2ED6610C6D}"/>
              </a:ext>
            </a:extLst>
          </p:cNvPr>
          <p:cNvSpPr/>
          <p:nvPr/>
        </p:nvSpPr>
        <p:spPr>
          <a:xfrm rot="5400000">
            <a:off x="3388852" y="4175176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7" name="Google Shape;1657;p29">
            <a:extLst>
              <a:ext uri="{FF2B5EF4-FFF2-40B4-BE49-F238E27FC236}">
                <a16:creationId xmlns:a16="http://schemas.microsoft.com/office/drawing/2014/main" id="{0242BD5B-D57F-6957-3CCC-99D7DEEA2417}"/>
              </a:ext>
            </a:extLst>
          </p:cNvPr>
          <p:cNvSpPr txBox="1"/>
          <p:nvPr/>
        </p:nvSpPr>
        <p:spPr>
          <a:xfrm>
            <a:off x="614291" y="4114720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2:00 PM – 01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8" name="Google Shape;1658;p29">
            <a:extLst>
              <a:ext uri="{FF2B5EF4-FFF2-40B4-BE49-F238E27FC236}">
                <a16:creationId xmlns:a16="http://schemas.microsoft.com/office/drawing/2014/main" id="{758FC41D-AE35-CC56-2099-F13BFD3A231C}"/>
              </a:ext>
            </a:extLst>
          </p:cNvPr>
          <p:cNvSpPr txBox="1"/>
          <p:nvPr/>
        </p:nvSpPr>
        <p:spPr>
          <a:xfrm>
            <a:off x="3726158" y="4289009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9" name="Google Shape;1659;p29">
            <a:extLst>
              <a:ext uri="{FF2B5EF4-FFF2-40B4-BE49-F238E27FC236}">
                <a16:creationId xmlns:a16="http://schemas.microsoft.com/office/drawing/2014/main" id="{7D3FE82C-B327-C6A4-7838-D1D8026807CD}"/>
              </a:ext>
            </a:extLst>
          </p:cNvPr>
          <p:cNvSpPr txBox="1"/>
          <p:nvPr/>
        </p:nvSpPr>
        <p:spPr>
          <a:xfrm>
            <a:off x="3726158" y="3953321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0" name="Google Shape;1660;p29">
            <a:extLst>
              <a:ext uri="{FF2B5EF4-FFF2-40B4-BE49-F238E27FC236}">
                <a16:creationId xmlns:a16="http://schemas.microsoft.com/office/drawing/2014/main" id="{ECB49A29-D500-03A8-333E-04C9ECB5FB12}"/>
              </a:ext>
            </a:extLst>
          </p:cNvPr>
          <p:cNvSpPr/>
          <p:nvPr/>
        </p:nvSpPr>
        <p:spPr>
          <a:xfrm>
            <a:off x="2901353" y="5267103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" name="Google Shape;1661;p29">
            <a:extLst>
              <a:ext uri="{FF2B5EF4-FFF2-40B4-BE49-F238E27FC236}">
                <a16:creationId xmlns:a16="http://schemas.microsoft.com/office/drawing/2014/main" id="{6CB5A982-DDE9-8FCD-1D12-1AE67213FFDD}"/>
              </a:ext>
            </a:extLst>
          </p:cNvPr>
          <p:cNvSpPr/>
          <p:nvPr/>
        </p:nvSpPr>
        <p:spPr>
          <a:xfrm rot="5400000">
            <a:off x="3388852" y="5383352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2" name="Google Shape;1662;p29">
            <a:extLst>
              <a:ext uri="{FF2B5EF4-FFF2-40B4-BE49-F238E27FC236}">
                <a16:creationId xmlns:a16="http://schemas.microsoft.com/office/drawing/2014/main" id="{1A98A8A8-22EC-7B1C-A494-0C76BCA82E8F}"/>
              </a:ext>
            </a:extLst>
          </p:cNvPr>
          <p:cNvSpPr txBox="1"/>
          <p:nvPr/>
        </p:nvSpPr>
        <p:spPr>
          <a:xfrm>
            <a:off x="614291" y="5322895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1:00 PM – 02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3" name="Google Shape;1663;p29">
            <a:extLst>
              <a:ext uri="{FF2B5EF4-FFF2-40B4-BE49-F238E27FC236}">
                <a16:creationId xmlns:a16="http://schemas.microsoft.com/office/drawing/2014/main" id="{0EDCACED-5A09-7374-7733-8E350E7AAA7A}"/>
              </a:ext>
            </a:extLst>
          </p:cNvPr>
          <p:cNvSpPr txBox="1"/>
          <p:nvPr/>
        </p:nvSpPr>
        <p:spPr>
          <a:xfrm>
            <a:off x="3726158" y="5495036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4" name="Google Shape;1664;p29">
            <a:extLst>
              <a:ext uri="{FF2B5EF4-FFF2-40B4-BE49-F238E27FC236}">
                <a16:creationId xmlns:a16="http://schemas.microsoft.com/office/drawing/2014/main" id="{D90C0C96-7C45-DBE6-7672-3CED504A5E7B}"/>
              </a:ext>
            </a:extLst>
          </p:cNvPr>
          <p:cNvSpPr txBox="1"/>
          <p:nvPr/>
        </p:nvSpPr>
        <p:spPr>
          <a:xfrm>
            <a:off x="3726158" y="5159349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5510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774713-013E-0917-0524-E3B5B2543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C589F3E-0332-AA3F-F5C3-B3A9B3B938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589F3E-0332-AA3F-F5C3-B3A9B3B938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1392B6-8FC2-C592-E829-9FAA1296A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6DA471F-AD68-E8A1-3E35-E6B73C915D2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35294796-5823-BF9F-3883-0518A61419DB}"/>
              </a:ext>
            </a:extLst>
          </p:cNvPr>
          <p:cNvCxnSpPr/>
          <p:nvPr/>
        </p:nvCxnSpPr>
        <p:spPr>
          <a:xfrm>
            <a:off x="3237027" y="247852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C2260099-73A2-2729-60A3-2B941BDB0E11}"/>
              </a:ext>
            </a:extLst>
          </p:cNvPr>
          <p:cNvCxnSpPr/>
          <p:nvPr/>
        </p:nvCxnSpPr>
        <p:spPr>
          <a:xfrm>
            <a:off x="3237027" y="3567315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C72E10E1-DB71-9D35-955F-191D79B02029}"/>
              </a:ext>
            </a:extLst>
          </p:cNvPr>
          <p:cNvCxnSpPr/>
          <p:nvPr/>
        </p:nvCxnSpPr>
        <p:spPr>
          <a:xfrm>
            <a:off x="3237027" y="465611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Google Shape;1179;g6b2a921a3a_2_763">
            <a:extLst>
              <a:ext uri="{FF2B5EF4-FFF2-40B4-BE49-F238E27FC236}">
                <a16:creationId xmlns:a16="http://schemas.microsoft.com/office/drawing/2014/main" id="{4763573E-1F28-9382-695E-9B948748B7B8}"/>
              </a:ext>
            </a:extLst>
          </p:cNvPr>
          <p:cNvSpPr txBox="1"/>
          <p:nvPr/>
        </p:nvSpPr>
        <p:spPr>
          <a:xfrm>
            <a:off x="549928" y="14746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AFF10A9-BC2C-34C2-BA82-8C67054E687C}"/>
              </a:ext>
            </a:extLst>
          </p:cNvPr>
          <p:cNvSpPr txBox="1">
            <a:spLocks/>
          </p:cNvSpPr>
          <p:nvPr/>
        </p:nvSpPr>
        <p:spPr bwMode="auto">
          <a:xfrm>
            <a:off x="3237030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1" name="Content Placeholder 2~1">
            <a:extLst>
              <a:ext uri="{FF2B5EF4-FFF2-40B4-BE49-F238E27FC236}">
                <a16:creationId xmlns:a16="http://schemas.microsoft.com/office/drawing/2014/main" id="{05782908-B525-86E2-3B80-7F9729867228}"/>
              </a:ext>
            </a:extLst>
          </p:cNvPr>
          <p:cNvSpPr txBox="1">
            <a:spLocks/>
          </p:cNvSpPr>
          <p:nvPr/>
        </p:nvSpPr>
        <p:spPr bwMode="auto">
          <a:xfrm>
            <a:off x="5383619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2" name="Content Placeholder 2~2">
            <a:extLst>
              <a:ext uri="{FF2B5EF4-FFF2-40B4-BE49-F238E27FC236}">
                <a16:creationId xmlns:a16="http://schemas.microsoft.com/office/drawing/2014/main" id="{18498154-B94F-754D-11F5-041E154685BE}"/>
              </a:ext>
            </a:extLst>
          </p:cNvPr>
          <p:cNvSpPr txBox="1">
            <a:spLocks/>
          </p:cNvSpPr>
          <p:nvPr/>
        </p:nvSpPr>
        <p:spPr bwMode="auto">
          <a:xfrm>
            <a:off x="7527718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3" name="Content Placeholder 2~3">
            <a:extLst>
              <a:ext uri="{FF2B5EF4-FFF2-40B4-BE49-F238E27FC236}">
                <a16:creationId xmlns:a16="http://schemas.microsoft.com/office/drawing/2014/main" id="{2983D1BF-FA5A-2071-9F84-20D6FF6565D8}"/>
              </a:ext>
            </a:extLst>
          </p:cNvPr>
          <p:cNvSpPr txBox="1">
            <a:spLocks/>
          </p:cNvSpPr>
          <p:nvPr/>
        </p:nvSpPr>
        <p:spPr bwMode="auto">
          <a:xfrm>
            <a:off x="9671815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4" name="Google Shape;1180;g6b2a921a3a_2_763">
            <a:extLst>
              <a:ext uri="{FF2B5EF4-FFF2-40B4-BE49-F238E27FC236}">
                <a16:creationId xmlns:a16="http://schemas.microsoft.com/office/drawing/2014/main" id="{E60777AC-F352-EA9A-593D-6CA3D8B95543}"/>
              </a:ext>
            </a:extLst>
          </p:cNvPr>
          <p:cNvSpPr txBox="1"/>
          <p:nvPr/>
        </p:nvSpPr>
        <p:spPr>
          <a:xfrm>
            <a:off x="549928" y="2563416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15" name="Content Placeholder 2~4">
            <a:extLst>
              <a:ext uri="{FF2B5EF4-FFF2-40B4-BE49-F238E27FC236}">
                <a16:creationId xmlns:a16="http://schemas.microsoft.com/office/drawing/2014/main" id="{F094E09E-3938-6B03-EED8-A9076950EE3D}"/>
              </a:ext>
            </a:extLst>
          </p:cNvPr>
          <p:cNvSpPr txBox="1">
            <a:spLocks/>
          </p:cNvSpPr>
          <p:nvPr/>
        </p:nvSpPr>
        <p:spPr bwMode="auto">
          <a:xfrm>
            <a:off x="3237030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6" name="Content Placeholder 2~5">
            <a:extLst>
              <a:ext uri="{FF2B5EF4-FFF2-40B4-BE49-F238E27FC236}">
                <a16:creationId xmlns:a16="http://schemas.microsoft.com/office/drawing/2014/main" id="{6C05E49F-6401-9793-7507-D60884037E47}"/>
              </a:ext>
            </a:extLst>
          </p:cNvPr>
          <p:cNvSpPr txBox="1">
            <a:spLocks/>
          </p:cNvSpPr>
          <p:nvPr/>
        </p:nvSpPr>
        <p:spPr bwMode="auto">
          <a:xfrm>
            <a:off x="5383619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7" name="Content Placeholder 2~6">
            <a:extLst>
              <a:ext uri="{FF2B5EF4-FFF2-40B4-BE49-F238E27FC236}">
                <a16:creationId xmlns:a16="http://schemas.microsoft.com/office/drawing/2014/main" id="{E694A6F4-A8F3-DF1B-9D26-B24758E98A02}"/>
              </a:ext>
            </a:extLst>
          </p:cNvPr>
          <p:cNvSpPr txBox="1">
            <a:spLocks/>
          </p:cNvSpPr>
          <p:nvPr/>
        </p:nvSpPr>
        <p:spPr bwMode="auto">
          <a:xfrm>
            <a:off x="7527718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8" name="Content Placeholder 2~7">
            <a:extLst>
              <a:ext uri="{FF2B5EF4-FFF2-40B4-BE49-F238E27FC236}">
                <a16:creationId xmlns:a16="http://schemas.microsoft.com/office/drawing/2014/main" id="{05649F47-7EDF-3CED-3C77-C3A3F5B21C39}"/>
              </a:ext>
            </a:extLst>
          </p:cNvPr>
          <p:cNvSpPr txBox="1">
            <a:spLocks/>
          </p:cNvSpPr>
          <p:nvPr/>
        </p:nvSpPr>
        <p:spPr bwMode="auto">
          <a:xfrm>
            <a:off x="9671815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9" name="Google Shape;1181;g6b2a921a3a_2_763">
            <a:extLst>
              <a:ext uri="{FF2B5EF4-FFF2-40B4-BE49-F238E27FC236}">
                <a16:creationId xmlns:a16="http://schemas.microsoft.com/office/drawing/2014/main" id="{4BA391AE-0732-AAC3-2819-54773387B2A8}"/>
              </a:ext>
            </a:extLst>
          </p:cNvPr>
          <p:cNvSpPr txBox="1"/>
          <p:nvPr/>
        </p:nvSpPr>
        <p:spPr>
          <a:xfrm>
            <a:off x="549928" y="3652223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0" name="Content Placeholder 2~8">
            <a:extLst>
              <a:ext uri="{FF2B5EF4-FFF2-40B4-BE49-F238E27FC236}">
                <a16:creationId xmlns:a16="http://schemas.microsoft.com/office/drawing/2014/main" id="{CAFD347F-7E96-87C4-C305-38D3B2AF5915}"/>
              </a:ext>
            </a:extLst>
          </p:cNvPr>
          <p:cNvSpPr txBox="1">
            <a:spLocks/>
          </p:cNvSpPr>
          <p:nvPr/>
        </p:nvSpPr>
        <p:spPr bwMode="auto">
          <a:xfrm>
            <a:off x="3237030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1" name="Content Placeholder 2~9">
            <a:extLst>
              <a:ext uri="{FF2B5EF4-FFF2-40B4-BE49-F238E27FC236}">
                <a16:creationId xmlns:a16="http://schemas.microsoft.com/office/drawing/2014/main" id="{2EAE6625-2626-E7BA-D592-6B7EAD27DBEE}"/>
              </a:ext>
            </a:extLst>
          </p:cNvPr>
          <p:cNvSpPr txBox="1">
            <a:spLocks/>
          </p:cNvSpPr>
          <p:nvPr/>
        </p:nvSpPr>
        <p:spPr bwMode="auto">
          <a:xfrm>
            <a:off x="5383619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2" name="Content Placeholder 2~10">
            <a:extLst>
              <a:ext uri="{FF2B5EF4-FFF2-40B4-BE49-F238E27FC236}">
                <a16:creationId xmlns:a16="http://schemas.microsoft.com/office/drawing/2014/main" id="{DBF632C8-C1D2-67BC-D734-115F87E0F139}"/>
              </a:ext>
            </a:extLst>
          </p:cNvPr>
          <p:cNvSpPr txBox="1">
            <a:spLocks/>
          </p:cNvSpPr>
          <p:nvPr/>
        </p:nvSpPr>
        <p:spPr bwMode="auto">
          <a:xfrm>
            <a:off x="7527718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3" name="Content Placeholder 2~11">
            <a:extLst>
              <a:ext uri="{FF2B5EF4-FFF2-40B4-BE49-F238E27FC236}">
                <a16:creationId xmlns:a16="http://schemas.microsoft.com/office/drawing/2014/main" id="{A6C0AA96-46E2-6541-64A0-FB188E69D270}"/>
              </a:ext>
            </a:extLst>
          </p:cNvPr>
          <p:cNvSpPr txBox="1">
            <a:spLocks/>
          </p:cNvSpPr>
          <p:nvPr/>
        </p:nvSpPr>
        <p:spPr bwMode="auto">
          <a:xfrm>
            <a:off x="9671815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4" name="Google Shape;1182;g6b2a921a3a_2_763">
            <a:extLst>
              <a:ext uri="{FF2B5EF4-FFF2-40B4-BE49-F238E27FC236}">
                <a16:creationId xmlns:a16="http://schemas.microsoft.com/office/drawing/2014/main" id="{F41600A9-9B48-78D9-8544-347B2F2B0D1A}"/>
              </a:ext>
            </a:extLst>
          </p:cNvPr>
          <p:cNvSpPr txBox="1"/>
          <p:nvPr/>
        </p:nvSpPr>
        <p:spPr>
          <a:xfrm>
            <a:off x="549928" y="47410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5" name="Content Placeholder 2~12">
            <a:extLst>
              <a:ext uri="{FF2B5EF4-FFF2-40B4-BE49-F238E27FC236}">
                <a16:creationId xmlns:a16="http://schemas.microsoft.com/office/drawing/2014/main" id="{8EA3853D-A727-F97C-0AA6-E9E3C40B77E7}"/>
              </a:ext>
            </a:extLst>
          </p:cNvPr>
          <p:cNvSpPr txBox="1">
            <a:spLocks/>
          </p:cNvSpPr>
          <p:nvPr/>
        </p:nvSpPr>
        <p:spPr bwMode="auto">
          <a:xfrm>
            <a:off x="3237030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6" name="Content Placeholder 2~13">
            <a:extLst>
              <a:ext uri="{FF2B5EF4-FFF2-40B4-BE49-F238E27FC236}">
                <a16:creationId xmlns:a16="http://schemas.microsoft.com/office/drawing/2014/main" id="{13330A73-5392-34C1-A7B2-1136D72C7A4A}"/>
              </a:ext>
            </a:extLst>
          </p:cNvPr>
          <p:cNvSpPr txBox="1">
            <a:spLocks/>
          </p:cNvSpPr>
          <p:nvPr/>
        </p:nvSpPr>
        <p:spPr bwMode="auto">
          <a:xfrm>
            <a:off x="5383619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7" name="Content Placeholder 2~14">
            <a:extLst>
              <a:ext uri="{FF2B5EF4-FFF2-40B4-BE49-F238E27FC236}">
                <a16:creationId xmlns:a16="http://schemas.microsoft.com/office/drawing/2014/main" id="{4517DEC1-86AF-6B1A-DB64-38121ABBA6D2}"/>
              </a:ext>
            </a:extLst>
          </p:cNvPr>
          <p:cNvSpPr txBox="1">
            <a:spLocks/>
          </p:cNvSpPr>
          <p:nvPr/>
        </p:nvSpPr>
        <p:spPr bwMode="auto">
          <a:xfrm>
            <a:off x="7527718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8" name="Content Placeholder 2~15">
            <a:extLst>
              <a:ext uri="{FF2B5EF4-FFF2-40B4-BE49-F238E27FC236}">
                <a16:creationId xmlns:a16="http://schemas.microsoft.com/office/drawing/2014/main" id="{2948E1F8-3A99-9C7F-8C15-BDEE5756F28B}"/>
              </a:ext>
            </a:extLst>
          </p:cNvPr>
          <p:cNvSpPr txBox="1">
            <a:spLocks/>
          </p:cNvSpPr>
          <p:nvPr/>
        </p:nvSpPr>
        <p:spPr bwMode="auto">
          <a:xfrm>
            <a:off x="9671815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4" name="Google Shape;1178;g6b2a921a3a_2_763">
            <a:extLst>
              <a:ext uri="{FF2B5EF4-FFF2-40B4-BE49-F238E27FC236}">
                <a16:creationId xmlns:a16="http://schemas.microsoft.com/office/drawing/2014/main" id="{417B6E21-B27F-33E1-10BA-399C6B526794}"/>
              </a:ext>
            </a:extLst>
          </p:cNvPr>
          <p:cNvSpPr txBox="1"/>
          <p:nvPr/>
        </p:nvSpPr>
        <p:spPr>
          <a:xfrm>
            <a:off x="549928" y="1021283"/>
            <a:ext cx="2569376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1185;g6b2a921a3a_2_763">
            <a:extLst>
              <a:ext uri="{FF2B5EF4-FFF2-40B4-BE49-F238E27FC236}">
                <a16:creationId xmlns:a16="http://schemas.microsoft.com/office/drawing/2014/main" id="{39F6598A-6B53-D294-1D4D-2C1AA58B5E90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6" name="Shape4_20220715_163331">
            <a:extLst>
              <a:ext uri="{FF2B5EF4-FFF2-40B4-BE49-F238E27FC236}">
                <a16:creationId xmlns:a16="http://schemas.microsoft.com/office/drawing/2014/main" id="{FF5CE41C-ED96-8258-D77B-C67099E88888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" name="Google Shape;1188;g6b2a921a3a_2_763">
            <a:extLst>
              <a:ext uri="{FF2B5EF4-FFF2-40B4-BE49-F238E27FC236}">
                <a16:creationId xmlns:a16="http://schemas.microsoft.com/office/drawing/2014/main" id="{DC035F36-7956-37F7-2B4D-4B26C11B5812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8" name="Shape5_20220715_163331">
            <a:extLst>
              <a:ext uri="{FF2B5EF4-FFF2-40B4-BE49-F238E27FC236}">
                <a16:creationId xmlns:a16="http://schemas.microsoft.com/office/drawing/2014/main" id="{FCAAE366-E8EC-1448-2592-505DD8DBAD25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1191;g6b2a921a3a_2_763">
            <a:extLst>
              <a:ext uri="{FF2B5EF4-FFF2-40B4-BE49-F238E27FC236}">
                <a16:creationId xmlns:a16="http://schemas.microsoft.com/office/drawing/2014/main" id="{D0EBE568-A0C4-3911-3438-BDBAAE3747B0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0" name="Shape6_20220715_163331">
            <a:extLst>
              <a:ext uri="{FF2B5EF4-FFF2-40B4-BE49-F238E27FC236}">
                <a16:creationId xmlns:a16="http://schemas.microsoft.com/office/drawing/2014/main" id="{6875B9B7-481A-858D-9117-0542378ECF0A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1199;g6b2a921a3a_2_763">
            <a:extLst>
              <a:ext uri="{FF2B5EF4-FFF2-40B4-BE49-F238E27FC236}">
                <a16:creationId xmlns:a16="http://schemas.microsoft.com/office/drawing/2014/main" id="{5F86B9F8-6534-00F4-7112-99B7E8BCADE2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2" name="Shape7_20220715_163331">
            <a:extLst>
              <a:ext uri="{FF2B5EF4-FFF2-40B4-BE49-F238E27FC236}">
                <a16:creationId xmlns:a16="http://schemas.microsoft.com/office/drawing/2014/main" id="{B11955BB-F266-F5D9-C1C6-A4E6F1256E6C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991283318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8BE316-B864-72B2-C96A-88790A26B9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77ECB8C-16BB-CE71-E134-9C59934222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7ECB8C-16BB-CE71-E134-9C59934222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A0DD2FB-D68B-2410-6438-6D323AE23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1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BA4B1CE-6CAD-1B0F-C3BE-CEB8C62252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ircular layouts</a:t>
            </a:r>
          </a:p>
        </p:txBody>
      </p:sp>
    </p:spTree>
    <p:extLst>
      <p:ext uri="{BB962C8B-B14F-4D97-AF65-F5344CB8AC3E}">
        <p14:creationId xmlns:p14="http://schemas.microsoft.com/office/powerpoint/2010/main" val="1244130859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C49E5FE-81EB-9E9D-8A61-D817493FBA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9E5FE-81EB-9E9D-8A61-D817493FB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73A67A-1F57-079D-4EEA-B4F61B704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EA4659D-9A66-B003-C78B-3F3283A1788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1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A480B69-11F2-5603-F609-9057AD1FBE89}"/>
              </a:ext>
            </a:extLst>
          </p:cNvPr>
          <p:cNvGrpSpPr/>
          <p:nvPr/>
        </p:nvGrpSpPr>
        <p:grpSpPr>
          <a:xfrm>
            <a:off x="4178592" y="1846175"/>
            <a:ext cx="3655696" cy="3651800"/>
            <a:chOff x="6633029" y="3238291"/>
            <a:chExt cx="6012393" cy="6005986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DA59B73-B675-F0D1-7683-230438072259}"/>
                </a:ext>
              </a:extLst>
            </p:cNvPr>
            <p:cNvGrpSpPr/>
            <p:nvPr/>
          </p:nvGrpSpPr>
          <p:grpSpPr>
            <a:xfrm>
              <a:off x="6633029" y="3238291"/>
              <a:ext cx="6012393" cy="6005986"/>
              <a:chOff x="6553213" y="3112635"/>
              <a:chExt cx="6343563" cy="6336804"/>
            </a:xfrm>
          </p:grpSpPr>
          <p:sp>
            <p:nvSpPr>
              <p:cNvPr id="16" name="Rectangle 10">
                <a:extLst>
                  <a:ext uri="{FF2B5EF4-FFF2-40B4-BE49-F238E27FC236}">
                    <a16:creationId xmlns:a16="http://schemas.microsoft.com/office/drawing/2014/main" id="{2A50ED49-A330-5728-28A5-549BB4A10C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31756" y="6149161"/>
                <a:ext cx="3382" cy="338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17" name="Freeform 11">
                <a:extLst>
                  <a:ext uri="{FF2B5EF4-FFF2-40B4-BE49-F238E27FC236}">
                    <a16:creationId xmlns:a16="http://schemas.microsoft.com/office/drawing/2014/main" id="{7EC10EF6-4B6A-0B36-6D33-4BEDFD807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14916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18" name="Freeform 14">
                <a:extLst>
                  <a:ext uri="{FF2B5EF4-FFF2-40B4-BE49-F238E27FC236}">
                    <a16:creationId xmlns:a16="http://schemas.microsoft.com/office/drawing/2014/main" id="{4609E862-2582-685D-3A4C-75685DFDC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6423058"/>
                <a:ext cx="2170878" cy="2170878"/>
              </a:xfrm>
              <a:custGeom>
                <a:avLst/>
                <a:gdLst>
                  <a:gd name="T0" fmla="*/ 0 w 642"/>
                  <a:gd name="T1" fmla="*/ 0 h 642"/>
                  <a:gd name="T2" fmla="*/ 0 w 642"/>
                  <a:gd name="T3" fmla="*/ 2 h 642"/>
                  <a:gd name="T4" fmla="*/ 640 w 642"/>
                  <a:gd name="T5" fmla="*/ 641 h 642"/>
                  <a:gd name="T6" fmla="*/ 642 w 642"/>
                  <a:gd name="T7" fmla="*/ 642 h 642"/>
                  <a:gd name="T8" fmla="*/ 0 w 642"/>
                  <a:gd name="T9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2">
                    <a:moveTo>
                      <a:pt x="0" y="0"/>
                    </a:moveTo>
                    <a:lnTo>
                      <a:pt x="0" y="2"/>
                    </a:lnTo>
                    <a:lnTo>
                      <a:pt x="640" y="641"/>
                    </a:lnTo>
                    <a:lnTo>
                      <a:pt x="642" y="6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19" name="Freeform 15">
                <a:extLst>
                  <a:ext uri="{FF2B5EF4-FFF2-40B4-BE49-F238E27FC236}">
                    <a16:creationId xmlns:a16="http://schemas.microsoft.com/office/drawing/2014/main" id="{6B0AF50A-6154-C213-56B5-37228A3FB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6423058"/>
                <a:ext cx="2170878" cy="2170878"/>
              </a:xfrm>
              <a:custGeom>
                <a:avLst/>
                <a:gdLst>
                  <a:gd name="T0" fmla="*/ 0 w 642"/>
                  <a:gd name="T1" fmla="*/ 0 h 642"/>
                  <a:gd name="T2" fmla="*/ 0 w 642"/>
                  <a:gd name="T3" fmla="*/ 2 h 642"/>
                  <a:gd name="T4" fmla="*/ 640 w 642"/>
                  <a:gd name="T5" fmla="*/ 641 h 642"/>
                  <a:gd name="T6" fmla="*/ 642 w 642"/>
                  <a:gd name="T7" fmla="*/ 642 h 642"/>
                  <a:gd name="T8" fmla="*/ 0 w 642"/>
                  <a:gd name="T9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2">
                    <a:moveTo>
                      <a:pt x="0" y="0"/>
                    </a:moveTo>
                    <a:lnTo>
                      <a:pt x="0" y="2"/>
                    </a:lnTo>
                    <a:lnTo>
                      <a:pt x="640" y="641"/>
                    </a:lnTo>
                    <a:lnTo>
                      <a:pt x="642" y="64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0" name="Freeform 17">
                <a:extLst>
                  <a:ext uri="{FF2B5EF4-FFF2-40B4-BE49-F238E27FC236}">
                    <a16:creationId xmlns:a16="http://schemas.microsoft.com/office/drawing/2014/main" id="{0F8705C8-960D-050E-082A-1FCD5EACA9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429821"/>
                <a:ext cx="2164115" cy="2160735"/>
              </a:xfrm>
              <a:custGeom>
                <a:avLst/>
                <a:gdLst>
                  <a:gd name="T0" fmla="*/ 0 w 640"/>
                  <a:gd name="T1" fmla="*/ 0 h 639"/>
                  <a:gd name="T2" fmla="*/ 0 w 640"/>
                  <a:gd name="T3" fmla="*/ 100 h 639"/>
                  <a:gd name="T4" fmla="*/ 640 w 640"/>
                  <a:gd name="T5" fmla="*/ 639 h 639"/>
                  <a:gd name="T6" fmla="*/ 0 w 640"/>
                  <a:gd name="T7" fmla="*/ 0 h 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0" h="639">
                    <a:moveTo>
                      <a:pt x="0" y="0"/>
                    </a:moveTo>
                    <a:lnTo>
                      <a:pt x="0" y="100"/>
                    </a:lnTo>
                    <a:lnTo>
                      <a:pt x="640" y="639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1" name="Freeform 18">
                <a:extLst>
                  <a:ext uri="{FF2B5EF4-FFF2-40B4-BE49-F238E27FC236}">
                    <a16:creationId xmlns:a16="http://schemas.microsoft.com/office/drawing/2014/main" id="{72A9BE40-1150-F42A-C373-A88A35545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7498"/>
              </a:xfrm>
              <a:custGeom>
                <a:avLst/>
                <a:gdLst>
                  <a:gd name="T0" fmla="*/ 641 w 641"/>
                  <a:gd name="T1" fmla="*/ 0 h 641"/>
                  <a:gd name="T2" fmla="*/ 641 w 641"/>
                  <a:gd name="T3" fmla="*/ 0 h 641"/>
                  <a:gd name="T4" fmla="*/ 0 w 641"/>
                  <a:gd name="T5" fmla="*/ 640 h 641"/>
                  <a:gd name="T6" fmla="*/ 0 w 641"/>
                  <a:gd name="T7" fmla="*/ 641 h 641"/>
                  <a:gd name="T8" fmla="*/ 641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641" y="0"/>
                    </a:moveTo>
                    <a:lnTo>
                      <a:pt x="641" y="0"/>
                    </a:lnTo>
                    <a:lnTo>
                      <a:pt x="0" y="640"/>
                    </a:lnTo>
                    <a:lnTo>
                      <a:pt x="0" y="641"/>
                    </a:lnTo>
                    <a:lnTo>
                      <a:pt x="64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2" name="Freeform 19">
                <a:extLst>
                  <a:ext uri="{FF2B5EF4-FFF2-40B4-BE49-F238E27FC236}">
                    <a16:creationId xmlns:a16="http://schemas.microsoft.com/office/drawing/2014/main" id="{D9B9B847-42FE-50F5-D74C-CA5530B63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7498"/>
              </a:xfrm>
              <a:custGeom>
                <a:avLst/>
                <a:gdLst>
                  <a:gd name="T0" fmla="*/ 641 w 641"/>
                  <a:gd name="T1" fmla="*/ 0 h 641"/>
                  <a:gd name="T2" fmla="*/ 641 w 641"/>
                  <a:gd name="T3" fmla="*/ 0 h 641"/>
                  <a:gd name="T4" fmla="*/ 0 w 641"/>
                  <a:gd name="T5" fmla="*/ 640 h 641"/>
                  <a:gd name="T6" fmla="*/ 0 w 641"/>
                  <a:gd name="T7" fmla="*/ 641 h 641"/>
                  <a:gd name="T8" fmla="*/ 641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641" y="0"/>
                    </a:moveTo>
                    <a:lnTo>
                      <a:pt x="641" y="0"/>
                    </a:lnTo>
                    <a:lnTo>
                      <a:pt x="0" y="640"/>
                    </a:lnTo>
                    <a:lnTo>
                      <a:pt x="0" y="641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3" name="Freeform 21">
                <a:extLst>
                  <a:ext uri="{FF2B5EF4-FFF2-40B4-BE49-F238E27FC236}">
                    <a16:creationId xmlns:a16="http://schemas.microsoft.com/office/drawing/2014/main" id="{AFBE13BE-D934-E332-D903-7AA82F1CF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4115"/>
              </a:xfrm>
              <a:custGeom>
                <a:avLst/>
                <a:gdLst>
                  <a:gd name="T0" fmla="*/ 641 w 641"/>
                  <a:gd name="T1" fmla="*/ 0 h 640"/>
                  <a:gd name="T2" fmla="*/ 540 w 641"/>
                  <a:gd name="T3" fmla="*/ 0 h 640"/>
                  <a:gd name="T4" fmla="*/ 0 w 641"/>
                  <a:gd name="T5" fmla="*/ 640 h 640"/>
                  <a:gd name="T6" fmla="*/ 641 w 641"/>
                  <a:gd name="T7" fmla="*/ 0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1" h="640">
                    <a:moveTo>
                      <a:pt x="641" y="0"/>
                    </a:moveTo>
                    <a:lnTo>
                      <a:pt x="540" y="0"/>
                    </a:lnTo>
                    <a:lnTo>
                      <a:pt x="0" y="640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4" name="Rectangle 22">
                <a:extLst>
                  <a:ext uri="{FF2B5EF4-FFF2-40B4-BE49-F238E27FC236}">
                    <a16:creationId xmlns:a16="http://schemas.microsoft.com/office/drawing/2014/main" id="{37A577C6-770E-ACB4-9818-D4027E2B27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1274" y="8455296"/>
                <a:ext cx="3382" cy="338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5" name="Freeform 23">
                <a:extLst>
                  <a:ext uri="{FF2B5EF4-FFF2-40B4-BE49-F238E27FC236}">
                    <a16:creationId xmlns:a16="http://schemas.microsoft.com/office/drawing/2014/main" id="{5917E971-9955-FD38-72EC-0F72C31A25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1274" y="845529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1EAD0096-D0B1-9237-A11D-0F4F6BE30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3776" y="6287800"/>
                <a:ext cx="2167498" cy="2167498"/>
              </a:xfrm>
              <a:custGeom>
                <a:avLst/>
                <a:gdLst>
                  <a:gd name="T0" fmla="*/ 100 w 641"/>
                  <a:gd name="T1" fmla="*/ 0 h 641"/>
                  <a:gd name="T2" fmla="*/ 0 w 641"/>
                  <a:gd name="T3" fmla="*/ 0 h 641"/>
                  <a:gd name="T4" fmla="*/ 641 w 641"/>
                  <a:gd name="T5" fmla="*/ 641 h 641"/>
                  <a:gd name="T6" fmla="*/ 641 w 641"/>
                  <a:gd name="T7" fmla="*/ 641 h 641"/>
                  <a:gd name="T8" fmla="*/ 100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100" y="0"/>
                    </a:moveTo>
                    <a:lnTo>
                      <a:pt x="0" y="0"/>
                    </a:lnTo>
                    <a:lnTo>
                      <a:pt x="641" y="641"/>
                    </a:lnTo>
                    <a:lnTo>
                      <a:pt x="641" y="641"/>
                    </a:lnTo>
                    <a:lnTo>
                      <a:pt x="10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46816948-739A-6ED7-52ED-7758FD9C8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3981665"/>
                <a:ext cx="2170878" cy="2167498"/>
              </a:xfrm>
              <a:custGeom>
                <a:avLst/>
                <a:gdLst>
                  <a:gd name="T0" fmla="*/ 642 w 642"/>
                  <a:gd name="T1" fmla="*/ 0 h 641"/>
                  <a:gd name="T2" fmla="*/ 640 w 642"/>
                  <a:gd name="T3" fmla="*/ 2 h 641"/>
                  <a:gd name="T4" fmla="*/ 0 w 642"/>
                  <a:gd name="T5" fmla="*/ 641 h 641"/>
                  <a:gd name="T6" fmla="*/ 0 w 642"/>
                  <a:gd name="T7" fmla="*/ 641 h 641"/>
                  <a:gd name="T8" fmla="*/ 642 w 642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1">
                    <a:moveTo>
                      <a:pt x="642" y="0"/>
                    </a:moveTo>
                    <a:lnTo>
                      <a:pt x="640" y="2"/>
                    </a:lnTo>
                    <a:lnTo>
                      <a:pt x="0" y="641"/>
                    </a:lnTo>
                    <a:lnTo>
                      <a:pt x="0" y="641"/>
                    </a:lnTo>
                    <a:lnTo>
                      <a:pt x="64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8" name="Rectangle 30">
                <a:extLst>
                  <a:ext uri="{FF2B5EF4-FFF2-40B4-BE49-F238E27FC236}">
                    <a16:creationId xmlns:a16="http://schemas.microsoft.com/office/drawing/2014/main" id="{653905DC-1AD7-D85E-6EFD-502B47284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31756" y="6423058"/>
                <a:ext cx="3382" cy="6763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9" name="Freeform 31">
                <a:extLst>
                  <a:ext uri="{FF2B5EF4-FFF2-40B4-BE49-F238E27FC236}">
                    <a16:creationId xmlns:a16="http://schemas.microsoft.com/office/drawing/2014/main" id="{594D4164-70EF-634D-E9E3-F3B7BE29C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423058"/>
                <a:ext cx="0" cy="6763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0" name="Freeform 33">
                <a:extLst>
                  <a:ext uri="{FF2B5EF4-FFF2-40B4-BE49-F238E27FC236}">
                    <a16:creationId xmlns:a16="http://schemas.microsoft.com/office/drawing/2014/main" id="{A0E9CE9C-0098-5651-58B7-088E729D5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4260" y="6429820"/>
                <a:ext cx="2167498" cy="2164115"/>
              </a:xfrm>
              <a:custGeom>
                <a:avLst/>
                <a:gdLst>
                  <a:gd name="T0" fmla="*/ 641 w 641"/>
                  <a:gd name="T1" fmla="*/ 0 h 640"/>
                  <a:gd name="T2" fmla="*/ 0 w 641"/>
                  <a:gd name="T3" fmla="*/ 640 h 640"/>
                  <a:gd name="T4" fmla="*/ 641 w 641"/>
                  <a:gd name="T5" fmla="*/ 100 h 640"/>
                  <a:gd name="T6" fmla="*/ 641 w 641"/>
                  <a:gd name="T7" fmla="*/ 0 h 640"/>
                  <a:gd name="T8" fmla="*/ 641 w 641"/>
                  <a:gd name="T9" fmla="*/ 0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0">
                    <a:moveTo>
                      <a:pt x="641" y="0"/>
                    </a:moveTo>
                    <a:lnTo>
                      <a:pt x="0" y="640"/>
                    </a:lnTo>
                    <a:lnTo>
                      <a:pt x="641" y="100"/>
                    </a:lnTo>
                    <a:lnTo>
                      <a:pt x="641" y="0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1" name="Freeform 35">
                <a:extLst>
                  <a:ext uri="{FF2B5EF4-FFF2-40B4-BE49-F238E27FC236}">
                    <a16:creationId xmlns:a16="http://schemas.microsoft.com/office/drawing/2014/main" id="{2E820E52-0753-3A35-216E-71D024E18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4120302"/>
                <a:ext cx="2167498" cy="2167498"/>
              </a:xfrm>
              <a:custGeom>
                <a:avLst/>
                <a:gdLst>
                  <a:gd name="T0" fmla="*/ 0 w 641"/>
                  <a:gd name="T1" fmla="*/ 0 h 641"/>
                  <a:gd name="T2" fmla="*/ 0 w 641"/>
                  <a:gd name="T3" fmla="*/ 2 h 641"/>
                  <a:gd name="T4" fmla="*/ 641 w 641"/>
                  <a:gd name="T5" fmla="*/ 641 h 641"/>
                  <a:gd name="T6" fmla="*/ 641 w 641"/>
                  <a:gd name="T7" fmla="*/ 641 h 641"/>
                  <a:gd name="T8" fmla="*/ 0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0" y="0"/>
                    </a:moveTo>
                    <a:lnTo>
                      <a:pt x="0" y="2"/>
                    </a:lnTo>
                    <a:lnTo>
                      <a:pt x="641" y="641"/>
                    </a:lnTo>
                    <a:lnTo>
                      <a:pt x="641" y="64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2" name="Rectangle 38">
                <a:extLst>
                  <a:ext uri="{FF2B5EF4-FFF2-40B4-BE49-F238E27FC236}">
                    <a16:creationId xmlns:a16="http://schemas.microsoft.com/office/drawing/2014/main" id="{0A2395B7-EEE7-4DF1-2E8F-42AFB40747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1274" y="4120302"/>
                <a:ext cx="3382" cy="3382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3" name="Freeform 39">
                <a:extLst>
                  <a:ext uri="{FF2B5EF4-FFF2-40B4-BE49-F238E27FC236}">
                    <a16:creationId xmlns:a16="http://schemas.microsoft.com/office/drawing/2014/main" id="{4E25D5E3-4C23-EF65-80CC-DF7A4D55C8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1274" y="412030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5B7FBBE-D35A-9FF4-66D8-390DD8C7B523}"/>
                  </a:ext>
                </a:extLst>
              </p:cNvPr>
              <p:cNvGrpSpPr/>
              <p:nvPr/>
            </p:nvGrpSpPr>
            <p:grpSpPr>
              <a:xfrm>
                <a:off x="7564264" y="3112635"/>
                <a:ext cx="4338376" cy="3023001"/>
                <a:chOff x="3551239" y="1463675"/>
                <a:chExt cx="2036763" cy="1419226"/>
              </a:xfrm>
            </p:grpSpPr>
            <p:sp>
              <p:nvSpPr>
                <p:cNvPr id="47" name="Freeform 6">
                  <a:extLst>
                    <a:ext uri="{FF2B5EF4-FFF2-40B4-BE49-F238E27FC236}">
                      <a16:creationId xmlns:a16="http://schemas.microsoft.com/office/drawing/2014/main" id="{F2211236-100D-02D9-E94F-AB1CFB86AB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1239" y="1463675"/>
                  <a:ext cx="2036763" cy="1419225"/>
                </a:xfrm>
                <a:custGeom>
                  <a:avLst/>
                  <a:gdLst>
                    <a:gd name="T0" fmla="*/ 485 w 971"/>
                    <a:gd name="T1" fmla="*/ 0 h 677"/>
                    <a:gd name="T2" fmla="*/ 0 w 971"/>
                    <a:gd name="T3" fmla="*/ 192 h 677"/>
                    <a:gd name="T4" fmla="*/ 485 w 971"/>
                    <a:gd name="T5" fmla="*/ 677 h 677"/>
                    <a:gd name="T6" fmla="*/ 971 w 971"/>
                    <a:gd name="T7" fmla="*/ 192 h 677"/>
                    <a:gd name="T8" fmla="*/ 485 w 971"/>
                    <a:gd name="T9" fmla="*/ 0 h 6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71" h="677">
                      <a:moveTo>
                        <a:pt x="485" y="0"/>
                      </a:moveTo>
                      <a:cubicBezTo>
                        <a:pt x="298" y="0"/>
                        <a:pt x="127" y="73"/>
                        <a:pt x="0" y="192"/>
                      </a:cubicBezTo>
                      <a:cubicBezTo>
                        <a:pt x="485" y="677"/>
                        <a:pt x="485" y="677"/>
                        <a:pt x="485" y="677"/>
                      </a:cubicBezTo>
                      <a:cubicBezTo>
                        <a:pt x="971" y="192"/>
                        <a:pt x="971" y="192"/>
                        <a:pt x="971" y="192"/>
                      </a:cubicBezTo>
                      <a:cubicBezTo>
                        <a:pt x="844" y="73"/>
                        <a:pt x="673" y="0"/>
                        <a:pt x="485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194770" tIns="97385" rIns="194770" bIns="9738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3600"/>
                </a:p>
              </p:txBody>
            </p:sp>
            <p:sp>
              <p:nvSpPr>
                <p:cNvPr id="49" name="Freeform 29">
                  <a:extLst>
                    <a:ext uri="{FF2B5EF4-FFF2-40B4-BE49-F238E27FC236}">
                      <a16:creationId xmlns:a16="http://schemas.microsoft.com/office/drawing/2014/main" id="{86BF70DF-FD9E-8188-2DD7-C0CCE2B7B3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68825" y="1868488"/>
                  <a:ext cx="1016000" cy="1014413"/>
                </a:xfrm>
                <a:custGeom>
                  <a:avLst/>
                  <a:gdLst>
                    <a:gd name="T0" fmla="*/ 640 w 640"/>
                    <a:gd name="T1" fmla="*/ 0 h 639"/>
                    <a:gd name="T2" fmla="*/ 0 w 640"/>
                    <a:gd name="T3" fmla="*/ 538 h 639"/>
                    <a:gd name="T4" fmla="*/ 0 w 640"/>
                    <a:gd name="T5" fmla="*/ 639 h 639"/>
                    <a:gd name="T6" fmla="*/ 640 w 640"/>
                    <a:gd name="T7" fmla="*/ 0 h 6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0" h="639">
                      <a:moveTo>
                        <a:pt x="640" y="0"/>
                      </a:moveTo>
                      <a:lnTo>
                        <a:pt x="0" y="538"/>
                      </a:lnTo>
                      <a:lnTo>
                        <a:pt x="0" y="639"/>
                      </a:lnTo>
                      <a:lnTo>
                        <a:pt x="640" y="0"/>
                      </a:lnTo>
                    </a:path>
                  </a:pathLst>
                </a:custGeom>
                <a:solidFill>
                  <a:schemeClr val="tx1">
                    <a:alpha val="40000"/>
                  </a:schemeClr>
                </a:solidFill>
                <a:ln>
                  <a:noFill/>
                </a:ln>
              </p:spPr>
              <p:txBody>
                <a:bodyPr vert="horz" wrap="square" lIns="194770" tIns="97385" rIns="194770" bIns="9738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3600"/>
                </a:p>
              </p:txBody>
            </p:sp>
          </p:grpSp>
          <p:sp>
            <p:nvSpPr>
              <p:cNvPr id="44" name="Freeform 7">
                <a:extLst>
                  <a:ext uri="{FF2B5EF4-FFF2-40B4-BE49-F238E27FC236}">
                    <a16:creationId xmlns:a16="http://schemas.microsoft.com/office/drawing/2014/main" id="{4E215EB9-DABE-98D0-EB4A-7C52001DDA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4261" y="6423057"/>
                <a:ext cx="4338375" cy="3026382"/>
              </a:xfrm>
              <a:custGeom>
                <a:avLst/>
                <a:gdLst>
                  <a:gd name="T0" fmla="*/ 485 w 971"/>
                  <a:gd name="T1" fmla="*/ 0 h 678"/>
                  <a:gd name="T2" fmla="*/ 0 w 971"/>
                  <a:gd name="T3" fmla="*/ 486 h 678"/>
                  <a:gd name="T4" fmla="*/ 485 w 971"/>
                  <a:gd name="T5" fmla="*/ 678 h 678"/>
                  <a:gd name="T6" fmla="*/ 971 w 971"/>
                  <a:gd name="T7" fmla="*/ 486 h 678"/>
                  <a:gd name="T8" fmla="*/ 485 w 971"/>
                  <a:gd name="T9" fmla="*/ 0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1" h="678">
                    <a:moveTo>
                      <a:pt x="485" y="0"/>
                    </a:moveTo>
                    <a:cubicBezTo>
                      <a:pt x="0" y="486"/>
                      <a:pt x="0" y="486"/>
                      <a:pt x="0" y="486"/>
                    </a:cubicBezTo>
                    <a:cubicBezTo>
                      <a:pt x="127" y="605"/>
                      <a:pt x="298" y="678"/>
                      <a:pt x="485" y="678"/>
                    </a:cubicBezTo>
                    <a:cubicBezTo>
                      <a:pt x="673" y="678"/>
                      <a:pt x="844" y="605"/>
                      <a:pt x="971" y="486"/>
                    </a:cubicBezTo>
                    <a:cubicBezTo>
                      <a:pt x="485" y="0"/>
                      <a:pt x="485" y="0"/>
                      <a:pt x="485" y="0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41" name="Freeform 8">
                <a:extLst>
                  <a:ext uri="{FF2B5EF4-FFF2-40B4-BE49-F238E27FC236}">
                    <a16:creationId xmlns:a16="http://schemas.microsoft.com/office/drawing/2014/main" id="{8D82D36D-729E-70EA-533B-6554A5D32E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3213" y="4120303"/>
                <a:ext cx="3022998" cy="4334993"/>
              </a:xfrm>
              <a:custGeom>
                <a:avLst/>
                <a:gdLst>
                  <a:gd name="T0" fmla="*/ 192 w 677"/>
                  <a:gd name="T1" fmla="*/ 0 h 971"/>
                  <a:gd name="T2" fmla="*/ 0 w 677"/>
                  <a:gd name="T3" fmla="*/ 485 h 971"/>
                  <a:gd name="T4" fmla="*/ 192 w 677"/>
                  <a:gd name="T5" fmla="*/ 971 h 971"/>
                  <a:gd name="T6" fmla="*/ 677 w 677"/>
                  <a:gd name="T7" fmla="*/ 485 h 971"/>
                  <a:gd name="T8" fmla="*/ 192 w 677"/>
                  <a:gd name="T9" fmla="*/ 0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7" h="971">
                    <a:moveTo>
                      <a:pt x="192" y="0"/>
                    </a:moveTo>
                    <a:cubicBezTo>
                      <a:pt x="73" y="127"/>
                      <a:pt x="0" y="298"/>
                      <a:pt x="0" y="485"/>
                    </a:cubicBezTo>
                    <a:cubicBezTo>
                      <a:pt x="0" y="673"/>
                      <a:pt x="73" y="844"/>
                      <a:pt x="192" y="971"/>
                    </a:cubicBezTo>
                    <a:cubicBezTo>
                      <a:pt x="677" y="485"/>
                      <a:pt x="677" y="485"/>
                      <a:pt x="677" y="485"/>
                    </a:cubicBezTo>
                    <a:cubicBezTo>
                      <a:pt x="192" y="0"/>
                      <a:pt x="192" y="0"/>
                      <a:pt x="192" y="0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8" name="Freeform 9">
                <a:extLst>
                  <a:ext uri="{FF2B5EF4-FFF2-40B4-BE49-F238E27FC236}">
                    <a16:creationId xmlns:a16="http://schemas.microsoft.com/office/drawing/2014/main" id="{01367AF1-BACA-5EF8-A09E-22DFDDE981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3778" y="4120302"/>
                <a:ext cx="3022998" cy="4334994"/>
              </a:xfrm>
              <a:custGeom>
                <a:avLst/>
                <a:gdLst>
                  <a:gd name="T0" fmla="*/ 485 w 677"/>
                  <a:gd name="T1" fmla="*/ 0 h 971"/>
                  <a:gd name="T2" fmla="*/ 0 w 677"/>
                  <a:gd name="T3" fmla="*/ 485 h 971"/>
                  <a:gd name="T4" fmla="*/ 485 w 677"/>
                  <a:gd name="T5" fmla="*/ 971 h 971"/>
                  <a:gd name="T6" fmla="*/ 677 w 677"/>
                  <a:gd name="T7" fmla="*/ 485 h 971"/>
                  <a:gd name="T8" fmla="*/ 485 w 677"/>
                  <a:gd name="T9" fmla="*/ 0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7" h="971">
                    <a:moveTo>
                      <a:pt x="485" y="0"/>
                    </a:moveTo>
                    <a:cubicBezTo>
                      <a:pt x="0" y="485"/>
                      <a:pt x="0" y="485"/>
                      <a:pt x="0" y="485"/>
                    </a:cubicBezTo>
                    <a:cubicBezTo>
                      <a:pt x="485" y="971"/>
                      <a:pt x="485" y="971"/>
                      <a:pt x="485" y="971"/>
                    </a:cubicBezTo>
                    <a:cubicBezTo>
                      <a:pt x="604" y="844"/>
                      <a:pt x="677" y="673"/>
                      <a:pt x="677" y="485"/>
                    </a:cubicBezTo>
                    <a:cubicBezTo>
                      <a:pt x="677" y="298"/>
                      <a:pt x="604" y="127"/>
                      <a:pt x="485" y="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BD81A31-241A-8B96-F4F1-2ACC96B2A1D7}"/>
                </a:ext>
              </a:extLst>
            </p:cNvPr>
            <p:cNvSpPr/>
            <p:nvPr/>
          </p:nvSpPr>
          <p:spPr>
            <a:xfrm>
              <a:off x="8881753" y="3692386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3E35971-85A3-8F6F-6472-116930C877EF}"/>
                </a:ext>
              </a:extLst>
            </p:cNvPr>
            <p:cNvSpPr/>
            <p:nvPr/>
          </p:nvSpPr>
          <p:spPr>
            <a:xfrm>
              <a:off x="10762697" y="5506037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2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F30117D-41EC-DB47-9B23-F1A2D1884B34}"/>
                </a:ext>
              </a:extLst>
            </p:cNvPr>
            <p:cNvSpPr/>
            <p:nvPr/>
          </p:nvSpPr>
          <p:spPr>
            <a:xfrm>
              <a:off x="8881753" y="7472809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3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C9465E4-2808-106E-F949-19E7A44BD5BD}"/>
                </a:ext>
              </a:extLst>
            </p:cNvPr>
            <p:cNvSpPr/>
            <p:nvPr/>
          </p:nvSpPr>
          <p:spPr>
            <a:xfrm>
              <a:off x="6934537" y="5506037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5A558F6-C118-2929-6C4E-5FDAD9A8EB02}"/>
              </a:ext>
            </a:extLst>
          </p:cNvPr>
          <p:cNvSpPr txBox="1"/>
          <p:nvPr/>
        </p:nvSpPr>
        <p:spPr>
          <a:xfrm>
            <a:off x="4330554" y="941325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DCD225-A033-60F3-DFB1-DB2118059923}"/>
              </a:ext>
            </a:extLst>
          </p:cNvPr>
          <p:cNvSpPr txBox="1"/>
          <p:nvPr/>
        </p:nvSpPr>
        <p:spPr>
          <a:xfrm>
            <a:off x="8088303" y="3188892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20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538C05-6492-9203-608F-0F3314AD777C}"/>
              </a:ext>
            </a:extLst>
          </p:cNvPr>
          <p:cNvSpPr txBox="1"/>
          <p:nvPr/>
        </p:nvSpPr>
        <p:spPr>
          <a:xfrm>
            <a:off x="862666" y="3188892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20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FCFA34-7E45-BF4D-9407-71214CE646F2}"/>
              </a:ext>
            </a:extLst>
          </p:cNvPr>
          <p:cNvSpPr txBox="1"/>
          <p:nvPr/>
        </p:nvSpPr>
        <p:spPr>
          <a:xfrm>
            <a:off x="4474202" y="5591630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4218100352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F7F2E7-E5E1-8BB7-FDB2-61583AAE65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2CD7459-7389-8804-4A59-54A898D674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CD7459-7389-8804-4A59-54A898D674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1BE0BC-BF25-9197-F6DB-56585F404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ED742F8-DA91-D89C-9AF8-06C29D153F4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12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E8ABF80-70B7-A3B7-0431-036420C65405}"/>
              </a:ext>
            </a:extLst>
          </p:cNvPr>
          <p:cNvGrpSpPr/>
          <p:nvPr/>
        </p:nvGrpSpPr>
        <p:grpSpPr>
          <a:xfrm>
            <a:off x="3737856" y="1461667"/>
            <a:ext cx="4438496" cy="4273716"/>
            <a:chOff x="3876752" y="2028826"/>
            <a:chExt cx="4438496" cy="4273716"/>
          </a:xfrm>
        </p:grpSpPr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DA566A97-6343-FF69-C607-CE50A413F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0747" y="4722764"/>
              <a:ext cx="2347748" cy="1579778"/>
            </a:xfrm>
            <a:custGeom>
              <a:avLst/>
              <a:gdLst>
                <a:gd name="T0" fmla="*/ 550 w 758"/>
                <a:gd name="T1" fmla="*/ 94 h 510"/>
                <a:gd name="T2" fmla="*/ 550 w 758"/>
                <a:gd name="T3" fmla="*/ 94 h 510"/>
                <a:gd name="T4" fmla="*/ 344 w 758"/>
                <a:gd name="T5" fmla="*/ 0 h 510"/>
                <a:gd name="T6" fmla="*/ 345 w 758"/>
                <a:gd name="T7" fmla="*/ 117 h 510"/>
                <a:gd name="T8" fmla="*/ 243 w 758"/>
                <a:gd name="T9" fmla="*/ 251 h 510"/>
                <a:gd name="T10" fmla="*/ 133 w 758"/>
                <a:gd name="T11" fmla="*/ 281 h 510"/>
                <a:gd name="T12" fmla="*/ 0 w 758"/>
                <a:gd name="T13" fmla="*/ 236 h 510"/>
                <a:gd name="T14" fmla="*/ 547 w 758"/>
                <a:gd name="T15" fmla="*/ 510 h 510"/>
                <a:gd name="T16" fmla="*/ 550 w 758"/>
                <a:gd name="T17" fmla="*/ 510 h 510"/>
                <a:gd name="T18" fmla="*/ 758 w 758"/>
                <a:gd name="T19" fmla="*/ 302 h 510"/>
                <a:gd name="T20" fmla="*/ 550 w 758"/>
                <a:gd name="T21" fmla="*/ 9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8" h="510">
                  <a:moveTo>
                    <a:pt x="550" y="94"/>
                  </a:moveTo>
                  <a:cubicBezTo>
                    <a:pt x="550" y="94"/>
                    <a:pt x="550" y="94"/>
                    <a:pt x="550" y="94"/>
                  </a:cubicBezTo>
                  <a:cubicBezTo>
                    <a:pt x="468" y="94"/>
                    <a:pt x="394" y="57"/>
                    <a:pt x="344" y="0"/>
                  </a:cubicBezTo>
                  <a:cubicBezTo>
                    <a:pt x="355" y="38"/>
                    <a:pt x="355" y="78"/>
                    <a:pt x="345" y="117"/>
                  </a:cubicBezTo>
                  <a:cubicBezTo>
                    <a:pt x="330" y="174"/>
                    <a:pt x="294" y="222"/>
                    <a:pt x="243" y="251"/>
                  </a:cubicBezTo>
                  <a:cubicBezTo>
                    <a:pt x="209" y="271"/>
                    <a:pt x="171" y="281"/>
                    <a:pt x="133" y="281"/>
                  </a:cubicBezTo>
                  <a:cubicBezTo>
                    <a:pt x="84" y="281"/>
                    <a:pt x="38" y="265"/>
                    <a:pt x="0" y="236"/>
                  </a:cubicBezTo>
                  <a:cubicBezTo>
                    <a:pt x="126" y="402"/>
                    <a:pt x="324" y="509"/>
                    <a:pt x="547" y="510"/>
                  </a:cubicBezTo>
                  <a:cubicBezTo>
                    <a:pt x="550" y="510"/>
                    <a:pt x="550" y="510"/>
                    <a:pt x="550" y="510"/>
                  </a:cubicBezTo>
                  <a:cubicBezTo>
                    <a:pt x="665" y="510"/>
                    <a:pt x="758" y="417"/>
                    <a:pt x="758" y="302"/>
                  </a:cubicBezTo>
                  <a:cubicBezTo>
                    <a:pt x="758" y="187"/>
                    <a:pt x="665" y="94"/>
                    <a:pt x="550" y="9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 b="1"/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924DCC69-F0A6-6D78-A0B6-BBF170998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324" y="2681902"/>
              <a:ext cx="1662924" cy="2303907"/>
            </a:xfrm>
            <a:custGeom>
              <a:avLst/>
              <a:gdLst>
                <a:gd name="T0" fmla="*/ 57 w 537"/>
                <a:gd name="T1" fmla="*/ 342 h 744"/>
                <a:gd name="T2" fmla="*/ 80 w 537"/>
                <a:gd name="T3" fmla="*/ 566 h 744"/>
                <a:gd name="T4" fmla="*/ 239 w 537"/>
                <a:gd name="T5" fmla="*/ 498 h 744"/>
                <a:gd name="T6" fmla="*/ 348 w 537"/>
                <a:gd name="T7" fmla="*/ 527 h 744"/>
                <a:gd name="T8" fmla="*/ 451 w 537"/>
                <a:gd name="T9" fmla="*/ 660 h 744"/>
                <a:gd name="T10" fmla="*/ 457 w 537"/>
                <a:gd name="T11" fmla="*/ 744 h 744"/>
                <a:gd name="T12" fmla="*/ 419 w 537"/>
                <a:gd name="T13" fmla="*/ 136 h 744"/>
                <a:gd name="T14" fmla="*/ 417 w 537"/>
                <a:gd name="T15" fmla="*/ 133 h 744"/>
                <a:gd name="T16" fmla="*/ 133 w 537"/>
                <a:gd name="T17" fmla="*/ 58 h 744"/>
                <a:gd name="T18" fmla="*/ 57 w 537"/>
                <a:gd name="T19" fmla="*/ 341 h 744"/>
                <a:gd name="T20" fmla="*/ 57 w 537"/>
                <a:gd name="T21" fmla="*/ 342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7" h="744">
                  <a:moveTo>
                    <a:pt x="57" y="342"/>
                  </a:moveTo>
                  <a:cubicBezTo>
                    <a:pt x="98" y="413"/>
                    <a:pt x="104" y="494"/>
                    <a:pt x="80" y="566"/>
                  </a:cubicBezTo>
                  <a:cubicBezTo>
                    <a:pt x="121" y="523"/>
                    <a:pt x="178" y="498"/>
                    <a:pt x="239" y="498"/>
                  </a:cubicBezTo>
                  <a:cubicBezTo>
                    <a:pt x="277" y="498"/>
                    <a:pt x="315" y="508"/>
                    <a:pt x="348" y="527"/>
                  </a:cubicBezTo>
                  <a:cubicBezTo>
                    <a:pt x="399" y="556"/>
                    <a:pt x="435" y="604"/>
                    <a:pt x="451" y="660"/>
                  </a:cubicBezTo>
                  <a:cubicBezTo>
                    <a:pt x="458" y="688"/>
                    <a:pt x="460" y="717"/>
                    <a:pt x="457" y="744"/>
                  </a:cubicBezTo>
                  <a:cubicBezTo>
                    <a:pt x="537" y="553"/>
                    <a:pt x="530" y="329"/>
                    <a:pt x="419" y="136"/>
                  </a:cubicBezTo>
                  <a:cubicBezTo>
                    <a:pt x="417" y="133"/>
                    <a:pt x="417" y="133"/>
                    <a:pt x="417" y="133"/>
                  </a:cubicBezTo>
                  <a:cubicBezTo>
                    <a:pt x="359" y="34"/>
                    <a:pt x="232" y="0"/>
                    <a:pt x="133" y="58"/>
                  </a:cubicBezTo>
                  <a:cubicBezTo>
                    <a:pt x="34" y="115"/>
                    <a:pt x="0" y="242"/>
                    <a:pt x="57" y="341"/>
                  </a:cubicBezTo>
                  <a:cubicBezTo>
                    <a:pt x="57" y="342"/>
                    <a:pt x="57" y="342"/>
                    <a:pt x="57" y="34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65" name="Freeform 6">
              <a:extLst>
                <a:ext uri="{FF2B5EF4-FFF2-40B4-BE49-F238E27FC236}">
                  <a16:creationId xmlns:a16="http://schemas.microsoft.com/office/drawing/2014/main" id="{FA0D039D-30CC-5F35-EB2C-47F4E8CE4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6752" y="3348583"/>
              <a:ext cx="1662924" cy="2300883"/>
            </a:xfrm>
            <a:custGeom>
              <a:avLst/>
              <a:gdLst>
                <a:gd name="T0" fmla="*/ 479 w 537"/>
                <a:gd name="T1" fmla="*/ 401 h 743"/>
                <a:gd name="T2" fmla="*/ 458 w 537"/>
                <a:gd name="T3" fmla="*/ 173 h 743"/>
                <a:gd name="T4" fmla="*/ 297 w 537"/>
                <a:gd name="T5" fmla="*/ 243 h 743"/>
                <a:gd name="T6" fmla="*/ 188 w 537"/>
                <a:gd name="T7" fmla="*/ 214 h 743"/>
                <a:gd name="T8" fmla="*/ 79 w 537"/>
                <a:gd name="T9" fmla="*/ 0 h 743"/>
                <a:gd name="T10" fmla="*/ 118 w 537"/>
                <a:gd name="T11" fmla="*/ 607 h 743"/>
                <a:gd name="T12" fmla="*/ 120 w 537"/>
                <a:gd name="T13" fmla="*/ 610 h 743"/>
                <a:gd name="T14" fmla="*/ 404 w 537"/>
                <a:gd name="T15" fmla="*/ 685 h 743"/>
                <a:gd name="T16" fmla="*/ 479 w 537"/>
                <a:gd name="T17" fmla="*/ 402 h 743"/>
                <a:gd name="T18" fmla="*/ 479 w 537"/>
                <a:gd name="T19" fmla="*/ 401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7" h="743">
                  <a:moveTo>
                    <a:pt x="479" y="401"/>
                  </a:moveTo>
                  <a:cubicBezTo>
                    <a:pt x="438" y="329"/>
                    <a:pt x="432" y="246"/>
                    <a:pt x="458" y="173"/>
                  </a:cubicBezTo>
                  <a:cubicBezTo>
                    <a:pt x="417" y="217"/>
                    <a:pt x="359" y="243"/>
                    <a:pt x="297" y="243"/>
                  </a:cubicBezTo>
                  <a:cubicBezTo>
                    <a:pt x="259" y="243"/>
                    <a:pt x="221" y="233"/>
                    <a:pt x="188" y="214"/>
                  </a:cubicBezTo>
                  <a:cubicBezTo>
                    <a:pt x="110" y="169"/>
                    <a:pt x="70" y="84"/>
                    <a:pt x="79" y="0"/>
                  </a:cubicBezTo>
                  <a:cubicBezTo>
                    <a:pt x="0" y="191"/>
                    <a:pt x="7" y="415"/>
                    <a:pt x="118" y="607"/>
                  </a:cubicBezTo>
                  <a:cubicBezTo>
                    <a:pt x="120" y="610"/>
                    <a:pt x="120" y="610"/>
                    <a:pt x="120" y="610"/>
                  </a:cubicBezTo>
                  <a:cubicBezTo>
                    <a:pt x="177" y="709"/>
                    <a:pt x="305" y="743"/>
                    <a:pt x="404" y="685"/>
                  </a:cubicBezTo>
                  <a:cubicBezTo>
                    <a:pt x="503" y="628"/>
                    <a:pt x="537" y="501"/>
                    <a:pt x="479" y="402"/>
                  </a:cubicBezTo>
                  <a:cubicBezTo>
                    <a:pt x="479" y="401"/>
                    <a:pt x="479" y="401"/>
                    <a:pt x="479" y="4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9D50192C-0513-3CD2-F5B3-4500F38294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5317" y="4172486"/>
              <a:ext cx="1860964" cy="2114938"/>
            </a:xfrm>
            <a:custGeom>
              <a:avLst/>
              <a:gdLst>
                <a:gd name="T0" fmla="*/ 467 w 601"/>
                <a:gd name="T1" fmla="*/ 57 h 683"/>
                <a:gd name="T2" fmla="*/ 183 w 601"/>
                <a:gd name="T3" fmla="*/ 134 h 683"/>
                <a:gd name="T4" fmla="*/ 183 w 601"/>
                <a:gd name="T5" fmla="*/ 134 h 683"/>
                <a:gd name="T6" fmla="*/ 0 w 601"/>
                <a:gd name="T7" fmla="*/ 266 h 683"/>
                <a:gd name="T8" fmla="*/ 164 w 601"/>
                <a:gd name="T9" fmla="*/ 479 h 683"/>
                <a:gd name="T10" fmla="*/ 26 w 601"/>
                <a:gd name="T11" fmla="*/ 683 h 683"/>
                <a:gd name="T12" fmla="*/ 542 w 601"/>
                <a:gd name="T13" fmla="*/ 343 h 683"/>
                <a:gd name="T14" fmla="*/ 544 w 601"/>
                <a:gd name="T15" fmla="*/ 340 h 683"/>
                <a:gd name="T16" fmla="*/ 467 w 601"/>
                <a:gd name="T17" fmla="*/ 57 h 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1" h="683">
                  <a:moveTo>
                    <a:pt x="467" y="57"/>
                  </a:moveTo>
                  <a:cubicBezTo>
                    <a:pt x="367" y="0"/>
                    <a:pt x="240" y="35"/>
                    <a:pt x="183" y="134"/>
                  </a:cubicBezTo>
                  <a:cubicBezTo>
                    <a:pt x="183" y="134"/>
                    <a:pt x="183" y="134"/>
                    <a:pt x="183" y="134"/>
                  </a:cubicBezTo>
                  <a:cubicBezTo>
                    <a:pt x="142" y="205"/>
                    <a:pt x="74" y="251"/>
                    <a:pt x="0" y="266"/>
                  </a:cubicBezTo>
                  <a:cubicBezTo>
                    <a:pt x="94" y="291"/>
                    <a:pt x="164" y="377"/>
                    <a:pt x="164" y="479"/>
                  </a:cubicBezTo>
                  <a:cubicBezTo>
                    <a:pt x="164" y="571"/>
                    <a:pt x="107" y="651"/>
                    <a:pt x="26" y="683"/>
                  </a:cubicBezTo>
                  <a:cubicBezTo>
                    <a:pt x="234" y="658"/>
                    <a:pt x="429" y="539"/>
                    <a:pt x="542" y="343"/>
                  </a:cubicBezTo>
                  <a:cubicBezTo>
                    <a:pt x="544" y="340"/>
                    <a:pt x="544" y="340"/>
                    <a:pt x="544" y="340"/>
                  </a:cubicBezTo>
                  <a:cubicBezTo>
                    <a:pt x="601" y="241"/>
                    <a:pt x="566" y="114"/>
                    <a:pt x="467" y="5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67" name="Freeform 9">
              <a:extLst>
                <a:ext uri="{FF2B5EF4-FFF2-40B4-BE49-F238E27FC236}">
                  <a16:creationId xmlns:a16="http://schemas.microsoft.com/office/drawing/2014/main" id="{FD08C90E-E8BC-3B6A-86A0-8D5BC129E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507" y="2028826"/>
              <a:ext cx="2344724" cy="1576754"/>
            </a:xfrm>
            <a:custGeom>
              <a:avLst/>
              <a:gdLst>
                <a:gd name="T0" fmla="*/ 412 w 757"/>
                <a:gd name="T1" fmla="*/ 392 h 509"/>
                <a:gd name="T2" fmla="*/ 514 w 757"/>
                <a:gd name="T3" fmla="*/ 258 h 509"/>
                <a:gd name="T4" fmla="*/ 624 w 757"/>
                <a:gd name="T5" fmla="*/ 228 h 509"/>
                <a:gd name="T6" fmla="*/ 757 w 757"/>
                <a:gd name="T7" fmla="*/ 273 h 509"/>
                <a:gd name="T8" fmla="*/ 211 w 757"/>
                <a:gd name="T9" fmla="*/ 0 h 509"/>
                <a:gd name="T10" fmla="*/ 207 w 757"/>
                <a:gd name="T11" fmla="*/ 0 h 509"/>
                <a:gd name="T12" fmla="*/ 0 w 757"/>
                <a:gd name="T13" fmla="*/ 208 h 509"/>
                <a:gd name="T14" fmla="*/ 207 w 757"/>
                <a:gd name="T15" fmla="*/ 416 h 509"/>
                <a:gd name="T16" fmla="*/ 208 w 757"/>
                <a:gd name="T17" fmla="*/ 416 h 509"/>
                <a:gd name="T18" fmla="*/ 413 w 757"/>
                <a:gd name="T19" fmla="*/ 509 h 509"/>
                <a:gd name="T20" fmla="*/ 412 w 757"/>
                <a:gd name="T21" fmla="*/ 392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7" h="509">
                  <a:moveTo>
                    <a:pt x="412" y="392"/>
                  </a:moveTo>
                  <a:cubicBezTo>
                    <a:pt x="427" y="335"/>
                    <a:pt x="463" y="287"/>
                    <a:pt x="514" y="258"/>
                  </a:cubicBezTo>
                  <a:cubicBezTo>
                    <a:pt x="547" y="239"/>
                    <a:pt x="585" y="228"/>
                    <a:pt x="624" y="228"/>
                  </a:cubicBezTo>
                  <a:cubicBezTo>
                    <a:pt x="673" y="228"/>
                    <a:pt x="719" y="244"/>
                    <a:pt x="757" y="273"/>
                  </a:cubicBezTo>
                  <a:cubicBezTo>
                    <a:pt x="632" y="108"/>
                    <a:pt x="434" y="1"/>
                    <a:pt x="211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93" y="0"/>
                    <a:pt x="0" y="93"/>
                    <a:pt x="0" y="208"/>
                  </a:cubicBezTo>
                  <a:cubicBezTo>
                    <a:pt x="0" y="323"/>
                    <a:pt x="93" y="416"/>
                    <a:pt x="207" y="416"/>
                  </a:cubicBezTo>
                  <a:cubicBezTo>
                    <a:pt x="208" y="416"/>
                    <a:pt x="208" y="416"/>
                    <a:pt x="208" y="416"/>
                  </a:cubicBezTo>
                  <a:cubicBezTo>
                    <a:pt x="290" y="416"/>
                    <a:pt x="363" y="452"/>
                    <a:pt x="413" y="509"/>
                  </a:cubicBezTo>
                  <a:cubicBezTo>
                    <a:pt x="402" y="471"/>
                    <a:pt x="401" y="431"/>
                    <a:pt x="412" y="392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68" name="Freeform 10">
              <a:extLst>
                <a:ext uri="{FF2B5EF4-FFF2-40B4-BE49-F238E27FC236}">
                  <a16:creationId xmlns:a16="http://schemas.microsoft.com/office/drawing/2014/main" id="{881D2E47-D359-667C-36FB-CDF0AD85C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721" y="2043943"/>
              <a:ext cx="1863988" cy="2111914"/>
            </a:xfrm>
            <a:custGeom>
              <a:avLst/>
              <a:gdLst>
                <a:gd name="T0" fmla="*/ 435 w 602"/>
                <a:gd name="T1" fmla="*/ 203 h 682"/>
                <a:gd name="T2" fmla="*/ 570 w 602"/>
                <a:gd name="T3" fmla="*/ 0 h 682"/>
                <a:gd name="T4" fmla="*/ 59 w 602"/>
                <a:gd name="T5" fmla="*/ 338 h 682"/>
                <a:gd name="T6" fmla="*/ 57 w 602"/>
                <a:gd name="T7" fmla="*/ 342 h 682"/>
                <a:gd name="T8" fmla="*/ 134 w 602"/>
                <a:gd name="T9" fmla="*/ 625 h 682"/>
                <a:gd name="T10" fmla="*/ 418 w 602"/>
                <a:gd name="T11" fmla="*/ 548 h 682"/>
                <a:gd name="T12" fmla="*/ 418 w 602"/>
                <a:gd name="T13" fmla="*/ 548 h 682"/>
                <a:gd name="T14" fmla="*/ 602 w 602"/>
                <a:gd name="T15" fmla="*/ 416 h 682"/>
                <a:gd name="T16" fmla="*/ 435 w 602"/>
                <a:gd name="T17" fmla="*/ 203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2" h="682">
                  <a:moveTo>
                    <a:pt x="435" y="203"/>
                  </a:moveTo>
                  <a:cubicBezTo>
                    <a:pt x="435" y="112"/>
                    <a:pt x="491" y="34"/>
                    <a:pt x="570" y="0"/>
                  </a:cubicBezTo>
                  <a:cubicBezTo>
                    <a:pt x="364" y="26"/>
                    <a:pt x="171" y="145"/>
                    <a:pt x="59" y="338"/>
                  </a:cubicBezTo>
                  <a:cubicBezTo>
                    <a:pt x="57" y="342"/>
                    <a:pt x="57" y="342"/>
                    <a:pt x="57" y="342"/>
                  </a:cubicBezTo>
                  <a:cubicBezTo>
                    <a:pt x="0" y="441"/>
                    <a:pt x="35" y="568"/>
                    <a:pt x="134" y="625"/>
                  </a:cubicBezTo>
                  <a:cubicBezTo>
                    <a:pt x="233" y="682"/>
                    <a:pt x="360" y="648"/>
                    <a:pt x="418" y="548"/>
                  </a:cubicBezTo>
                  <a:cubicBezTo>
                    <a:pt x="418" y="548"/>
                    <a:pt x="418" y="548"/>
                    <a:pt x="418" y="548"/>
                  </a:cubicBezTo>
                  <a:cubicBezTo>
                    <a:pt x="459" y="477"/>
                    <a:pt x="527" y="431"/>
                    <a:pt x="602" y="416"/>
                  </a:cubicBezTo>
                  <a:cubicBezTo>
                    <a:pt x="506" y="393"/>
                    <a:pt x="435" y="306"/>
                    <a:pt x="435" y="20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37B50971-00FF-4739-AD7E-4FF60707A202}"/>
              </a:ext>
            </a:extLst>
          </p:cNvPr>
          <p:cNvSpPr txBox="1"/>
          <p:nvPr/>
        </p:nvSpPr>
        <p:spPr>
          <a:xfrm>
            <a:off x="7735674" y="1488592"/>
            <a:ext cx="2997798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6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5433324-65B9-0562-B363-B22BEE83ED2D}"/>
              </a:ext>
            </a:extLst>
          </p:cNvPr>
          <p:cNvSpPr txBox="1"/>
          <p:nvPr/>
        </p:nvSpPr>
        <p:spPr>
          <a:xfrm>
            <a:off x="717434" y="3215814"/>
            <a:ext cx="2908435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C2D820B-4DCD-08E7-8B2C-5EECD0CA3A8A}"/>
              </a:ext>
            </a:extLst>
          </p:cNvPr>
          <p:cNvSpPr txBox="1"/>
          <p:nvPr/>
        </p:nvSpPr>
        <p:spPr>
          <a:xfrm>
            <a:off x="7712927" y="5086953"/>
            <a:ext cx="2997798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3E2D7EB-102D-BD5C-D814-A62728F89989}"/>
              </a:ext>
            </a:extLst>
          </p:cNvPr>
          <p:cNvSpPr txBox="1"/>
          <p:nvPr/>
        </p:nvSpPr>
        <p:spPr>
          <a:xfrm>
            <a:off x="1630283" y="5086953"/>
            <a:ext cx="2786410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1219019-9C87-8089-080A-F55FB6F2A183}"/>
              </a:ext>
            </a:extLst>
          </p:cNvPr>
          <p:cNvSpPr txBox="1"/>
          <p:nvPr/>
        </p:nvSpPr>
        <p:spPr>
          <a:xfrm>
            <a:off x="1179644" y="1488592"/>
            <a:ext cx="2786410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9CC6CCC-3C08-8C6A-86C9-87F45C11C390}"/>
              </a:ext>
            </a:extLst>
          </p:cNvPr>
          <p:cNvSpPr txBox="1"/>
          <p:nvPr/>
        </p:nvSpPr>
        <p:spPr>
          <a:xfrm>
            <a:off x="8247884" y="3120633"/>
            <a:ext cx="2997798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7" name="Star: 4 Points 56">
            <a:extLst>
              <a:ext uri="{FF2B5EF4-FFF2-40B4-BE49-F238E27FC236}">
                <a16:creationId xmlns:a16="http://schemas.microsoft.com/office/drawing/2014/main" id="{636757C2-1330-1437-82EE-D9E433E8B36C}"/>
              </a:ext>
            </a:extLst>
          </p:cNvPr>
          <p:cNvSpPr/>
          <p:nvPr/>
        </p:nvSpPr>
        <p:spPr>
          <a:xfrm>
            <a:off x="4483075" y="2297407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Star: 4 Points 57">
            <a:extLst>
              <a:ext uri="{FF2B5EF4-FFF2-40B4-BE49-F238E27FC236}">
                <a16:creationId xmlns:a16="http://schemas.microsoft.com/office/drawing/2014/main" id="{92B94E8A-81B1-1BBC-7129-E10DCC2B799A}"/>
              </a:ext>
            </a:extLst>
          </p:cNvPr>
          <p:cNvSpPr/>
          <p:nvPr/>
        </p:nvSpPr>
        <p:spPr>
          <a:xfrm>
            <a:off x="5790813" y="1797243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Star: 4 Points 58">
            <a:extLst>
              <a:ext uri="{FF2B5EF4-FFF2-40B4-BE49-F238E27FC236}">
                <a16:creationId xmlns:a16="http://schemas.microsoft.com/office/drawing/2014/main" id="{05E05A62-303C-8EB4-2629-BD16E292A198}"/>
              </a:ext>
            </a:extLst>
          </p:cNvPr>
          <p:cNvSpPr/>
          <p:nvPr/>
        </p:nvSpPr>
        <p:spPr>
          <a:xfrm>
            <a:off x="7079352" y="2614907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Star: 4 Points 59">
            <a:extLst>
              <a:ext uri="{FF2B5EF4-FFF2-40B4-BE49-F238E27FC236}">
                <a16:creationId xmlns:a16="http://schemas.microsoft.com/office/drawing/2014/main" id="{28F4F0B3-57B5-FC16-8E54-057E3458B3E3}"/>
              </a:ext>
            </a:extLst>
          </p:cNvPr>
          <p:cNvSpPr/>
          <p:nvPr/>
        </p:nvSpPr>
        <p:spPr>
          <a:xfrm>
            <a:off x="6761852" y="4175953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Star: 4 Points 60">
            <a:extLst>
              <a:ext uri="{FF2B5EF4-FFF2-40B4-BE49-F238E27FC236}">
                <a16:creationId xmlns:a16="http://schemas.microsoft.com/office/drawing/2014/main" id="{6A73CF16-FD1D-E0AD-E7F0-483FB13C3689}"/>
              </a:ext>
            </a:extLst>
          </p:cNvPr>
          <p:cNvSpPr/>
          <p:nvPr/>
        </p:nvSpPr>
        <p:spPr>
          <a:xfrm>
            <a:off x="5394469" y="4689965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Star: 4 Points 61">
            <a:extLst>
              <a:ext uri="{FF2B5EF4-FFF2-40B4-BE49-F238E27FC236}">
                <a16:creationId xmlns:a16="http://schemas.microsoft.com/office/drawing/2014/main" id="{5985E3C7-1184-7A95-F2FC-BDEBB443EF3D}"/>
              </a:ext>
            </a:extLst>
          </p:cNvPr>
          <p:cNvSpPr/>
          <p:nvPr/>
        </p:nvSpPr>
        <p:spPr>
          <a:xfrm>
            <a:off x="4257010" y="3872198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249760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941B07-B28D-32C0-B2F3-2F3D92CACD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7630144-3F8A-E728-C696-7B8FD17E36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630144-3F8A-E728-C696-7B8FD17E36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3CE96A-9B8F-BA79-A8DC-81BB8DBC8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E2B1792-5C51-75AE-2E47-ED0D4CC4256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1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hape 20">
            <a:extLst>
              <a:ext uri="{FF2B5EF4-FFF2-40B4-BE49-F238E27FC236}">
                <a16:creationId xmlns:a16="http://schemas.microsoft.com/office/drawing/2014/main" id="{2A09337A-447E-8703-6E87-FFAD65CD627E}"/>
              </a:ext>
            </a:extLst>
          </p:cNvPr>
          <p:cNvSpPr/>
          <p:nvPr/>
        </p:nvSpPr>
        <p:spPr>
          <a:xfrm>
            <a:off x="4045122" y="1411330"/>
            <a:ext cx="3010736" cy="16826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77" h="21600" extrusionOk="0">
                <a:moveTo>
                  <a:pt x="5358" y="0"/>
                </a:moveTo>
                <a:cubicBezTo>
                  <a:pt x="3987" y="0"/>
                  <a:pt x="2615" y="961"/>
                  <a:pt x="1569" y="2879"/>
                </a:cubicBezTo>
                <a:cubicBezTo>
                  <a:pt x="-523" y="6715"/>
                  <a:pt x="-523" y="12932"/>
                  <a:pt x="1569" y="16768"/>
                </a:cubicBezTo>
                <a:cubicBezTo>
                  <a:pt x="2343" y="18188"/>
                  <a:pt x="3297" y="19081"/>
                  <a:pt x="4295" y="19450"/>
                </a:cubicBezTo>
                <a:cubicBezTo>
                  <a:pt x="4722" y="17509"/>
                  <a:pt x="5374" y="15769"/>
                  <a:pt x="6186" y="14298"/>
                </a:cubicBezTo>
                <a:cubicBezTo>
                  <a:pt x="9651" y="8018"/>
                  <a:pt x="15222" y="7992"/>
                  <a:pt x="18667" y="14298"/>
                </a:cubicBezTo>
                <a:cubicBezTo>
                  <a:pt x="19232" y="15331"/>
                  <a:pt x="19692" y="16479"/>
                  <a:pt x="20069" y="17690"/>
                </a:cubicBezTo>
                <a:lnTo>
                  <a:pt x="18925" y="17659"/>
                </a:lnTo>
                <a:lnTo>
                  <a:pt x="21077" y="21600"/>
                </a:lnTo>
                <a:lnTo>
                  <a:pt x="21027" y="16027"/>
                </a:lnTo>
                <a:lnTo>
                  <a:pt x="20273" y="17497"/>
                </a:lnTo>
                <a:cubicBezTo>
                  <a:pt x="19857" y="15913"/>
                  <a:pt x="19307" y="14418"/>
                  <a:pt x="18590" y="13104"/>
                </a:cubicBezTo>
                <a:cubicBezTo>
                  <a:pt x="16867" y="9944"/>
                  <a:pt x="14610" y="8364"/>
                  <a:pt x="12351" y="8364"/>
                </a:cubicBezTo>
                <a:cubicBezTo>
                  <a:pt x="11788" y="8364"/>
                  <a:pt x="11226" y="8462"/>
                  <a:pt x="10671" y="8658"/>
                </a:cubicBezTo>
                <a:cubicBezTo>
                  <a:pt x="10534" y="6546"/>
                  <a:pt x="10030" y="4500"/>
                  <a:pt x="9146" y="2879"/>
                </a:cubicBezTo>
                <a:cubicBezTo>
                  <a:pt x="8100" y="961"/>
                  <a:pt x="6729" y="0"/>
                  <a:pt x="5358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/>
          </a:p>
        </p:txBody>
      </p:sp>
      <p:sp>
        <p:nvSpPr>
          <p:cNvPr id="6" name="Shape 21">
            <a:extLst>
              <a:ext uri="{FF2B5EF4-FFF2-40B4-BE49-F238E27FC236}">
                <a16:creationId xmlns:a16="http://schemas.microsoft.com/office/drawing/2014/main" id="{90CE982D-763A-69C3-65D5-129F11DA43B2}"/>
              </a:ext>
            </a:extLst>
          </p:cNvPr>
          <p:cNvSpPr/>
          <p:nvPr/>
        </p:nvSpPr>
        <p:spPr>
          <a:xfrm>
            <a:off x="6395522" y="1410316"/>
            <a:ext cx="1681968" cy="3011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076" extrusionOk="0">
                <a:moveTo>
                  <a:pt x="21599" y="5355"/>
                </a:moveTo>
                <a:cubicBezTo>
                  <a:pt x="21598" y="3984"/>
                  <a:pt x="20636" y="2613"/>
                  <a:pt x="18717" y="1567"/>
                </a:cubicBezTo>
                <a:cubicBezTo>
                  <a:pt x="14878" y="-524"/>
                  <a:pt x="8659" y="-523"/>
                  <a:pt x="4822" y="1570"/>
                </a:cubicBezTo>
                <a:cubicBezTo>
                  <a:pt x="3403" y="2344"/>
                  <a:pt x="2510" y="3298"/>
                  <a:pt x="2141" y="4296"/>
                </a:cubicBezTo>
                <a:cubicBezTo>
                  <a:pt x="4083" y="4722"/>
                  <a:pt x="5824" y="5374"/>
                  <a:pt x="7296" y="6185"/>
                </a:cubicBezTo>
                <a:cubicBezTo>
                  <a:pt x="13581" y="9649"/>
                  <a:pt x="13610" y="15219"/>
                  <a:pt x="7304" y="18665"/>
                </a:cubicBezTo>
                <a:cubicBezTo>
                  <a:pt x="6270" y="19230"/>
                  <a:pt x="5122" y="19690"/>
                  <a:pt x="3911" y="20068"/>
                </a:cubicBezTo>
                <a:lnTo>
                  <a:pt x="3941" y="18924"/>
                </a:lnTo>
                <a:lnTo>
                  <a:pt x="0" y="21076"/>
                </a:lnTo>
                <a:lnTo>
                  <a:pt x="5576" y="21025"/>
                </a:lnTo>
                <a:lnTo>
                  <a:pt x="4104" y="20271"/>
                </a:lnTo>
                <a:cubicBezTo>
                  <a:pt x="5689" y="19856"/>
                  <a:pt x="7183" y="19305"/>
                  <a:pt x="8498" y="18588"/>
                </a:cubicBezTo>
                <a:cubicBezTo>
                  <a:pt x="11658" y="16864"/>
                  <a:pt x="13237" y="14607"/>
                  <a:pt x="13236" y="12349"/>
                </a:cubicBezTo>
                <a:cubicBezTo>
                  <a:pt x="13235" y="11786"/>
                  <a:pt x="13137" y="11224"/>
                  <a:pt x="12940" y="10669"/>
                </a:cubicBezTo>
                <a:cubicBezTo>
                  <a:pt x="15053" y="10532"/>
                  <a:pt x="17101" y="10028"/>
                  <a:pt x="18721" y="9144"/>
                </a:cubicBezTo>
                <a:cubicBezTo>
                  <a:pt x="20640" y="8097"/>
                  <a:pt x="21600" y="6726"/>
                  <a:pt x="21599" y="5355"/>
                </a:cubicBezTo>
                <a:close/>
              </a:path>
            </a:pathLst>
          </a:cu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/>
          </a:p>
        </p:txBody>
      </p:sp>
      <p:sp>
        <p:nvSpPr>
          <p:cNvPr id="7" name="Shape 22">
            <a:extLst>
              <a:ext uri="{FF2B5EF4-FFF2-40B4-BE49-F238E27FC236}">
                <a16:creationId xmlns:a16="http://schemas.microsoft.com/office/drawing/2014/main" id="{95D659BC-1F43-F74F-4C4A-32632F791616}"/>
              </a:ext>
            </a:extLst>
          </p:cNvPr>
          <p:cNvSpPr/>
          <p:nvPr/>
        </p:nvSpPr>
        <p:spPr>
          <a:xfrm>
            <a:off x="5067481" y="3763974"/>
            <a:ext cx="3010735" cy="16826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77" h="21600" extrusionOk="0">
                <a:moveTo>
                  <a:pt x="15719" y="21600"/>
                </a:moveTo>
                <a:cubicBezTo>
                  <a:pt x="17090" y="21600"/>
                  <a:pt x="18462" y="20639"/>
                  <a:pt x="19508" y="18721"/>
                </a:cubicBezTo>
                <a:cubicBezTo>
                  <a:pt x="21600" y="14885"/>
                  <a:pt x="21600" y="8668"/>
                  <a:pt x="19508" y="4832"/>
                </a:cubicBezTo>
                <a:cubicBezTo>
                  <a:pt x="18734" y="3412"/>
                  <a:pt x="17780" y="2519"/>
                  <a:pt x="16782" y="2150"/>
                </a:cubicBezTo>
                <a:cubicBezTo>
                  <a:pt x="16355" y="4091"/>
                  <a:pt x="15703" y="5831"/>
                  <a:pt x="14891" y="7302"/>
                </a:cubicBezTo>
                <a:cubicBezTo>
                  <a:pt x="11426" y="13582"/>
                  <a:pt x="5855" y="13608"/>
                  <a:pt x="2410" y="7302"/>
                </a:cubicBezTo>
                <a:cubicBezTo>
                  <a:pt x="1845" y="6269"/>
                  <a:pt x="1385" y="5121"/>
                  <a:pt x="1008" y="3910"/>
                </a:cubicBezTo>
                <a:lnTo>
                  <a:pt x="2152" y="3941"/>
                </a:lnTo>
                <a:lnTo>
                  <a:pt x="0" y="0"/>
                </a:lnTo>
                <a:lnTo>
                  <a:pt x="50" y="5573"/>
                </a:lnTo>
                <a:lnTo>
                  <a:pt x="804" y="4103"/>
                </a:lnTo>
                <a:cubicBezTo>
                  <a:pt x="1220" y="5687"/>
                  <a:pt x="1770" y="7182"/>
                  <a:pt x="2487" y="8496"/>
                </a:cubicBezTo>
                <a:cubicBezTo>
                  <a:pt x="4210" y="11656"/>
                  <a:pt x="6467" y="13236"/>
                  <a:pt x="8726" y="13236"/>
                </a:cubicBezTo>
                <a:cubicBezTo>
                  <a:pt x="9289" y="13236"/>
                  <a:pt x="9851" y="13138"/>
                  <a:pt x="10406" y="12942"/>
                </a:cubicBezTo>
                <a:cubicBezTo>
                  <a:pt x="10543" y="15054"/>
                  <a:pt x="11047" y="17100"/>
                  <a:pt x="11931" y="18721"/>
                </a:cubicBezTo>
                <a:cubicBezTo>
                  <a:pt x="12977" y="20639"/>
                  <a:pt x="14348" y="21600"/>
                  <a:pt x="15719" y="21600"/>
                </a:cubicBezTo>
                <a:close/>
              </a:path>
            </a:pathLst>
          </a:cu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/>
          </a:p>
        </p:txBody>
      </p:sp>
      <p:sp>
        <p:nvSpPr>
          <p:cNvPr id="8" name="Shape 23">
            <a:extLst>
              <a:ext uri="{FF2B5EF4-FFF2-40B4-BE49-F238E27FC236}">
                <a16:creationId xmlns:a16="http://schemas.microsoft.com/office/drawing/2014/main" id="{2700AF2F-1C07-F76E-F591-21011A70641A}"/>
              </a:ext>
            </a:extLst>
          </p:cNvPr>
          <p:cNvSpPr/>
          <p:nvPr/>
        </p:nvSpPr>
        <p:spPr>
          <a:xfrm>
            <a:off x="4045847" y="2436650"/>
            <a:ext cx="1681968" cy="30110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076" extrusionOk="0">
                <a:moveTo>
                  <a:pt x="0" y="15721"/>
                </a:moveTo>
                <a:cubicBezTo>
                  <a:pt x="1" y="17092"/>
                  <a:pt x="963" y="18463"/>
                  <a:pt x="2882" y="19509"/>
                </a:cubicBezTo>
                <a:cubicBezTo>
                  <a:pt x="6721" y="21600"/>
                  <a:pt x="12940" y="21599"/>
                  <a:pt x="16777" y="19506"/>
                </a:cubicBezTo>
                <a:cubicBezTo>
                  <a:pt x="18196" y="18732"/>
                  <a:pt x="19089" y="17778"/>
                  <a:pt x="19458" y="16780"/>
                </a:cubicBezTo>
                <a:cubicBezTo>
                  <a:pt x="17516" y="16354"/>
                  <a:pt x="15775" y="15702"/>
                  <a:pt x="14303" y="14891"/>
                </a:cubicBezTo>
                <a:cubicBezTo>
                  <a:pt x="8018" y="11427"/>
                  <a:pt x="7989" y="5857"/>
                  <a:pt x="14295" y="2411"/>
                </a:cubicBezTo>
                <a:cubicBezTo>
                  <a:pt x="15329" y="1846"/>
                  <a:pt x="16477" y="1386"/>
                  <a:pt x="17688" y="1008"/>
                </a:cubicBezTo>
                <a:lnTo>
                  <a:pt x="17658" y="2152"/>
                </a:lnTo>
                <a:lnTo>
                  <a:pt x="21599" y="0"/>
                </a:lnTo>
                <a:lnTo>
                  <a:pt x="16023" y="51"/>
                </a:lnTo>
                <a:lnTo>
                  <a:pt x="17495" y="805"/>
                </a:lnTo>
                <a:cubicBezTo>
                  <a:pt x="15910" y="1220"/>
                  <a:pt x="14416" y="1771"/>
                  <a:pt x="13101" y="2488"/>
                </a:cubicBezTo>
                <a:cubicBezTo>
                  <a:pt x="9941" y="4212"/>
                  <a:pt x="8362" y="6469"/>
                  <a:pt x="8363" y="8727"/>
                </a:cubicBezTo>
                <a:cubicBezTo>
                  <a:pt x="8364" y="9290"/>
                  <a:pt x="8462" y="9852"/>
                  <a:pt x="8659" y="10407"/>
                </a:cubicBezTo>
                <a:cubicBezTo>
                  <a:pt x="6546" y="10544"/>
                  <a:pt x="4498" y="11048"/>
                  <a:pt x="2878" y="11932"/>
                </a:cubicBezTo>
                <a:cubicBezTo>
                  <a:pt x="959" y="12979"/>
                  <a:pt x="-1" y="14350"/>
                  <a:pt x="0" y="15721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BAA0454-20C2-C437-A091-E00A5EF6EDA0}"/>
              </a:ext>
            </a:extLst>
          </p:cNvPr>
          <p:cNvSpPr txBox="1">
            <a:spLocks/>
          </p:cNvSpPr>
          <p:nvPr/>
        </p:nvSpPr>
        <p:spPr>
          <a:xfrm>
            <a:off x="4970151" y="3281270"/>
            <a:ext cx="2182159" cy="433612"/>
          </a:xfrm>
          <a:prstGeom prst="rect">
            <a:avLst/>
          </a:prstGeom>
        </p:spPr>
        <p:txBody>
          <a:bodyPr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800" b="1" dirty="0">
                <a:latin typeface="+mn-lt"/>
                <a:ea typeface="Open Sans ExtraBold" charset="0"/>
                <a:cs typeface="Open Sans ExtraBold" charset="0"/>
              </a:rPr>
              <a:t>Header</a:t>
            </a:r>
            <a:endParaRPr lang="en-IN" sz="1100" dirty="0"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119048E-B409-6F1D-9F58-FF47EB80748F}"/>
              </a:ext>
            </a:extLst>
          </p:cNvPr>
          <p:cNvSpPr txBox="1"/>
          <p:nvPr/>
        </p:nvSpPr>
        <p:spPr>
          <a:xfrm>
            <a:off x="8307178" y="1742548"/>
            <a:ext cx="2733999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1FEDA29-E70E-2837-E118-832B97DDEF1A}"/>
              </a:ext>
            </a:extLst>
          </p:cNvPr>
          <p:cNvSpPr txBox="1"/>
          <p:nvPr/>
        </p:nvSpPr>
        <p:spPr>
          <a:xfrm>
            <a:off x="1163017" y="1742548"/>
            <a:ext cx="2588480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1C93A83-9974-2847-8AE8-1CA0328D9277}"/>
              </a:ext>
            </a:extLst>
          </p:cNvPr>
          <p:cNvSpPr txBox="1"/>
          <p:nvPr/>
        </p:nvSpPr>
        <p:spPr>
          <a:xfrm>
            <a:off x="1129545" y="4329258"/>
            <a:ext cx="2588480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294C94-CC89-3F34-9393-FEA42435EB76}"/>
              </a:ext>
            </a:extLst>
          </p:cNvPr>
          <p:cNvSpPr txBox="1"/>
          <p:nvPr/>
        </p:nvSpPr>
        <p:spPr>
          <a:xfrm>
            <a:off x="8328456" y="4329258"/>
            <a:ext cx="2733999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4" name="Star: 4 Points 23">
            <a:extLst>
              <a:ext uri="{FF2B5EF4-FFF2-40B4-BE49-F238E27FC236}">
                <a16:creationId xmlns:a16="http://schemas.microsoft.com/office/drawing/2014/main" id="{183F849C-A4C9-9183-3656-8F1592BC058A}"/>
              </a:ext>
            </a:extLst>
          </p:cNvPr>
          <p:cNvSpPr/>
          <p:nvPr/>
        </p:nvSpPr>
        <p:spPr>
          <a:xfrm>
            <a:off x="4514199" y="1875460"/>
            <a:ext cx="324682" cy="324682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Star: 4 Points 24">
            <a:extLst>
              <a:ext uri="{FF2B5EF4-FFF2-40B4-BE49-F238E27FC236}">
                <a16:creationId xmlns:a16="http://schemas.microsoft.com/office/drawing/2014/main" id="{A69D5637-F596-BEBE-19DF-76F080414BB3}"/>
              </a:ext>
            </a:extLst>
          </p:cNvPr>
          <p:cNvSpPr/>
          <p:nvPr/>
        </p:nvSpPr>
        <p:spPr>
          <a:xfrm>
            <a:off x="7202480" y="1871622"/>
            <a:ext cx="324682" cy="324682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Star: 4 Points 25">
            <a:extLst>
              <a:ext uri="{FF2B5EF4-FFF2-40B4-BE49-F238E27FC236}">
                <a16:creationId xmlns:a16="http://schemas.microsoft.com/office/drawing/2014/main" id="{72CBC07B-6E5C-E3AB-89F6-59D2B000ACA1}"/>
              </a:ext>
            </a:extLst>
          </p:cNvPr>
          <p:cNvSpPr/>
          <p:nvPr/>
        </p:nvSpPr>
        <p:spPr>
          <a:xfrm>
            <a:off x="4514199" y="4607278"/>
            <a:ext cx="324682" cy="324682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tar: 4 Points 26">
            <a:extLst>
              <a:ext uri="{FF2B5EF4-FFF2-40B4-BE49-F238E27FC236}">
                <a16:creationId xmlns:a16="http://schemas.microsoft.com/office/drawing/2014/main" id="{A2FF4A22-CE03-6CC9-0CF4-C22B4D11A050}"/>
              </a:ext>
            </a:extLst>
          </p:cNvPr>
          <p:cNvSpPr/>
          <p:nvPr/>
        </p:nvSpPr>
        <p:spPr>
          <a:xfrm>
            <a:off x="7202480" y="4607278"/>
            <a:ext cx="324682" cy="324682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688454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566A4C-106F-B612-6124-8DCD2D547B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11C76BB-8BC9-9C7B-ABD0-DEED9C3505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C76BB-8BC9-9C7B-ABD0-DEED9C350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B607B4-5ABB-8351-BE46-B2E59FC6C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016E7C4-CC90-E5BB-5B29-B1CAC7A5B5B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1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8A016B-D6D9-BC5B-23F8-E6141D74CA08}"/>
              </a:ext>
            </a:extLst>
          </p:cNvPr>
          <p:cNvSpPr txBox="1"/>
          <p:nvPr/>
        </p:nvSpPr>
        <p:spPr>
          <a:xfrm>
            <a:off x="8580335" y="3688466"/>
            <a:ext cx="2245419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6D896F-FAB9-6C2F-B2FB-572C191C6002}"/>
              </a:ext>
            </a:extLst>
          </p:cNvPr>
          <p:cNvSpPr txBox="1"/>
          <p:nvPr/>
        </p:nvSpPr>
        <p:spPr>
          <a:xfrm>
            <a:off x="7926007" y="1794863"/>
            <a:ext cx="2245419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921720-8159-6AE6-5246-25C4D96FA505}"/>
              </a:ext>
            </a:extLst>
          </p:cNvPr>
          <p:cNvSpPr txBox="1"/>
          <p:nvPr/>
        </p:nvSpPr>
        <p:spPr>
          <a:xfrm>
            <a:off x="2364049" y="1812988"/>
            <a:ext cx="2003026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48E44FF-C906-75C3-CDBD-8083B47CEA6E}"/>
              </a:ext>
            </a:extLst>
          </p:cNvPr>
          <p:cNvSpPr txBox="1"/>
          <p:nvPr/>
        </p:nvSpPr>
        <p:spPr>
          <a:xfrm>
            <a:off x="1659351" y="3706590"/>
            <a:ext cx="2003026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13687EB4-CE3E-9980-7EFD-93C747CE0E9A}"/>
              </a:ext>
            </a:extLst>
          </p:cNvPr>
          <p:cNvSpPr/>
          <p:nvPr/>
        </p:nvSpPr>
        <p:spPr>
          <a:xfrm rot="2364690" flipH="1">
            <a:off x="3780371" y="1982705"/>
            <a:ext cx="4660642" cy="4660639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17E9E6F8-40E5-B6C0-1406-1E3FBD146F43}"/>
              </a:ext>
            </a:extLst>
          </p:cNvPr>
          <p:cNvSpPr/>
          <p:nvPr/>
        </p:nvSpPr>
        <p:spPr>
          <a:xfrm rot="19235310">
            <a:off x="3786877" y="1982705"/>
            <a:ext cx="4660642" cy="4660639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D4D03C9-1B39-112F-50E0-E9F282B2460A}"/>
              </a:ext>
            </a:extLst>
          </p:cNvPr>
          <p:cNvSpPr/>
          <p:nvPr/>
        </p:nvSpPr>
        <p:spPr>
          <a:xfrm rot="6037468" flipH="1">
            <a:off x="3780373" y="1982704"/>
            <a:ext cx="4660639" cy="4660642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F3B3191E-F4E0-58F6-6844-4971EF18817A}"/>
              </a:ext>
            </a:extLst>
          </p:cNvPr>
          <p:cNvSpPr/>
          <p:nvPr/>
        </p:nvSpPr>
        <p:spPr>
          <a:xfrm rot="15562532">
            <a:off x="3786881" y="1982704"/>
            <a:ext cx="4660639" cy="4660642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5473941-CA70-42EA-0F98-1E5BB7330E44}"/>
              </a:ext>
            </a:extLst>
          </p:cNvPr>
          <p:cNvSpPr/>
          <p:nvPr/>
        </p:nvSpPr>
        <p:spPr>
          <a:xfrm flipV="1">
            <a:off x="5091026" y="3342192"/>
            <a:ext cx="2045840" cy="20546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A4FBFF6-3104-F16A-65F1-8FC0CB691D3B}"/>
              </a:ext>
            </a:extLst>
          </p:cNvPr>
          <p:cNvSpPr txBox="1">
            <a:spLocks/>
          </p:cNvSpPr>
          <p:nvPr/>
        </p:nvSpPr>
        <p:spPr>
          <a:xfrm>
            <a:off x="4703114" y="4163169"/>
            <a:ext cx="2820728" cy="1192120"/>
          </a:xfrm>
          <a:prstGeom prst="rect">
            <a:avLst/>
          </a:prstGeom>
        </p:spPr>
        <p:txBody>
          <a:bodyPr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800" b="1" dirty="0">
                <a:latin typeface="+mn-lt"/>
                <a:ea typeface="Open Sans ExtraBold" charset="0"/>
                <a:cs typeface="Open Sans ExtraBold" charset="0"/>
              </a:rPr>
              <a:t>HEADING</a:t>
            </a:r>
          </a:p>
        </p:txBody>
      </p:sp>
      <p:sp>
        <p:nvSpPr>
          <p:cNvPr id="32" name="Star: 4 Points 31">
            <a:extLst>
              <a:ext uri="{FF2B5EF4-FFF2-40B4-BE49-F238E27FC236}">
                <a16:creationId xmlns:a16="http://schemas.microsoft.com/office/drawing/2014/main" id="{341B9C7A-E248-13CC-8358-2C78651A51E0}"/>
              </a:ext>
            </a:extLst>
          </p:cNvPr>
          <p:cNvSpPr/>
          <p:nvPr/>
        </p:nvSpPr>
        <p:spPr>
          <a:xfrm>
            <a:off x="4134190" y="4210724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Star: 4 Points 32">
            <a:extLst>
              <a:ext uri="{FF2B5EF4-FFF2-40B4-BE49-F238E27FC236}">
                <a16:creationId xmlns:a16="http://schemas.microsoft.com/office/drawing/2014/main" id="{6A4D8D09-046A-4FF5-E5F6-E06F298F3199}"/>
              </a:ext>
            </a:extLst>
          </p:cNvPr>
          <p:cNvSpPr/>
          <p:nvPr/>
        </p:nvSpPr>
        <p:spPr>
          <a:xfrm>
            <a:off x="4868111" y="2536711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Star: 4 Points 33">
            <a:extLst>
              <a:ext uri="{FF2B5EF4-FFF2-40B4-BE49-F238E27FC236}">
                <a16:creationId xmlns:a16="http://schemas.microsoft.com/office/drawing/2014/main" id="{A7E149FC-C4D3-71A3-8667-E3E54DD41B7A}"/>
              </a:ext>
            </a:extLst>
          </p:cNvPr>
          <p:cNvSpPr/>
          <p:nvPr/>
        </p:nvSpPr>
        <p:spPr>
          <a:xfrm>
            <a:off x="6755610" y="2554123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Star: 4 Points 34">
            <a:extLst>
              <a:ext uri="{FF2B5EF4-FFF2-40B4-BE49-F238E27FC236}">
                <a16:creationId xmlns:a16="http://schemas.microsoft.com/office/drawing/2014/main" id="{C00CB583-2870-B499-6A24-861D1C6BAEB1}"/>
              </a:ext>
            </a:extLst>
          </p:cNvPr>
          <p:cNvSpPr/>
          <p:nvPr/>
        </p:nvSpPr>
        <p:spPr>
          <a:xfrm>
            <a:off x="7628818" y="4089024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397964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CF7575-8DAA-8B6C-35C1-1DABE12B3E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06FB5AB-D31D-1DE4-FEB6-F0AF95C73C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FB5AB-D31D-1DE4-FEB6-F0AF95C73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CF3A4F51-2BB1-7A95-E7C6-2ED25443D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14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A1732E-DFD0-CC8B-D185-41B2A2DC02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30-60-90 Plan</a:t>
            </a:r>
          </a:p>
        </p:txBody>
      </p:sp>
    </p:spTree>
    <p:extLst>
      <p:ext uri="{BB962C8B-B14F-4D97-AF65-F5344CB8AC3E}">
        <p14:creationId xmlns:p14="http://schemas.microsoft.com/office/powerpoint/2010/main" val="3219840553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BCA544-C455-3A49-BDBC-33C38A763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1FACFD4-D016-44E2-38ED-CC9710EB52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FACFD4-D016-44E2-38ED-CC9710EB5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622E76-F464-E7D9-BEF2-422FC0DED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1F2C3C9-20BA-9632-F316-2D47063AAD3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1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8" name="Google Shape;457;p13">
            <a:extLst>
              <a:ext uri="{FF2B5EF4-FFF2-40B4-BE49-F238E27FC236}">
                <a16:creationId xmlns:a16="http://schemas.microsoft.com/office/drawing/2014/main" id="{D54E070D-D990-0D37-5024-684E01022576}"/>
              </a:ext>
            </a:extLst>
          </p:cNvPr>
          <p:cNvSpPr>
            <a:spLocks/>
          </p:cNvSpPr>
          <p:nvPr/>
        </p:nvSpPr>
        <p:spPr>
          <a:xfrm>
            <a:off x="522710" y="1058952"/>
            <a:ext cx="3537192" cy="1753216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 defTabSz="1508028"/>
            <a:endParaRPr sz="3939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79" name="Google Shape;459;p13">
            <a:extLst>
              <a:ext uri="{FF2B5EF4-FFF2-40B4-BE49-F238E27FC236}">
                <a16:creationId xmlns:a16="http://schemas.microsoft.com/office/drawing/2014/main" id="{53A2129C-6E56-17D2-14D5-E1F9F7169044}"/>
              </a:ext>
            </a:extLst>
          </p:cNvPr>
          <p:cNvSpPr>
            <a:spLocks/>
          </p:cNvSpPr>
          <p:nvPr/>
        </p:nvSpPr>
        <p:spPr>
          <a:xfrm flipH="1">
            <a:off x="522710" y="2949290"/>
            <a:ext cx="3537192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sert Text Here</a:t>
            </a:r>
            <a:endParaRPr kumimoji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0" name="Google Shape;460;p13">
            <a:extLst>
              <a:ext uri="{FF2B5EF4-FFF2-40B4-BE49-F238E27FC236}">
                <a16:creationId xmlns:a16="http://schemas.microsoft.com/office/drawing/2014/main" id="{FB5931B6-3C10-F18F-5315-964F334DE55E}"/>
              </a:ext>
            </a:extLst>
          </p:cNvPr>
          <p:cNvSpPr txBox="1"/>
          <p:nvPr/>
        </p:nvSpPr>
        <p:spPr>
          <a:xfrm>
            <a:off x="819551" y="2194640"/>
            <a:ext cx="2943525" cy="2399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30 DAY</a:t>
            </a:r>
            <a:endParaRPr kumimoji="0" sz="2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1" name="Google Shape;462;p13">
            <a:extLst>
              <a:ext uri="{FF2B5EF4-FFF2-40B4-BE49-F238E27FC236}">
                <a16:creationId xmlns:a16="http://schemas.microsoft.com/office/drawing/2014/main" id="{71B25358-E9B3-CAA8-7D71-9F5FF38F167A}"/>
              </a:ext>
            </a:extLst>
          </p:cNvPr>
          <p:cNvSpPr/>
          <p:nvPr/>
        </p:nvSpPr>
        <p:spPr>
          <a:xfrm>
            <a:off x="4322561" y="1058952"/>
            <a:ext cx="3537192" cy="1753216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 defTabSz="1508028"/>
            <a:endParaRPr sz="3939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82" name="Google Shape;464;p13">
            <a:extLst>
              <a:ext uri="{FF2B5EF4-FFF2-40B4-BE49-F238E27FC236}">
                <a16:creationId xmlns:a16="http://schemas.microsoft.com/office/drawing/2014/main" id="{57D5B201-D1AE-8AC5-5CF8-39F53C3EF3DB}"/>
              </a:ext>
            </a:extLst>
          </p:cNvPr>
          <p:cNvSpPr>
            <a:spLocks/>
          </p:cNvSpPr>
          <p:nvPr/>
        </p:nvSpPr>
        <p:spPr>
          <a:xfrm flipH="1">
            <a:off x="4322561" y="2949290"/>
            <a:ext cx="3537192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sert Text Here</a:t>
            </a:r>
            <a:endParaRPr kumimoji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3" name="Google Shape;465;p13">
            <a:extLst>
              <a:ext uri="{FF2B5EF4-FFF2-40B4-BE49-F238E27FC236}">
                <a16:creationId xmlns:a16="http://schemas.microsoft.com/office/drawing/2014/main" id="{0FA88FBB-317F-4669-7D99-DD7D93B6C046}"/>
              </a:ext>
            </a:extLst>
          </p:cNvPr>
          <p:cNvSpPr txBox="1"/>
          <p:nvPr/>
        </p:nvSpPr>
        <p:spPr>
          <a:xfrm>
            <a:off x="4619396" y="2194640"/>
            <a:ext cx="2943525" cy="2399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60 DAY</a:t>
            </a:r>
            <a:endParaRPr kumimoji="0" sz="2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4" name="Google Shape;467;p13">
            <a:extLst>
              <a:ext uri="{FF2B5EF4-FFF2-40B4-BE49-F238E27FC236}">
                <a16:creationId xmlns:a16="http://schemas.microsoft.com/office/drawing/2014/main" id="{947F4258-A61E-540C-FA97-AB01245AB187}"/>
              </a:ext>
            </a:extLst>
          </p:cNvPr>
          <p:cNvSpPr/>
          <p:nvPr/>
        </p:nvSpPr>
        <p:spPr>
          <a:xfrm>
            <a:off x="8122407" y="1058952"/>
            <a:ext cx="3537192" cy="1753216"/>
          </a:xfrm>
          <a:prstGeom prst="round2Same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93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85" name="Google Shape;469;p13">
            <a:extLst>
              <a:ext uri="{FF2B5EF4-FFF2-40B4-BE49-F238E27FC236}">
                <a16:creationId xmlns:a16="http://schemas.microsoft.com/office/drawing/2014/main" id="{864C95C2-F8A9-774B-55EA-E69220359EBD}"/>
              </a:ext>
            </a:extLst>
          </p:cNvPr>
          <p:cNvSpPr>
            <a:spLocks/>
          </p:cNvSpPr>
          <p:nvPr/>
        </p:nvSpPr>
        <p:spPr>
          <a:xfrm flipH="1">
            <a:off x="8122407" y="2949290"/>
            <a:ext cx="3537192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sert Text Here</a:t>
            </a:r>
            <a:endParaRPr kumimoji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6" name="Google Shape;470;p13">
            <a:extLst>
              <a:ext uri="{FF2B5EF4-FFF2-40B4-BE49-F238E27FC236}">
                <a16:creationId xmlns:a16="http://schemas.microsoft.com/office/drawing/2014/main" id="{DAE58F56-15AD-8219-C25A-4C7AF807C873}"/>
              </a:ext>
            </a:extLst>
          </p:cNvPr>
          <p:cNvSpPr txBox="1"/>
          <p:nvPr/>
        </p:nvSpPr>
        <p:spPr>
          <a:xfrm>
            <a:off x="8419246" y="2194640"/>
            <a:ext cx="2943525" cy="2399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90 DAY</a:t>
            </a:r>
            <a:endParaRPr kumimoji="0" sz="2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A6C1D8E0-1FFB-66D3-39DF-9032D79DBEF1}"/>
              </a:ext>
            </a:extLst>
          </p:cNvPr>
          <p:cNvGrpSpPr/>
          <p:nvPr/>
        </p:nvGrpSpPr>
        <p:grpSpPr>
          <a:xfrm>
            <a:off x="9540882" y="1262162"/>
            <a:ext cx="700249" cy="694423"/>
            <a:chOff x="9592182" y="1643412"/>
            <a:chExt cx="708145" cy="702253"/>
          </a:xfrm>
        </p:grpSpPr>
        <p:sp>
          <p:nvSpPr>
            <p:cNvPr id="92" name="Freeform 44">
              <a:extLst>
                <a:ext uri="{FF2B5EF4-FFF2-40B4-BE49-F238E27FC236}">
                  <a16:creationId xmlns:a16="http://schemas.microsoft.com/office/drawing/2014/main" id="{986A6F74-C67E-8BB6-4914-917124BCF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7415" y="1808647"/>
              <a:ext cx="371778" cy="371781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 45">
              <a:extLst>
                <a:ext uri="{FF2B5EF4-FFF2-40B4-BE49-F238E27FC236}">
                  <a16:creationId xmlns:a16="http://schemas.microsoft.com/office/drawing/2014/main" id="{CA73DD42-933D-A6D5-1667-3F8BEC3D7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2182" y="1643412"/>
              <a:ext cx="708145" cy="702253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AE6F2CFB-2594-78AF-19ED-59BDF5A97374}"/>
              </a:ext>
            </a:extLst>
          </p:cNvPr>
          <p:cNvGrpSpPr/>
          <p:nvPr/>
        </p:nvGrpSpPr>
        <p:grpSpPr>
          <a:xfrm>
            <a:off x="5741030" y="1262162"/>
            <a:ext cx="700249" cy="694423"/>
            <a:chOff x="9592182" y="1643412"/>
            <a:chExt cx="708145" cy="702253"/>
          </a:xfrm>
        </p:grpSpPr>
        <p:sp>
          <p:nvSpPr>
            <p:cNvPr id="111" name="Freeform 44">
              <a:extLst>
                <a:ext uri="{FF2B5EF4-FFF2-40B4-BE49-F238E27FC236}">
                  <a16:creationId xmlns:a16="http://schemas.microsoft.com/office/drawing/2014/main" id="{C8A0FD86-8872-060D-7C4E-ECD4EC6C7F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7415" y="1808647"/>
              <a:ext cx="371778" cy="371781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Freeform 45">
              <a:extLst>
                <a:ext uri="{FF2B5EF4-FFF2-40B4-BE49-F238E27FC236}">
                  <a16:creationId xmlns:a16="http://schemas.microsoft.com/office/drawing/2014/main" id="{EB5E06D1-C179-A915-4E05-C75F861E75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2182" y="1643412"/>
              <a:ext cx="708145" cy="702253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5F3412F-B280-C532-ADA5-DD5C78FC2728}"/>
              </a:ext>
            </a:extLst>
          </p:cNvPr>
          <p:cNvGrpSpPr/>
          <p:nvPr/>
        </p:nvGrpSpPr>
        <p:grpSpPr>
          <a:xfrm>
            <a:off x="1941181" y="1262162"/>
            <a:ext cx="700249" cy="694423"/>
            <a:chOff x="9592182" y="1643412"/>
            <a:chExt cx="708145" cy="702253"/>
          </a:xfrm>
        </p:grpSpPr>
        <p:sp>
          <p:nvSpPr>
            <p:cNvPr id="114" name="Freeform 44">
              <a:extLst>
                <a:ext uri="{FF2B5EF4-FFF2-40B4-BE49-F238E27FC236}">
                  <a16:creationId xmlns:a16="http://schemas.microsoft.com/office/drawing/2014/main" id="{45BDA24F-67A7-DB91-AFD7-AF16736193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7415" y="1808647"/>
              <a:ext cx="371778" cy="371781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Freeform 45">
              <a:extLst>
                <a:ext uri="{FF2B5EF4-FFF2-40B4-BE49-F238E27FC236}">
                  <a16:creationId xmlns:a16="http://schemas.microsoft.com/office/drawing/2014/main" id="{6837FBA4-9B83-419D-8789-BBAA24427F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2182" y="1643412"/>
              <a:ext cx="708145" cy="702253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9665333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2470E0-0851-0A59-EC42-3532BDFD01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BF16972-408C-8AAF-A59D-D51BC43AB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F16972-408C-8AAF-A59D-D51BC43AB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13AC50-ECCD-6914-4353-1D554822D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471C073-DF33-D743-44FE-FAA85D7539A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17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526_222950">
            <a:extLst>
              <a:ext uri="{FF2B5EF4-FFF2-40B4-BE49-F238E27FC236}">
                <a16:creationId xmlns:a16="http://schemas.microsoft.com/office/drawing/2014/main" id="{170A91B8-0197-FB24-DF82-5CB63D47DDD3}"/>
              </a:ext>
            </a:extLst>
          </p:cNvPr>
          <p:cNvCxnSpPr/>
          <p:nvPr/>
        </p:nvCxnSpPr>
        <p:spPr>
          <a:xfrm>
            <a:off x="6334410" y="2863863"/>
            <a:ext cx="0" cy="2855786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" name="Shape1_20220526_222950">
            <a:extLst>
              <a:ext uri="{FF2B5EF4-FFF2-40B4-BE49-F238E27FC236}">
                <a16:creationId xmlns:a16="http://schemas.microsoft.com/office/drawing/2014/main" id="{FC3AE197-F33E-B625-9971-2C719239DEAD}"/>
              </a:ext>
            </a:extLst>
          </p:cNvPr>
          <p:cNvCxnSpPr/>
          <p:nvPr/>
        </p:nvCxnSpPr>
        <p:spPr>
          <a:xfrm>
            <a:off x="9038451" y="2863863"/>
            <a:ext cx="0" cy="2855786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547;p17">
            <a:extLst>
              <a:ext uri="{FF2B5EF4-FFF2-40B4-BE49-F238E27FC236}">
                <a16:creationId xmlns:a16="http://schemas.microsoft.com/office/drawing/2014/main" id="{DCE1BF80-066A-7F16-97F8-73E3828DE6BF}"/>
              </a:ext>
            </a:extLst>
          </p:cNvPr>
          <p:cNvSpPr/>
          <p:nvPr/>
        </p:nvSpPr>
        <p:spPr>
          <a:xfrm flipH="1">
            <a:off x="6622851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8" name="Google Shape;553;p17">
            <a:extLst>
              <a:ext uri="{FF2B5EF4-FFF2-40B4-BE49-F238E27FC236}">
                <a16:creationId xmlns:a16="http://schemas.microsoft.com/office/drawing/2014/main" id="{706C6CA5-2E77-7065-5ACC-7355AB70B9D3}"/>
              </a:ext>
            </a:extLst>
          </p:cNvPr>
          <p:cNvSpPr/>
          <p:nvPr/>
        </p:nvSpPr>
        <p:spPr>
          <a:xfrm>
            <a:off x="6952375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9" name="Google Shape;554;p17">
            <a:extLst>
              <a:ext uri="{FF2B5EF4-FFF2-40B4-BE49-F238E27FC236}">
                <a16:creationId xmlns:a16="http://schemas.microsoft.com/office/drawing/2014/main" id="{AE6D7F76-E6AF-EE38-F13B-2208603BB38A}"/>
              </a:ext>
            </a:extLst>
          </p:cNvPr>
          <p:cNvSpPr/>
          <p:nvPr/>
        </p:nvSpPr>
        <p:spPr>
          <a:xfrm>
            <a:off x="6950357" y="1154837"/>
            <a:ext cx="1472146" cy="1472146"/>
          </a:xfrm>
          <a:prstGeom prst="arc">
            <a:avLst>
              <a:gd name="adj1" fmla="val 16699520"/>
              <a:gd name="adj2" fmla="val 7288241"/>
            </a:avLst>
          </a:prstGeom>
          <a:noFill/>
          <a:ln w="762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0" name="Google Shape;559;p17">
            <a:extLst>
              <a:ext uri="{FF2B5EF4-FFF2-40B4-BE49-F238E27FC236}">
                <a16:creationId xmlns:a16="http://schemas.microsoft.com/office/drawing/2014/main" id="{FAD040D7-F924-8416-72FF-043D55D30786}"/>
              </a:ext>
            </a:extLst>
          </p:cNvPr>
          <p:cNvSpPr txBox="1"/>
          <p:nvPr/>
        </p:nvSpPr>
        <p:spPr>
          <a:xfrm>
            <a:off x="7056379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>
                <a:solidFill>
                  <a:schemeClr val="tx1">
                    <a:lumMod val="100000"/>
                  </a:schemeClr>
                </a:solidFill>
              </a:rPr>
              <a:t>60 DAY</a:t>
            </a:r>
            <a:endParaRPr sz="20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1" name="Google Shape;548;p17">
            <a:extLst>
              <a:ext uri="{FF2B5EF4-FFF2-40B4-BE49-F238E27FC236}">
                <a16:creationId xmlns:a16="http://schemas.microsoft.com/office/drawing/2014/main" id="{3D82A530-AE3F-6B0A-16C8-2B3DF39FC233}"/>
              </a:ext>
            </a:extLst>
          </p:cNvPr>
          <p:cNvSpPr/>
          <p:nvPr/>
        </p:nvSpPr>
        <p:spPr>
          <a:xfrm flipH="1">
            <a:off x="9326892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12" name="Google Shape;556;p17">
            <a:extLst>
              <a:ext uri="{FF2B5EF4-FFF2-40B4-BE49-F238E27FC236}">
                <a16:creationId xmlns:a16="http://schemas.microsoft.com/office/drawing/2014/main" id="{F558DF44-BB69-5940-93A7-8BF4914E442B}"/>
              </a:ext>
            </a:extLst>
          </p:cNvPr>
          <p:cNvSpPr/>
          <p:nvPr/>
        </p:nvSpPr>
        <p:spPr>
          <a:xfrm>
            <a:off x="9656417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3" name="Google Shape;557;p17">
            <a:extLst>
              <a:ext uri="{FF2B5EF4-FFF2-40B4-BE49-F238E27FC236}">
                <a16:creationId xmlns:a16="http://schemas.microsoft.com/office/drawing/2014/main" id="{CCBB9D68-3A28-DB11-6DA7-8283C75CCD13}"/>
              </a:ext>
            </a:extLst>
          </p:cNvPr>
          <p:cNvSpPr/>
          <p:nvPr/>
        </p:nvSpPr>
        <p:spPr>
          <a:xfrm>
            <a:off x="9654401" y="1154837"/>
            <a:ext cx="1472146" cy="1472146"/>
          </a:xfrm>
          <a:prstGeom prst="arc">
            <a:avLst>
              <a:gd name="adj1" fmla="val 16699520"/>
              <a:gd name="adj2" fmla="val 14680637"/>
            </a:avLst>
          </a:prstGeom>
          <a:noFill/>
          <a:ln w="762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4" name="Google Shape;560;p17">
            <a:extLst>
              <a:ext uri="{FF2B5EF4-FFF2-40B4-BE49-F238E27FC236}">
                <a16:creationId xmlns:a16="http://schemas.microsoft.com/office/drawing/2014/main" id="{9ACD6470-681D-5163-6E0A-633E20E40885}"/>
              </a:ext>
            </a:extLst>
          </p:cNvPr>
          <p:cNvSpPr txBox="1"/>
          <p:nvPr/>
        </p:nvSpPr>
        <p:spPr>
          <a:xfrm>
            <a:off x="9760421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>
                <a:solidFill>
                  <a:schemeClr val="tx1">
                    <a:lumMod val="100000"/>
                  </a:schemeClr>
                </a:solidFill>
              </a:rPr>
              <a:t>90 DAY</a:t>
            </a:r>
            <a:endParaRPr sz="20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5" name="Google Shape;546;p17">
            <a:extLst>
              <a:ext uri="{FF2B5EF4-FFF2-40B4-BE49-F238E27FC236}">
                <a16:creationId xmlns:a16="http://schemas.microsoft.com/office/drawing/2014/main" id="{8CA6C955-7B5C-E862-9147-3A960F8C9197}"/>
              </a:ext>
            </a:extLst>
          </p:cNvPr>
          <p:cNvSpPr/>
          <p:nvPr/>
        </p:nvSpPr>
        <p:spPr>
          <a:xfrm flipH="1">
            <a:off x="3918809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16" name="Google Shape;550;p17">
            <a:extLst>
              <a:ext uri="{FF2B5EF4-FFF2-40B4-BE49-F238E27FC236}">
                <a16:creationId xmlns:a16="http://schemas.microsoft.com/office/drawing/2014/main" id="{010B82C7-4863-E4FF-9666-7763B89A088E}"/>
              </a:ext>
            </a:extLst>
          </p:cNvPr>
          <p:cNvSpPr/>
          <p:nvPr/>
        </p:nvSpPr>
        <p:spPr>
          <a:xfrm>
            <a:off x="4248334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7" name="Google Shape;551;p17">
            <a:extLst>
              <a:ext uri="{FF2B5EF4-FFF2-40B4-BE49-F238E27FC236}">
                <a16:creationId xmlns:a16="http://schemas.microsoft.com/office/drawing/2014/main" id="{38A38A77-BF72-7040-5E6B-6C2DD9AA7006}"/>
              </a:ext>
            </a:extLst>
          </p:cNvPr>
          <p:cNvSpPr/>
          <p:nvPr/>
        </p:nvSpPr>
        <p:spPr>
          <a:xfrm>
            <a:off x="4246317" y="1154837"/>
            <a:ext cx="1472146" cy="1472146"/>
          </a:xfrm>
          <a:prstGeom prst="arc">
            <a:avLst>
              <a:gd name="adj1" fmla="val 16699520"/>
              <a:gd name="adj2" fmla="val 964185"/>
            </a:avLst>
          </a:prstGeom>
          <a:noFill/>
          <a:ln w="762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8" name="Google Shape;558;p17">
            <a:extLst>
              <a:ext uri="{FF2B5EF4-FFF2-40B4-BE49-F238E27FC236}">
                <a16:creationId xmlns:a16="http://schemas.microsoft.com/office/drawing/2014/main" id="{4CD5D770-1F59-912C-C0CE-BC7F20F316B4}"/>
              </a:ext>
            </a:extLst>
          </p:cNvPr>
          <p:cNvSpPr txBox="1"/>
          <p:nvPr/>
        </p:nvSpPr>
        <p:spPr>
          <a:xfrm>
            <a:off x="4352338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>
                <a:solidFill>
                  <a:schemeClr val="tx1">
                    <a:lumMod val="100000"/>
                  </a:schemeClr>
                </a:solidFill>
              </a:rPr>
              <a:t>30 DAY</a:t>
            </a:r>
            <a:endParaRPr sz="2000" dirty="0">
              <a:solidFill>
                <a:schemeClr val="tx1">
                  <a:lumMod val="100000"/>
                </a:schemeClr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E5880E5-FC59-2C3E-F17A-9E073DD3BC55}"/>
              </a:ext>
            </a:extLst>
          </p:cNvPr>
          <p:cNvGrpSpPr/>
          <p:nvPr/>
        </p:nvGrpSpPr>
        <p:grpSpPr>
          <a:xfrm>
            <a:off x="10224533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24" name="Freeform 44">
              <a:extLst>
                <a:ext uri="{FF2B5EF4-FFF2-40B4-BE49-F238E27FC236}">
                  <a16:creationId xmlns:a16="http://schemas.microsoft.com/office/drawing/2014/main" id="{60665585-6C2C-A088-074D-F077FBEA6B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25" name="Freeform 45">
              <a:extLst>
                <a:ext uri="{FF2B5EF4-FFF2-40B4-BE49-F238E27FC236}">
                  <a16:creationId xmlns:a16="http://schemas.microsoft.com/office/drawing/2014/main" id="{D9B910AA-AA6E-3351-26B2-1A735852EB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90B8F9D-3538-5903-4049-762F001B570F}"/>
              </a:ext>
            </a:extLst>
          </p:cNvPr>
          <p:cNvGrpSpPr/>
          <p:nvPr/>
        </p:nvGrpSpPr>
        <p:grpSpPr>
          <a:xfrm>
            <a:off x="7520490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41" name="Freeform 44">
              <a:extLst>
                <a:ext uri="{FF2B5EF4-FFF2-40B4-BE49-F238E27FC236}">
                  <a16:creationId xmlns:a16="http://schemas.microsoft.com/office/drawing/2014/main" id="{CEDFC65F-C85F-3683-06CF-6D0A83CFDF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2" name="Freeform 45">
              <a:extLst>
                <a:ext uri="{FF2B5EF4-FFF2-40B4-BE49-F238E27FC236}">
                  <a16:creationId xmlns:a16="http://schemas.microsoft.com/office/drawing/2014/main" id="{B3C360AB-B8D8-7CBF-7C42-AA1A99C425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pic>
        <p:nvPicPr>
          <p:cNvPr id="46" name="Picture 2" descr="Free Calendar Emotion photo and picture">
            <a:extLst>
              <a:ext uri="{FF2B5EF4-FFF2-40B4-BE49-F238E27FC236}">
                <a16:creationId xmlns:a16="http://schemas.microsoft.com/office/drawing/2014/main" id="{70341A79-D23C-B999-088C-E061B8F883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620"/>
          <a:stretch/>
        </p:blipFill>
        <p:spPr bwMode="auto">
          <a:xfrm>
            <a:off x="-37416" y="1154340"/>
            <a:ext cx="3548759" cy="458129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077C3667-AC0D-782B-A05F-65B0F7264AD1}"/>
              </a:ext>
            </a:extLst>
          </p:cNvPr>
          <p:cNvGrpSpPr/>
          <p:nvPr/>
        </p:nvGrpSpPr>
        <p:grpSpPr>
          <a:xfrm>
            <a:off x="4832902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A703EBF1-4FB1-9432-5AA0-750D898FB3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DF6537C4-8C72-93F7-4B47-4C5111D52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93288706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6CF549-BE1C-B6C0-B480-20A63CEF8D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B5DCF63-49FA-7B29-9459-DBB2679278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5DCF63-49FA-7B29-9459-DBB267927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CFC0B3-9DC6-AD5D-5E72-0D9BC405E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0759EEE-0D0B-539A-98CE-F51FD7344EA7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1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1_20220526_193751">
            <a:extLst>
              <a:ext uri="{FF2B5EF4-FFF2-40B4-BE49-F238E27FC236}">
                <a16:creationId xmlns:a16="http://schemas.microsoft.com/office/drawing/2014/main" id="{69B4E3DF-16DD-2939-39AF-999151D9F290}"/>
              </a:ext>
            </a:extLst>
          </p:cNvPr>
          <p:cNvSpPr/>
          <p:nvPr/>
        </p:nvSpPr>
        <p:spPr>
          <a:xfrm>
            <a:off x="4358038" y="1366397"/>
            <a:ext cx="3475918" cy="4449298"/>
          </a:xfrm>
          <a:prstGeom prst="rect">
            <a:avLst/>
          </a:prstGeom>
          <a:noFill/>
          <a:ln w="9525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19" name="Google Shape;635;p20">
            <a:extLst>
              <a:ext uri="{FF2B5EF4-FFF2-40B4-BE49-F238E27FC236}">
                <a16:creationId xmlns:a16="http://schemas.microsoft.com/office/drawing/2014/main" id="{9D4D0FBC-FAEB-8EA6-BA3E-B175667FEDCD}"/>
              </a:ext>
            </a:extLst>
          </p:cNvPr>
          <p:cNvSpPr/>
          <p:nvPr/>
        </p:nvSpPr>
        <p:spPr>
          <a:xfrm>
            <a:off x="4412987" y="1578180"/>
            <a:ext cx="202802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400" b="1" dirty="0">
                <a:solidFill>
                  <a:schemeClr val="tx1">
                    <a:lumMod val="100000"/>
                  </a:schemeClr>
                </a:solidFill>
              </a:rPr>
              <a:t>60</a:t>
            </a:r>
            <a:r>
              <a:rPr lang="en-IN" sz="2400" dirty="0">
                <a:solidFill>
                  <a:schemeClr val="tx1">
                    <a:lumMod val="100000"/>
                  </a:schemeClr>
                </a:solidFill>
              </a:rPr>
              <a:t> DAY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0" name="Google Shape;638;p20">
            <a:extLst>
              <a:ext uri="{FF2B5EF4-FFF2-40B4-BE49-F238E27FC236}">
                <a16:creationId xmlns:a16="http://schemas.microsoft.com/office/drawing/2014/main" id="{25971A38-D470-B5FA-F3E9-2E48E8200DE6}"/>
              </a:ext>
            </a:extLst>
          </p:cNvPr>
          <p:cNvSpPr/>
          <p:nvPr/>
        </p:nvSpPr>
        <p:spPr>
          <a:xfrm>
            <a:off x="7048460" y="1366584"/>
            <a:ext cx="785502" cy="7925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97758BF-B48C-FD9C-0184-1A48CE5D25FD}"/>
              </a:ext>
            </a:extLst>
          </p:cNvPr>
          <p:cNvSpPr/>
          <p:nvPr/>
        </p:nvSpPr>
        <p:spPr>
          <a:xfrm>
            <a:off x="7504783" y="1494278"/>
            <a:ext cx="120052" cy="120052"/>
          </a:xfrm>
          <a:custGeom>
            <a:avLst/>
            <a:gdLst>
              <a:gd name="connsiteX0" fmla="*/ 36773 w 190500"/>
              <a:gd name="connsiteY0" fmla="*/ 164731 h 190500"/>
              <a:gd name="connsiteX1" fmla="*/ 14239 w 190500"/>
              <a:gd name="connsiteY1" fmla="*/ 62570 h 190500"/>
              <a:gd name="connsiteX2" fmla="*/ 78212 w 190500"/>
              <a:gd name="connsiteY2" fmla="*/ 9318 h 190500"/>
              <a:gd name="connsiteX3" fmla="*/ 158654 w 190500"/>
              <a:gd name="connsiteY3" fmla="*/ 30716 h 190500"/>
              <a:gd name="connsiteX4" fmla="*/ 181192 w 190500"/>
              <a:gd name="connsiteY4" fmla="*/ 132873 h 190500"/>
              <a:gd name="connsiteX5" fmla="*/ 117214 w 190500"/>
              <a:gd name="connsiteY5" fmla="*/ 186130 h 190500"/>
              <a:gd name="connsiteX6" fmla="*/ 97462 w 190500"/>
              <a:gd name="connsiteY6" fmla="*/ 188297 h 190500"/>
              <a:gd name="connsiteX7" fmla="*/ 36773 w 190500"/>
              <a:gd name="connsiteY7" fmla="*/ 164731 h 190500"/>
              <a:gd name="connsiteX8" fmla="*/ 80263 w 190500"/>
              <a:gd name="connsiteY8" fmla="*/ 18619 h 190500"/>
              <a:gd name="connsiteX9" fmla="*/ 22992 w 190500"/>
              <a:gd name="connsiteY9" fmla="*/ 66328 h 190500"/>
              <a:gd name="connsiteX10" fmla="*/ 43135 w 190500"/>
              <a:gd name="connsiteY10" fmla="*/ 157643 h 190500"/>
              <a:gd name="connsiteX11" fmla="*/ 39954 w 190500"/>
              <a:gd name="connsiteY11" fmla="*/ 161187 h 190500"/>
              <a:gd name="connsiteX12" fmla="*/ 43135 w 190500"/>
              <a:gd name="connsiteY12" fmla="*/ 157643 h 190500"/>
              <a:gd name="connsiteX13" fmla="*/ 115163 w 190500"/>
              <a:gd name="connsiteY13" fmla="*/ 176828 h 190500"/>
              <a:gd name="connsiteX14" fmla="*/ 172439 w 190500"/>
              <a:gd name="connsiteY14" fmla="*/ 129115 h 190500"/>
              <a:gd name="connsiteX15" fmla="*/ 152291 w 190500"/>
              <a:gd name="connsiteY15" fmla="*/ 37804 h 190500"/>
              <a:gd name="connsiteX16" fmla="*/ 97922 w 190500"/>
              <a:gd name="connsiteY16" fmla="*/ 16680 h 190500"/>
              <a:gd name="connsiteX17" fmla="*/ 80263 w 190500"/>
              <a:gd name="connsiteY17" fmla="*/ 18619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90500" h="190500">
                <a:moveTo>
                  <a:pt x="36773" y="164731"/>
                </a:moveTo>
                <a:cubicBezTo>
                  <a:pt x="8542" y="139421"/>
                  <a:pt x="-727" y="97410"/>
                  <a:pt x="14239" y="62570"/>
                </a:cubicBezTo>
                <a:cubicBezTo>
                  <a:pt x="26039" y="35093"/>
                  <a:pt x="49358" y="15680"/>
                  <a:pt x="78212" y="9318"/>
                </a:cubicBezTo>
                <a:cubicBezTo>
                  <a:pt x="107071" y="2941"/>
                  <a:pt x="136385" y="10745"/>
                  <a:pt x="158654" y="30716"/>
                </a:cubicBezTo>
                <a:cubicBezTo>
                  <a:pt x="186885" y="56026"/>
                  <a:pt x="196154" y="98033"/>
                  <a:pt x="181192" y="132873"/>
                </a:cubicBezTo>
                <a:cubicBezTo>
                  <a:pt x="169388" y="160355"/>
                  <a:pt x="146068" y="179763"/>
                  <a:pt x="117214" y="186130"/>
                </a:cubicBezTo>
                <a:cubicBezTo>
                  <a:pt x="110624" y="187581"/>
                  <a:pt x="104010" y="188297"/>
                  <a:pt x="97462" y="188297"/>
                </a:cubicBezTo>
                <a:cubicBezTo>
                  <a:pt x="75338" y="188297"/>
                  <a:pt x="53958" y="180135"/>
                  <a:pt x="36773" y="164731"/>
                </a:cubicBezTo>
                <a:close/>
                <a:moveTo>
                  <a:pt x="80263" y="18619"/>
                </a:moveTo>
                <a:cubicBezTo>
                  <a:pt x="54441" y="24312"/>
                  <a:pt x="33568" y="41706"/>
                  <a:pt x="22992" y="66328"/>
                </a:cubicBezTo>
                <a:cubicBezTo>
                  <a:pt x="9616" y="97470"/>
                  <a:pt x="17899" y="135017"/>
                  <a:pt x="43135" y="157643"/>
                </a:cubicBezTo>
                <a:lnTo>
                  <a:pt x="39954" y="161187"/>
                </a:lnTo>
                <a:lnTo>
                  <a:pt x="43135" y="157643"/>
                </a:lnTo>
                <a:cubicBezTo>
                  <a:pt x="63087" y="175531"/>
                  <a:pt x="89332" y="182521"/>
                  <a:pt x="115163" y="176828"/>
                </a:cubicBezTo>
                <a:cubicBezTo>
                  <a:pt x="140985" y="171131"/>
                  <a:pt x="161863" y="153741"/>
                  <a:pt x="172439" y="129115"/>
                </a:cubicBezTo>
                <a:cubicBezTo>
                  <a:pt x="185810" y="97977"/>
                  <a:pt x="177527" y="60431"/>
                  <a:pt x="152291" y="37804"/>
                </a:cubicBezTo>
                <a:cubicBezTo>
                  <a:pt x="136892" y="23996"/>
                  <a:pt x="117735" y="16680"/>
                  <a:pt x="97922" y="16680"/>
                </a:cubicBezTo>
                <a:cubicBezTo>
                  <a:pt x="92067" y="16680"/>
                  <a:pt x="86151" y="17317"/>
                  <a:pt x="80263" y="18619"/>
                </a:cubicBezTo>
                <a:close/>
              </a:path>
            </a:pathLst>
          </a:custGeom>
          <a:solidFill>
            <a:schemeClr val="bg1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939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CDD07EE-8A74-F2C4-405F-5F0CE978F4D4}"/>
              </a:ext>
            </a:extLst>
          </p:cNvPr>
          <p:cNvSpPr/>
          <p:nvPr/>
        </p:nvSpPr>
        <p:spPr>
          <a:xfrm>
            <a:off x="7231113" y="1575218"/>
            <a:ext cx="420181" cy="456196"/>
          </a:xfrm>
          <a:custGeom>
            <a:avLst/>
            <a:gdLst>
              <a:gd name="connsiteX0" fmla="*/ 347810 w 666750"/>
              <a:gd name="connsiteY0" fmla="*/ 683005 h 723900"/>
              <a:gd name="connsiteX1" fmla="*/ 348866 w 666750"/>
              <a:gd name="connsiteY1" fmla="*/ 523024 h 723900"/>
              <a:gd name="connsiteX2" fmla="*/ 276336 w 666750"/>
              <a:gd name="connsiteY2" fmla="*/ 392641 h 723900"/>
              <a:gd name="connsiteX3" fmla="*/ 273899 w 666750"/>
              <a:gd name="connsiteY3" fmla="*/ 535693 h 723900"/>
              <a:gd name="connsiteX4" fmla="*/ 232375 w 666750"/>
              <a:gd name="connsiteY4" fmla="*/ 576955 h 723900"/>
              <a:gd name="connsiteX5" fmla="*/ 50201 w 666750"/>
              <a:gd name="connsiteY5" fmla="*/ 579141 h 723900"/>
              <a:gd name="connsiteX6" fmla="*/ 49168 w 666750"/>
              <a:gd name="connsiteY6" fmla="*/ 579197 h 723900"/>
              <a:gd name="connsiteX7" fmla="*/ 18779 w 666750"/>
              <a:gd name="connsiteY7" fmla="*/ 566202 h 723900"/>
              <a:gd name="connsiteX8" fmla="*/ 7189 w 666750"/>
              <a:gd name="connsiteY8" fmla="*/ 535209 h 723900"/>
              <a:gd name="connsiteX9" fmla="*/ 50787 w 666750"/>
              <a:gd name="connsiteY9" fmla="*/ 495081 h 723900"/>
              <a:gd name="connsiteX10" fmla="*/ 190545 w 666750"/>
              <a:gd name="connsiteY10" fmla="*/ 493453 h 723900"/>
              <a:gd name="connsiteX11" fmla="*/ 192852 w 666750"/>
              <a:gd name="connsiteY11" fmla="*/ 337844 h 723900"/>
              <a:gd name="connsiteX12" fmla="*/ 216051 w 666750"/>
              <a:gd name="connsiteY12" fmla="*/ 255491 h 723900"/>
              <a:gd name="connsiteX13" fmla="*/ 323644 w 666750"/>
              <a:gd name="connsiteY13" fmla="*/ 91487 h 723900"/>
              <a:gd name="connsiteX14" fmla="*/ 253658 w 666750"/>
              <a:gd name="connsiteY14" fmla="*/ 91752 h 723900"/>
              <a:gd name="connsiteX15" fmla="*/ 186778 w 666750"/>
              <a:gd name="connsiteY15" fmla="*/ 189951 h 723900"/>
              <a:gd name="connsiteX16" fmla="*/ 159868 w 666750"/>
              <a:gd name="connsiteY16" fmla="*/ 207606 h 723900"/>
              <a:gd name="connsiteX17" fmla="*/ 128354 w 666750"/>
              <a:gd name="connsiteY17" fmla="*/ 201039 h 723900"/>
              <a:gd name="connsiteX18" fmla="*/ 110708 w 666750"/>
              <a:gd name="connsiteY18" fmla="*/ 174124 h 723900"/>
              <a:gd name="connsiteX19" fmla="*/ 117276 w 666750"/>
              <a:gd name="connsiteY19" fmla="*/ 142619 h 723900"/>
              <a:gd name="connsiteX20" fmla="*/ 196620 w 666750"/>
              <a:gd name="connsiteY20" fmla="*/ 26128 h 723900"/>
              <a:gd name="connsiteX21" fmla="*/ 231213 w 666750"/>
              <a:gd name="connsiteY21" fmla="*/ 7743 h 723900"/>
              <a:gd name="connsiteX22" fmla="*/ 367079 w 666750"/>
              <a:gd name="connsiteY22" fmla="*/ 7232 h 723900"/>
              <a:gd name="connsiteX23" fmla="*/ 433926 w 666750"/>
              <a:gd name="connsiteY23" fmla="*/ 23110 h 723900"/>
              <a:gd name="connsiteX24" fmla="*/ 499922 w 666750"/>
              <a:gd name="connsiteY24" fmla="*/ 73628 h 723900"/>
              <a:gd name="connsiteX25" fmla="*/ 537450 w 666750"/>
              <a:gd name="connsiteY25" fmla="*/ 146400 h 723900"/>
              <a:gd name="connsiteX26" fmla="*/ 536464 w 666750"/>
              <a:gd name="connsiteY26" fmla="*/ 254212 h 723900"/>
              <a:gd name="connsiteX27" fmla="*/ 616859 w 666750"/>
              <a:gd name="connsiteY27" fmla="*/ 254249 h 723900"/>
              <a:gd name="connsiteX28" fmla="*/ 616854 w 666750"/>
              <a:gd name="connsiteY28" fmla="*/ 254249 h 723900"/>
              <a:gd name="connsiteX29" fmla="*/ 658991 w 666750"/>
              <a:gd name="connsiteY29" fmla="*/ 287587 h 723900"/>
              <a:gd name="connsiteX30" fmla="*/ 650378 w 666750"/>
              <a:gd name="connsiteY30" fmla="*/ 322915 h 723900"/>
              <a:gd name="connsiteX31" fmla="*/ 617798 w 666750"/>
              <a:gd name="connsiteY31" fmla="*/ 338347 h 723900"/>
              <a:gd name="connsiteX32" fmla="*/ 494006 w 666750"/>
              <a:gd name="connsiteY32" fmla="*/ 338291 h 723900"/>
              <a:gd name="connsiteX33" fmla="*/ 464166 w 666750"/>
              <a:gd name="connsiteY33" fmla="*/ 325836 h 723900"/>
              <a:gd name="connsiteX34" fmla="*/ 451981 w 666750"/>
              <a:gd name="connsiteY34" fmla="*/ 295856 h 723900"/>
              <a:gd name="connsiteX35" fmla="*/ 452869 w 666750"/>
              <a:gd name="connsiteY35" fmla="*/ 198318 h 723900"/>
              <a:gd name="connsiteX36" fmla="*/ 352173 w 666750"/>
              <a:gd name="connsiteY36" fmla="*/ 356029 h 723900"/>
              <a:gd name="connsiteX37" fmla="*/ 427731 w 666750"/>
              <a:gd name="connsiteY37" fmla="*/ 491798 h 723900"/>
              <a:gd name="connsiteX38" fmla="*/ 433038 w 666750"/>
              <a:gd name="connsiteY38" fmla="*/ 512522 h 723900"/>
              <a:gd name="connsiteX39" fmla="*/ 431908 w 666750"/>
              <a:gd name="connsiteY39" fmla="*/ 683563 h 723900"/>
              <a:gd name="connsiteX40" fmla="*/ 389580 w 666750"/>
              <a:gd name="connsiteY40" fmla="*/ 725328 h 723900"/>
              <a:gd name="connsiteX41" fmla="*/ 347810 w 666750"/>
              <a:gd name="connsiteY41" fmla="*/ 683005 h 723900"/>
              <a:gd name="connsiteX42" fmla="*/ 455580 w 666750"/>
              <a:gd name="connsiteY42" fmla="*/ 189188 h 723900"/>
              <a:gd name="connsiteX43" fmla="*/ 462394 w 666750"/>
              <a:gd name="connsiteY43" fmla="*/ 198402 h 723900"/>
              <a:gd name="connsiteX44" fmla="*/ 461506 w 666750"/>
              <a:gd name="connsiteY44" fmla="*/ 295940 h 723900"/>
              <a:gd name="connsiteX45" fmla="*/ 470933 w 666750"/>
              <a:gd name="connsiteY45" fmla="*/ 319129 h 723900"/>
              <a:gd name="connsiteX46" fmla="*/ 494011 w 666750"/>
              <a:gd name="connsiteY46" fmla="*/ 328766 h 723900"/>
              <a:gd name="connsiteX47" fmla="*/ 617822 w 666750"/>
              <a:gd name="connsiteY47" fmla="*/ 328822 h 723900"/>
              <a:gd name="connsiteX48" fmla="*/ 643006 w 666750"/>
              <a:gd name="connsiteY48" fmla="*/ 316878 h 723900"/>
              <a:gd name="connsiteX49" fmla="*/ 649652 w 666750"/>
              <a:gd name="connsiteY49" fmla="*/ 289475 h 723900"/>
              <a:gd name="connsiteX50" fmla="*/ 616854 w 666750"/>
              <a:gd name="connsiteY50" fmla="*/ 263774 h 723900"/>
              <a:gd name="connsiteX51" fmla="*/ 526855 w 666750"/>
              <a:gd name="connsiteY51" fmla="*/ 263728 h 723900"/>
              <a:gd name="connsiteX52" fmla="*/ 527934 w 666750"/>
              <a:gd name="connsiteY52" fmla="*/ 146093 h 723900"/>
              <a:gd name="connsiteX53" fmla="*/ 494327 w 666750"/>
              <a:gd name="connsiteY53" fmla="*/ 81330 h 723900"/>
              <a:gd name="connsiteX54" fmla="*/ 428410 w 666750"/>
              <a:gd name="connsiteY54" fmla="*/ 30877 h 723900"/>
              <a:gd name="connsiteX55" fmla="*/ 367251 w 666750"/>
              <a:gd name="connsiteY55" fmla="*/ 16752 h 723900"/>
              <a:gd name="connsiteX56" fmla="*/ 231250 w 666750"/>
              <a:gd name="connsiteY56" fmla="*/ 17268 h 723900"/>
              <a:gd name="connsiteX57" fmla="*/ 204489 w 666750"/>
              <a:gd name="connsiteY57" fmla="*/ 31486 h 723900"/>
              <a:gd name="connsiteX58" fmla="*/ 125145 w 666750"/>
              <a:gd name="connsiteY58" fmla="*/ 147981 h 723900"/>
              <a:gd name="connsiteX59" fmla="*/ 120075 w 666750"/>
              <a:gd name="connsiteY59" fmla="*/ 172352 h 723900"/>
              <a:gd name="connsiteX60" fmla="*/ 133712 w 666750"/>
              <a:gd name="connsiteY60" fmla="*/ 193169 h 723900"/>
              <a:gd name="connsiteX61" fmla="*/ 158092 w 666750"/>
              <a:gd name="connsiteY61" fmla="*/ 198243 h 723900"/>
              <a:gd name="connsiteX62" fmla="*/ 178909 w 666750"/>
              <a:gd name="connsiteY62" fmla="*/ 184593 h 723900"/>
              <a:gd name="connsiteX63" fmla="*/ 245789 w 666750"/>
              <a:gd name="connsiteY63" fmla="*/ 86394 h 723900"/>
              <a:gd name="connsiteX64" fmla="*/ 253621 w 666750"/>
              <a:gd name="connsiteY64" fmla="*/ 82227 h 723900"/>
              <a:gd name="connsiteX65" fmla="*/ 323598 w 666750"/>
              <a:gd name="connsiteY65" fmla="*/ 81962 h 723900"/>
              <a:gd name="connsiteX66" fmla="*/ 332016 w 666750"/>
              <a:gd name="connsiteY66" fmla="*/ 86943 h 723900"/>
              <a:gd name="connsiteX67" fmla="*/ 331607 w 666750"/>
              <a:gd name="connsiteY67" fmla="*/ 96710 h 723900"/>
              <a:gd name="connsiteX68" fmla="*/ 223985 w 666750"/>
              <a:gd name="connsiteY68" fmla="*/ 260761 h 723900"/>
              <a:gd name="connsiteX69" fmla="*/ 202377 w 666750"/>
              <a:gd name="connsiteY69" fmla="*/ 337844 h 723900"/>
              <a:gd name="connsiteX70" fmla="*/ 200070 w 666750"/>
              <a:gd name="connsiteY70" fmla="*/ 493621 h 723900"/>
              <a:gd name="connsiteX71" fmla="*/ 190666 w 666750"/>
              <a:gd name="connsiteY71" fmla="*/ 502904 h 723900"/>
              <a:gd name="connsiteX72" fmla="*/ 50898 w 666750"/>
              <a:gd name="connsiteY72" fmla="*/ 504606 h 723900"/>
              <a:gd name="connsiteX73" fmla="*/ 16696 w 666750"/>
              <a:gd name="connsiteY73" fmla="*/ 535637 h 723900"/>
              <a:gd name="connsiteX74" fmla="*/ 25672 w 666750"/>
              <a:gd name="connsiteY74" fmla="*/ 559617 h 723900"/>
              <a:gd name="connsiteX75" fmla="*/ 49512 w 666750"/>
              <a:gd name="connsiteY75" fmla="*/ 569653 h 723900"/>
              <a:gd name="connsiteX76" fmla="*/ 49587 w 666750"/>
              <a:gd name="connsiteY76" fmla="*/ 569653 h 723900"/>
              <a:gd name="connsiteX77" fmla="*/ 232264 w 666750"/>
              <a:gd name="connsiteY77" fmla="*/ 567430 h 723900"/>
              <a:gd name="connsiteX78" fmla="*/ 264374 w 666750"/>
              <a:gd name="connsiteY78" fmla="*/ 535516 h 723900"/>
              <a:gd name="connsiteX79" fmla="*/ 266811 w 666750"/>
              <a:gd name="connsiteY79" fmla="*/ 392492 h 723900"/>
              <a:gd name="connsiteX80" fmla="*/ 273982 w 666750"/>
              <a:gd name="connsiteY80" fmla="*/ 383432 h 723900"/>
              <a:gd name="connsiteX81" fmla="*/ 284651 w 666750"/>
              <a:gd name="connsiteY81" fmla="*/ 388055 h 723900"/>
              <a:gd name="connsiteX82" fmla="*/ 357186 w 666750"/>
              <a:gd name="connsiteY82" fmla="*/ 518382 h 723900"/>
              <a:gd name="connsiteX83" fmla="*/ 358396 w 666750"/>
              <a:gd name="connsiteY83" fmla="*/ 523089 h 723900"/>
              <a:gd name="connsiteX84" fmla="*/ 357335 w 666750"/>
              <a:gd name="connsiteY84" fmla="*/ 683060 h 723900"/>
              <a:gd name="connsiteX85" fmla="*/ 389868 w 666750"/>
              <a:gd name="connsiteY85" fmla="*/ 715803 h 723900"/>
              <a:gd name="connsiteX86" fmla="*/ 422383 w 666750"/>
              <a:gd name="connsiteY86" fmla="*/ 683507 h 723900"/>
              <a:gd name="connsiteX87" fmla="*/ 423513 w 666750"/>
              <a:gd name="connsiteY87" fmla="*/ 512466 h 723900"/>
              <a:gd name="connsiteX88" fmla="*/ 419406 w 666750"/>
              <a:gd name="connsiteY88" fmla="*/ 496430 h 723900"/>
              <a:gd name="connsiteX89" fmla="*/ 341085 w 666750"/>
              <a:gd name="connsiteY89" fmla="*/ 355694 h 723900"/>
              <a:gd name="connsiteX90" fmla="*/ 444842 w 666750"/>
              <a:gd name="connsiteY90" fmla="*/ 193193 h 723900"/>
              <a:gd name="connsiteX91" fmla="*/ 452823 w 666750"/>
              <a:gd name="connsiteY91" fmla="*/ 188784 h 723900"/>
              <a:gd name="connsiteX92" fmla="*/ 455580 w 666750"/>
              <a:gd name="connsiteY92" fmla="*/ 189188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666750" h="723900">
                <a:moveTo>
                  <a:pt x="347810" y="683005"/>
                </a:moveTo>
                <a:lnTo>
                  <a:pt x="348866" y="523024"/>
                </a:lnTo>
                <a:lnTo>
                  <a:pt x="276336" y="392641"/>
                </a:lnTo>
                <a:cubicBezTo>
                  <a:pt x="275471" y="450991"/>
                  <a:pt x="273992" y="530977"/>
                  <a:pt x="273899" y="535693"/>
                </a:cubicBezTo>
                <a:cubicBezTo>
                  <a:pt x="273471" y="558566"/>
                  <a:pt x="255239" y="576695"/>
                  <a:pt x="232375" y="576955"/>
                </a:cubicBezTo>
                <a:lnTo>
                  <a:pt x="50201" y="579141"/>
                </a:lnTo>
                <a:lnTo>
                  <a:pt x="49168" y="579197"/>
                </a:lnTo>
                <a:cubicBezTo>
                  <a:pt x="37587" y="579197"/>
                  <a:pt x="26797" y="574583"/>
                  <a:pt x="18779" y="566202"/>
                </a:cubicBezTo>
                <a:cubicBezTo>
                  <a:pt x="10780" y="557831"/>
                  <a:pt x="6659" y="546818"/>
                  <a:pt x="7189" y="535209"/>
                </a:cubicBezTo>
                <a:cubicBezTo>
                  <a:pt x="8185" y="512987"/>
                  <a:pt x="27337" y="495360"/>
                  <a:pt x="50787" y="495081"/>
                </a:cubicBezTo>
                <a:lnTo>
                  <a:pt x="190545" y="493453"/>
                </a:lnTo>
                <a:cubicBezTo>
                  <a:pt x="191411" y="445010"/>
                  <a:pt x="192852" y="360373"/>
                  <a:pt x="192852" y="337844"/>
                </a:cubicBezTo>
                <a:cubicBezTo>
                  <a:pt x="192852" y="292340"/>
                  <a:pt x="212200" y="261226"/>
                  <a:pt x="216051" y="255491"/>
                </a:cubicBezTo>
                <a:lnTo>
                  <a:pt x="323644" y="91487"/>
                </a:lnTo>
                <a:lnTo>
                  <a:pt x="253658" y="91752"/>
                </a:lnTo>
                <a:lnTo>
                  <a:pt x="186778" y="189951"/>
                </a:lnTo>
                <a:cubicBezTo>
                  <a:pt x="180462" y="199239"/>
                  <a:pt x="170909" y="205513"/>
                  <a:pt x="159868" y="207606"/>
                </a:cubicBezTo>
                <a:cubicBezTo>
                  <a:pt x="148846" y="209675"/>
                  <a:pt x="137646" y="207364"/>
                  <a:pt x="128354" y="201039"/>
                </a:cubicBezTo>
                <a:cubicBezTo>
                  <a:pt x="119071" y="194718"/>
                  <a:pt x="112811" y="185161"/>
                  <a:pt x="110708" y="174124"/>
                </a:cubicBezTo>
                <a:cubicBezTo>
                  <a:pt x="108616" y="163087"/>
                  <a:pt x="110950" y="151897"/>
                  <a:pt x="117276" y="142619"/>
                </a:cubicBezTo>
                <a:lnTo>
                  <a:pt x="196620" y="26128"/>
                </a:lnTo>
                <a:cubicBezTo>
                  <a:pt x="204414" y="14669"/>
                  <a:pt x="217344" y="7795"/>
                  <a:pt x="231213" y="7743"/>
                </a:cubicBezTo>
                <a:lnTo>
                  <a:pt x="367079" y="7232"/>
                </a:lnTo>
                <a:cubicBezTo>
                  <a:pt x="379911" y="6776"/>
                  <a:pt x="412034" y="7543"/>
                  <a:pt x="433926" y="23110"/>
                </a:cubicBezTo>
                <a:cubicBezTo>
                  <a:pt x="444930" y="30928"/>
                  <a:pt x="480160" y="58233"/>
                  <a:pt x="499922" y="73628"/>
                </a:cubicBezTo>
                <a:cubicBezTo>
                  <a:pt x="529478" y="93613"/>
                  <a:pt x="538682" y="124439"/>
                  <a:pt x="537450" y="146400"/>
                </a:cubicBezTo>
                <a:lnTo>
                  <a:pt x="536464" y="254212"/>
                </a:lnTo>
                <a:lnTo>
                  <a:pt x="616859" y="254249"/>
                </a:lnTo>
                <a:lnTo>
                  <a:pt x="616854" y="254249"/>
                </a:lnTo>
                <a:cubicBezTo>
                  <a:pt x="637369" y="254254"/>
                  <a:pt x="655094" y="268276"/>
                  <a:pt x="658991" y="287587"/>
                </a:cubicBezTo>
                <a:cubicBezTo>
                  <a:pt x="661540" y="300233"/>
                  <a:pt x="658401" y="313102"/>
                  <a:pt x="650378" y="322915"/>
                </a:cubicBezTo>
                <a:cubicBezTo>
                  <a:pt x="642350" y="332719"/>
                  <a:pt x="630481" y="338347"/>
                  <a:pt x="617798" y="338347"/>
                </a:cubicBezTo>
                <a:lnTo>
                  <a:pt x="494006" y="338291"/>
                </a:lnTo>
                <a:cubicBezTo>
                  <a:pt x="482872" y="338281"/>
                  <a:pt x="471993" y="333742"/>
                  <a:pt x="464166" y="325836"/>
                </a:cubicBezTo>
                <a:cubicBezTo>
                  <a:pt x="456325" y="317929"/>
                  <a:pt x="451883" y="307000"/>
                  <a:pt x="451981" y="295856"/>
                </a:cubicBezTo>
                <a:lnTo>
                  <a:pt x="452869" y="198318"/>
                </a:lnTo>
                <a:lnTo>
                  <a:pt x="352173" y="356029"/>
                </a:lnTo>
                <a:lnTo>
                  <a:pt x="427731" y="491798"/>
                </a:lnTo>
                <a:cubicBezTo>
                  <a:pt x="431252" y="498123"/>
                  <a:pt x="433084" y="505294"/>
                  <a:pt x="433038" y="512522"/>
                </a:cubicBezTo>
                <a:lnTo>
                  <a:pt x="431908" y="683563"/>
                </a:lnTo>
                <a:cubicBezTo>
                  <a:pt x="431754" y="706594"/>
                  <a:pt x="412899" y="725328"/>
                  <a:pt x="389580" y="725328"/>
                </a:cubicBezTo>
                <a:cubicBezTo>
                  <a:pt x="366400" y="725169"/>
                  <a:pt x="347666" y="706185"/>
                  <a:pt x="347810" y="683005"/>
                </a:cubicBezTo>
                <a:close/>
                <a:moveTo>
                  <a:pt x="455580" y="189188"/>
                </a:moveTo>
                <a:cubicBezTo>
                  <a:pt x="459692" y="190407"/>
                  <a:pt x="462431" y="194113"/>
                  <a:pt x="462394" y="198402"/>
                </a:cubicBezTo>
                <a:lnTo>
                  <a:pt x="461506" y="295940"/>
                </a:lnTo>
                <a:cubicBezTo>
                  <a:pt x="461427" y="304563"/>
                  <a:pt x="464864" y="313009"/>
                  <a:pt x="470933" y="319129"/>
                </a:cubicBezTo>
                <a:cubicBezTo>
                  <a:pt x="476988" y="325240"/>
                  <a:pt x="485402" y="328756"/>
                  <a:pt x="494011" y="328766"/>
                </a:cubicBezTo>
                <a:lnTo>
                  <a:pt x="617822" y="328822"/>
                </a:lnTo>
                <a:cubicBezTo>
                  <a:pt x="627617" y="328822"/>
                  <a:pt x="636793" y="324468"/>
                  <a:pt x="643006" y="316878"/>
                </a:cubicBezTo>
                <a:cubicBezTo>
                  <a:pt x="649215" y="309288"/>
                  <a:pt x="651638" y="299302"/>
                  <a:pt x="649652" y="289475"/>
                </a:cubicBezTo>
                <a:cubicBezTo>
                  <a:pt x="646648" y="274588"/>
                  <a:pt x="632853" y="263779"/>
                  <a:pt x="616854" y="263774"/>
                </a:cubicBezTo>
                <a:lnTo>
                  <a:pt x="526855" y="263728"/>
                </a:lnTo>
                <a:lnTo>
                  <a:pt x="527934" y="146093"/>
                </a:lnTo>
                <a:cubicBezTo>
                  <a:pt x="529027" y="126518"/>
                  <a:pt x="520842" y="99273"/>
                  <a:pt x="494327" y="81330"/>
                </a:cubicBezTo>
                <a:cubicBezTo>
                  <a:pt x="474370" y="65796"/>
                  <a:pt x="439270" y="38588"/>
                  <a:pt x="428410" y="30877"/>
                </a:cubicBezTo>
                <a:cubicBezTo>
                  <a:pt x="408867" y="16985"/>
                  <a:pt x="379204" y="16394"/>
                  <a:pt x="367251" y="16752"/>
                </a:cubicBezTo>
                <a:lnTo>
                  <a:pt x="231250" y="17268"/>
                </a:lnTo>
                <a:cubicBezTo>
                  <a:pt x="220525" y="17310"/>
                  <a:pt x="210526" y="22626"/>
                  <a:pt x="204489" y="31486"/>
                </a:cubicBezTo>
                <a:lnTo>
                  <a:pt x="125145" y="147981"/>
                </a:lnTo>
                <a:cubicBezTo>
                  <a:pt x="120252" y="155158"/>
                  <a:pt x="118448" y="163813"/>
                  <a:pt x="120075" y="172352"/>
                </a:cubicBezTo>
                <a:cubicBezTo>
                  <a:pt x="121694" y="180886"/>
                  <a:pt x="126540" y="188277"/>
                  <a:pt x="133712" y="193169"/>
                </a:cubicBezTo>
                <a:cubicBezTo>
                  <a:pt x="140893" y="198057"/>
                  <a:pt x="149553" y="199885"/>
                  <a:pt x="158092" y="198243"/>
                </a:cubicBezTo>
                <a:cubicBezTo>
                  <a:pt x="166631" y="196625"/>
                  <a:pt x="174026" y="191779"/>
                  <a:pt x="178909" y="184593"/>
                </a:cubicBezTo>
                <a:lnTo>
                  <a:pt x="245789" y="86394"/>
                </a:lnTo>
                <a:cubicBezTo>
                  <a:pt x="247547" y="83804"/>
                  <a:pt x="250477" y="82246"/>
                  <a:pt x="253621" y="82227"/>
                </a:cubicBezTo>
                <a:lnTo>
                  <a:pt x="323598" y="81962"/>
                </a:lnTo>
                <a:cubicBezTo>
                  <a:pt x="327458" y="81874"/>
                  <a:pt x="330337" y="83850"/>
                  <a:pt x="332016" y="86943"/>
                </a:cubicBezTo>
                <a:cubicBezTo>
                  <a:pt x="333690" y="90031"/>
                  <a:pt x="333537" y="93775"/>
                  <a:pt x="331607" y="96710"/>
                </a:cubicBezTo>
                <a:lnTo>
                  <a:pt x="223985" y="260761"/>
                </a:lnTo>
                <a:cubicBezTo>
                  <a:pt x="220376" y="266132"/>
                  <a:pt x="202377" y="295098"/>
                  <a:pt x="202377" y="337844"/>
                </a:cubicBezTo>
                <a:cubicBezTo>
                  <a:pt x="202377" y="360447"/>
                  <a:pt x="200936" y="445149"/>
                  <a:pt x="200070" y="493621"/>
                </a:cubicBezTo>
                <a:cubicBezTo>
                  <a:pt x="199977" y="498755"/>
                  <a:pt x="195857" y="502829"/>
                  <a:pt x="190666" y="502904"/>
                </a:cubicBezTo>
                <a:lnTo>
                  <a:pt x="50898" y="504606"/>
                </a:lnTo>
                <a:cubicBezTo>
                  <a:pt x="32797" y="504820"/>
                  <a:pt x="17458" y="518745"/>
                  <a:pt x="16696" y="535637"/>
                </a:cubicBezTo>
                <a:cubicBezTo>
                  <a:pt x="16296" y="544632"/>
                  <a:pt x="19477" y="553143"/>
                  <a:pt x="25672" y="559617"/>
                </a:cubicBezTo>
                <a:cubicBezTo>
                  <a:pt x="31848" y="566081"/>
                  <a:pt x="40164" y="569653"/>
                  <a:pt x="49512" y="569653"/>
                </a:cubicBezTo>
                <a:cubicBezTo>
                  <a:pt x="49540" y="569653"/>
                  <a:pt x="49559" y="569653"/>
                  <a:pt x="49587" y="569653"/>
                </a:cubicBezTo>
                <a:lnTo>
                  <a:pt x="232264" y="567430"/>
                </a:lnTo>
                <a:cubicBezTo>
                  <a:pt x="249947" y="567226"/>
                  <a:pt x="264048" y="553208"/>
                  <a:pt x="264374" y="535516"/>
                </a:cubicBezTo>
                <a:cubicBezTo>
                  <a:pt x="264467" y="530791"/>
                  <a:pt x="265946" y="450823"/>
                  <a:pt x="266811" y="392492"/>
                </a:cubicBezTo>
                <a:cubicBezTo>
                  <a:pt x="266876" y="388139"/>
                  <a:pt x="269759" y="384493"/>
                  <a:pt x="273982" y="383432"/>
                </a:cubicBezTo>
                <a:cubicBezTo>
                  <a:pt x="278196" y="382353"/>
                  <a:pt x="282521" y="384213"/>
                  <a:pt x="284651" y="388055"/>
                </a:cubicBezTo>
                <a:lnTo>
                  <a:pt x="357186" y="518382"/>
                </a:lnTo>
                <a:cubicBezTo>
                  <a:pt x="357986" y="519815"/>
                  <a:pt x="358405" y="521442"/>
                  <a:pt x="358396" y="523089"/>
                </a:cubicBezTo>
                <a:lnTo>
                  <a:pt x="357335" y="683060"/>
                </a:lnTo>
                <a:cubicBezTo>
                  <a:pt x="357224" y="700994"/>
                  <a:pt x="371716" y="715682"/>
                  <a:pt x="389868" y="715803"/>
                </a:cubicBezTo>
                <a:cubicBezTo>
                  <a:pt x="407681" y="715803"/>
                  <a:pt x="422266" y="701310"/>
                  <a:pt x="422383" y="683507"/>
                </a:cubicBezTo>
                <a:lnTo>
                  <a:pt x="423513" y="512466"/>
                </a:lnTo>
                <a:cubicBezTo>
                  <a:pt x="423550" y="506866"/>
                  <a:pt x="422131" y="501323"/>
                  <a:pt x="419406" y="496430"/>
                </a:cubicBezTo>
                <a:lnTo>
                  <a:pt x="341085" y="355694"/>
                </a:lnTo>
                <a:lnTo>
                  <a:pt x="444842" y="193193"/>
                </a:lnTo>
                <a:cubicBezTo>
                  <a:pt x="446637" y="190379"/>
                  <a:pt x="449641" y="188784"/>
                  <a:pt x="452823" y="188784"/>
                </a:cubicBezTo>
                <a:cubicBezTo>
                  <a:pt x="453739" y="188784"/>
                  <a:pt x="454664" y="188914"/>
                  <a:pt x="455580" y="189188"/>
                </a:cubicBezTo>
                <a:close/>
              </a:path>
            </a:pathLst>
          </a:custGeom>
          <a:solidFill>
            <a:schemeClr val="bg1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939" dirty="0"/>
          </a:p>
        </p:txBody>
      </p:sp>
      <p:sp>
        <p:nvSpPr>
          <p:cNvPr id="27" name="Shape0_20220526_193751">
            <a:extLst>
              <a:ext uri="{FF2B5EF4-FFF2-40B4-BE49-F238E27FC236}">
                <a16:creationId xmlns:a16="http://schemas.microsoft.com/office/drawing/2014/main" id="{B30E2F69-4D05-E0CE-2D67-E611EF5AD35F}"/>
              </a:ext>
            </a:extLst>
          </p:cNvPr>
          <p:cNvSpPr/>
          <p:nvPr/>
        </p:nvSpPr>
        <p:spPr>
          <a:xfrm>
            <a:off x="617227" y="1366397"/>
            <a:ext cx="3475918" cy="4449298"/>
          </a:xfrm>
          <a:prstGeom prst="rect">
            <a:avLst/>
          </a:prstGeom>
          <a:noFill/>
          <a:ln w="9525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28" name="Google Shape;634;p20">
            <a:extLst>
              <a:ext uri="{FF2B5EF4-FFF2-40B4-BE49-F238E27FC236}">
                <a16:creationId xmlns:a16="http://schemas.microsoft.com/office/drawing/2014/main" id="{93617FEC-F4CD-139C-035D-877D823EDFB5}"/>
              </a:ext>
            </a:extLst>
          </p:cNvPr>
          <p:cNvSpPr/>
          <p:nvPr/>
        </p:nvSpPr>
        <p:spPr>
          <a:xfrm>
            <a:off x="723717" y="1578180"/>
            <a:ext cx="202802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400" b="1" dirty="0">
                <a:solidFill>
                  <a:schemeClr val="tx1">
                    <a:lumMod val="100000"/>
                  </a:schemeClr>
                </a:solidFill>
              </a:rPr>
              <a:t>30</a:t>
            </a:r>
            <a:r>
              <a:rPr lang="en-IN" sz="2400" dirty="0">
                <a:solidFill>
                  <a:schemeClr val="tx1">
                    <a:lumMod val="100000"/>
                  </a:schemeClr>
                </a:solidFill>
              </a:rPr>
              <a:t> DAY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9" name="Google Shape;637;p20">
            <a:extLst>
              <a:ext uri="{FF2B5EF4-FFF2-40B4-BE49-F238E27FC236}">
                <a16:creationId xmlns:a16="http://schemas.microsoft.com/office/drawing/2014/main" id="{7454FE62-6049-493C-5AA5-04B7ED774BFF}"/>
              </a:ext>
            </a:extLst>
          </p:cNvPr>
          <p:cNvSpPr/>
          <p:nvPr/>
        </p:nvSpPr>
        <p:spPr>
          <a:xfrm>
            <a:off x="3300248" y="1366397"/>
            <a:ext cx="792899" cy="7928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10770CFF-615D-5FC5-20E0-B1963E230EA4}"/>
              </a:ext>
            </a:extLst>
          </p:cNvPr>
          <p:cNvSpPr/>
          <p:nvPr/>
        </p:nvSpPr>
        <p:spPr>
          <a:xfrm>
            <a:off x="3533487" y="1571503"/>
            <a:ext cx="326423" cy="489631"/>
          </a:xfrm>
          <a:custGeom>
            <a:avLst/>
            <a:gdLst>
              <a:gd name="connsiteX0" fmla="*/ 64244 w 476250"/>
              <a:gd name="connsiteY0" fmla="*/ 708403 h 714375"/>
              <a:gd name="connsiteX1" fmla="*/ 50747 w 476250"/>
              <a:gd name="connsiteY1" fmla="*/ 706479 h 714375"/>
              <a:gd name="connsiteX2" fmla="*/ 15142 w 476250"/>
              <a:gd name="connsiteY2" fmla="*/ 676237 h 714375"/>
              <a:gd name="connsiteX3" fmla="*/ 14942 w 476250"/>
              <a:gd name="connsiteY3" fmla="*/ 635908 h 714375"/>
              <a:gd name="connsiteX4" fmla="*/ 15419 w 476250"/>
              <a:gd name="connsiteY4" fmla="*/ 635003 h 714375"/>
              <a:gd name="connsiteX5" fmla="*/ 106316 w 476250"/>
              <a:gd name="connsiteY5" fmla="*/ 484327 h 714375"/>
              <a:gd name="connsiteX6" fmla="*/ 145883 w 476250"/>
              <a:gd name="connsiteY6" fmla="*/ 340043 h 714375"/>
              <a:gd name="connsiteX7" fmla="*/ 140196 w 476250"/>
              <a:gd name="connsiteY7" fmla="*/ 311096 h 714375"/>
              <a:gd name="connsiteX8" fmla="*/ 139863 w 476250"/>
              <a:gd name="connsiteY8" fmla="*/ 310077 h 714375"/>
              <a:gd name="connsiteX9" fmla="*/ 137253 w 476250"/>
              <a:gd name="connsiteY9" fmla="*/ 257842 h 714375"/>
              <a:gd name="connsiteX10" fmla="*/ 156303 w 476250"/>
              <a:gd name="connsiteY10" fmla="*/ 148438 h 714375"/>
              <a:gd name="connsiteX11" fmla="*/ 119908 w 476250"/>
              <a:gd name="connsiteY11" fmla="*/ 180032 h 714375"/>
              <a:gd name="connsiteX12" fmla="*/ 96381 w 476250"/>
              <a:gd name="connsiteY12" fmla="*/ 280407 h 714375"/>
              <a:gd name="connsiteX13" fmla="*/ 51614 w 476250"/>
              <a:gd name="connsiteY13" fmla="*/ 325679 h 714375"/>
              <a:gd name="connsiteX14" fmla="*/ 51604 w 476250"/>
              <a:gd name="connsiteY14" fmla="*/ 325679 h 714375"/>
              <a:gd name="connsiteX15" fmla="*/ 18438 w 476250"/>
              <a:gd name="connsiteY15" fmla="*/ 310953 h 714375"/>
              <a:gd name="connsiteX16" fmla="*/ 7322 w 476250"/>
              <a:gd name="connsiteY16" fmla="*/ 278835 h 714375"/>
              <a:gd name="connsiteX17" fmla="*/ 7551 w 476250"/>
              <a:gd name="connsiteY17" fmla="*/ 277501 h 714375"/>
              <a:gd name="connsiteX18" fmla="*/ 38717 w 476250"/>
              <a:gd name="connsiteY18" fmla="*/ 149095 h 714375"/>
              <a:gd name="connsiteX19" fmla="*/ 61262 w 476250"/>
              <a:gd name="connsiteY19" fmla="*/ 109623 h 714375"/>
              <a:gd name="connsiteX20" fmla="*/ 191660 w 476250"/>
              <a:gd name="connsiteY20" fmla="*/ 16478 h 714375"/>
              <a:gd name="connsiteX21" fmla="*/ 239980 w 476250"/>
              <a:gd name="connsiteY21" fmla="*/ 7144 h 714375"/>
              <a:gd name="connsiteX22" fmla="*/ 325886 w 476250"/>
              <a:gd name="connsiteY22" fmla="*/ 42034 h 714375"/>
              <a:gd name="connsiteX23" fmla="*/ 327467 w 476250"/>
              <a:gd name="connsiteY23" fmla="*/ 44291 h 714375"/>
              <a:gd name="connsiteX24" fmla="*/ 389151 w 476250"/>
              <a:gd name="connsiteY24" fmla="*/ 167554 h 714375"/>
              <a:gd name="connsiteX25" fmla="*/ 459369 w 476250"/>
              <a:gd name="connsiteY25" fmla="*/ 221332 h 714375"/>
              <a:gd name="connsiteX26" fmla="*/ 461151 w 476250"/>
              <a:gd name="connsiteY26" fmla="*/ 287988 h 714375"/>
              <a:gd name="connsiteX27" fmla="*/ 438262 w 476250"/>
              <a:gd name="connsiteY27" fmla="*/ 296418 h 714375"/>
              <a:gd name="connsiteX28" fmla="*/ 398848 w 476250"/>
              <a:gd name="connsiteY28" fmla="*/ 279473 h 714375"/>
              <a:gd name="connsiteX29" fmla="*/ 338211 w 476250"/>
              <a:gd name="connsiteY29" fmla="*/ 233296 h 714375"/>
              <a:gd name="connsiteX30" fmla="*/ 308598 w 476250"/>
              <a:gd name="connsiteY30" fmla="*/ 190910 h 714375"/>
              <a:gd name="connsiteX31" fmla="*/ 294254 w 476250"/>
              <a:gd name="connsiteY31" fmla="*/ 284340 h 714375"/>
              <a:gd name="connsiteX32" fmla="*/ 296835 w 476250"/>
              <a:gd name="connsiteY32" fmla="*/ 301752 h 714375"/>
              <a:gd name="connsiteX33" fmla="*/ 297463 w 476250"/>
              <a:gd name="connsiteY33" fmla="*/ 302638 h 714375"/>
              <a:gd name="connsiteX34" fmla="*/ 395152 w 476250"/>
              <a:gd name="connsiteY34" fmla="*/ 459162 h 714375"/>
              <a:gd name="connsiteX35" fmla="*/ 395438 w 476250"/>
              <a:gd name="connsiteY35" fmla="*/ 461105 h 714375"/>
              <a:gd name="connsiteX36" fmla="*/ 422384 w 476250"/>
              <a:gd name="connsiteY36" fmla="*/ 638766 h 714375"/>
              <a:gd name="connsiteX37" fmla="*/ 386303 w 476250"/>
              <a:gd name="connsiteY37" fmla="*/ 705260 h 714375"/>
              <a:gd name="connsiteX38" fmla="*/ 372930 w 476250"/>
              <a:gd name="connsiteY38" fmla="*/ 706993 h 714375"/>
              <a:gd name="connsiteX39" fmla="*/ 323105 w 476250"/>
              <a:gd name="connsiteY39" fmla="*/ 666969 h 714375"/>
              <a:gd name="connsiteX40" fmla="*/ 299292 w 476250"/>
              <a:gd name="connsiteY40" fmla="*/ 510826 h 714375"/>
              <a:gd name="connsiteX41" fmla="*/ 246267 w 476250"/>
              <a:gd name="connsiteY41" fmla="*/ 422519 h 714375"/>
              <a:gd name="connsiteX42" fmla="*/ 206738 w 476250"/>
              <a:gd name="connsiteY42" fmla="*/ 532267 h 714375"/>
              <a:gd name="connsiteX43" fmla="*/ 117089 w 476250"/>
              <a:gd name="connsiteY43" fmla="*/ 668788 h 714375"/>
              <a:gd name="connsiteX44" fmla="*/ 64244 w 476250"/>
              <a:gd name="connsiteY44" fmla="*/ 708403 h 714375"/>
              <a:gd name="connsiteX45" fmla="*/ 32011 w 476250"/>
              <a:gd name="connsiteY45" fmla="*/ 644376 h 714375"/>
              <a:gd name="connsiteX46" fmla="*/ 32440 w 476250"/>
              <a:gd name="connsiteY46" fmla="*/ 668265 h 714375"/>
              <a:gd name="connsiteX47" fmla="*/ 55852 w 476250"/>
              <a:gd name="connsiteY47" fmla="*/ 688124 h 714375"/>
              <a:gd name="connsiteX48" fmla="*/ 100906 w 476250"/>
              <a:gd name="connsiteY48" fmla="*/ 658740 h 714375"/>
              <a:gd name="connsiteX49" fmla="*/ 190183 w 476250"/>
              <a:gd name="connsiteY49" fmla="*/ 522770 h 714375"/>
              <a:gd name="connsiteX50" fmla="*/ 241876 w 476250"/>
              <a:gd name="connsiteY50" fmla="*/ 378209 h 714375"/>
              <a:gd name="connsiteX51" fmla="*/ 317561 w 476250"/>
              <a:gd name="connsiteY51" fmla="*/ 504234 h 714375"/>
              <a:gd name="connsiteX52" fmla="*/ 341755 w 476250"/>
              <a:gd name="connsiteY52" fmla="*/ 663226 h 714375"/>
              <a:gd name="connsiteX53" fmla="*/ 381531 w 476250"/>
              <a:gd name="connsiteY53" fmla="*/ 686829 h 714375"/>
              <a:gd name="connsiteX54" fmla="*/ 403658 w 476250"/>
              <a:gd name="connsiteY54" fmla="*/ 642223 h 714375"/>
              <a:gd name="connsiteX55" fmla="*/ 376892 w 476250"/>
              <a:gd name="connsiteY55" fmla="*/ 465906 h 714375"/>
              <a:gd name="connsiteX56" fmla="*/ 281500 w 476250"/>
              <a:gd name="connsiteY56" fmla="*/ 313077 h 714375"/>
              <a:gd name="connsiteX57" fmla="*/ 275508 w 476250"/>
              <a:gd name="connsiteY57" fmla="*/ 280959 h 714375"/>
              <a:gd name="connsiteX58" fmla="*/ 298921 w 476250"/>
              <a:gd name="connsiteY58" fmla="*/ 128397 h 714375"/>
              <a:gd name="connsiteX59" fmla="*/ 312246 w 476250"/>
              <a:gd name="connsiteY59" fmla="*/ 156105 h 714375"/>
              <a:gd name="connsiteX60" fmla="*/ 348584 w 476250"/>
              <a:gd name="connsiteY60" fmla="*/ 217341 h 714375"/>
              <a:gd name="connsiteX61" fmla="*/ 349432 w 476250"/>
              <a:gd name="connsiteY61" fmla="*/ 217922 h 714375"/>
              <a:gd name="connsiteX62" fmla="*/ 411973 w 476250"/>
              <a:gd name="connsiteY62" fmla="*/ 265690 h 714375"/>
              <a:gd name="connsiteX63" fmla="*/ 438243 w 476250"/>
              <a:gd name="connsiteY63" fmla="*/ 277378 h 714375"/>
              <a:gd name="connsiteX64" fmla="*/ 448120 w 476250"/>
              <a:gd name="connsiteY64" fmla="*/ 274091 h 714375"/>
              <a:gd name="connsiteX65" fmla="*/ 445920 w 476250"/>
              <a:gd name="connsiteY65" fmla="*/ 234877 h 714375"/>
              <a:gd name="connsiteX66" fmla="*/ 374073 w 476250"/>
              <a:gd name="connsiteY66" fmla="*/ 180032 h 714375"/>
              <a:gd name="connsiteX67" fmla="*/ 311122 w 476250"/>
              <a:gd name="connsiteY67" fmla="*/ 54226 h 714375"/>
              <a:gd name="connsiteX68" fmla="*/ 239980 w 476250"/>
              <a:gd name="connsiteY68" fmla="*/ 26203 h 714375"/>
              <a:gd name="connsiteX69" fmla="*/ 199613 w 476250"/>
              <a:gd name="connsiteY69" fmla="*/ 33842 h 714375"/>
              <a:gd name="connsiteX70" fmla="*/ 71626 w 476250"/>
              <a:gd name="connsiteY70" fmla="*/ 125587 h 714375"/>
              <a:gd name="connsiteX71" fmla="*/ 57376 w 476250"/>
              <a:gd name="connsiteY71" fmla="*/ 152781 h 714375"/>
              <a:gd name="connsiteX72" fmla="*/ 26220 w 476250"/>
              <a:gd name="connsiteY72" fmla="*/ 281273 h 714375"/>
              <a:gd name="connsiteX73" fmla="*/ 32526 w 476250"/>
              <a:gd name="connsiteY73" fmla="*/ 298142 h 714375"/>
              <a:gd name="connsiteX74" fmla="*/ 51242 w 476250"/>
              <a:gd name="connsiteY74" fmla="*/ 306638 h 714375"/>
              <a:gd name="connsiteX75" fmla="*/ 77712 w 476250"/>
              <a:gd name="connsiteY75" fmla="*/ 276606 h 714375"/>
              <a:gd name="connsiteX76" fmla="*/ 102744 w 476250"/>
              <a:gd name="connsiteY76" fmla="*/ 169697 h 714375"/>
              <a:gd name="connsiteX77" fmla="*/ 184230 w 476250"/>
              <a:gd name="connsiteY77" fmla="*/ 98936 h 714375"/>
              <a:gd name="connsiteX78" fmla="*/ 155665 w 476250"/>
              <a:gd name="connsiteY78" fmla="*/ 262633 h 714375"/>
              <a:gd name="connsiteX79" fmla="*/ 158141 w 476250"/>
              <a:gd name="connsiteY79" fmla="*/ 304752 h 714375"/>
              <a:gd name="connsiteX80" fmla="*/ 164418 w 476250"/>
              <a:gd name="connsiteY80" fmla="*/ 344224 h 714375"/>
              <a:gd name="connsiteX81" fmla="*/ 123308 w 476250"/>
              <a:gd name="connsiteY81" fmla="*/ 493043 h 714375"/>
              <a:gd name="connsiteX82" fmla="*/ 32011 w 476250"/>
              <a:gd name="connsiteY82" fmla="*/ 644376 h 714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476250" h="714375">
                <a:moveTo>
                  <a:pt x="64244" y="708403"/>
                </a:moveTo>
                <a:cubicBezTo>
                  <a:pt x="59862" y="708403"/>
                  <a:pt x="55309" y="707765"/>
                  <a:pt x="50747" y="706479"/>
                </a:cubicBezTo>
                <a:cubicBezTo>
                  <a:pt x="35193" y="702164"/>
                  <a:pt x="21877" y="690848"/>
                  <a:pt x="15142" y="676237"/>
                </a:cubicBezTo>
                <a:cubicBezTo>
                  <a:pt x="9056" y="663035"/>
                  <a:pt x="8980" y="648700"/>
                  <a:pt x="14942" y="635908"/>
                </a:cubicBezTo>
                <a:lnTo>
                  <a:pt x="15419" y="635003"/>
                </a:lnTo>
                <a:lnTo>
                  <a:pt x="106316" y="484327"/>
                </a:lnTo>
                <a:lnTo>
                  <a:pt x="145883" y="340043"/>
                </a:lnTo>
                <a:cubicBezTo>
                  <a:pt x="147235" y="332127"/>
                  <a:pt x="142111" y="316030"/>
                  <a:pt x="140196" y="311096"/>
                </a:cubicBezTo>
                <a:lnTo>
                  <a:pt x="139863" y="310077"/>
                </a:lnTo>
                <a:cubicBezTo>
                  <a:pt x="132186" y="280797"/>
                  <a:pt x="136262" y="261690"/>
                  <a:pt x="137253" y="257842"/>
                </a:cubicBezTo>
                <a:lnTo>
                  <a:pt x="156303" y="148438"/>
                </a:lnTo>
                <a:lnTo>
                  <a:pt x="119908" y="180032"/>
                </a:lnTo>
                <a:lnTo>
                  <a:pt x="96381" y="280407"/>
                </a:lnTo>
                <a:cubicBezTo>
                  <a:pt x="91495" y="308372"/>
                  <a:pt x="74721" y="325479"/>
                  <a:pt x="51614" y="325679"/>
                </a:cubicBezTo>
                <a:cubicBezTo>
                  <a:pt x="51614" y="325679"/>
                  <a:pt x="51614" y="325679"/>
                  <a:pt x="51604" y="325679"/>
                </a:cubicBezTo>
                <a:cubicBezTo>
                  <a:pt x="38898" y="325679"/>
                  <a:pt x="26944" y="320316"/>
                  <a:pt x="18438" y="310953"/>
                </a:cubicBezTo>
                <a:cubicBezTo>
                  <a:pt x="10275" y="301971"/>
                  <a:pt x="6218" y="290255"/>
                  <a:pt x="7322" y="278835"/>
                </a:cubicBezTo>
                <a:lnTo>
                  <a:pt x="7551" y="277501"/>
                </a:lnTo>
                <a:lnTo>
                  <a:pt x="38717" y="149095"/>
                </a:lnTo>
                <a:cubicBezTo>
                  <a:pt x="42965" y="121110"/>
                  <a:pt x="59405" y="110719"/>
                  <a:pt x="61262" y="109623"/>
                </a:cubicBezTo>
                <a:lnTo>
                  <a:pt x="191660" y="16478"/>
                </a:lnTo>
                <a:cubicBezTo>
                  <a:pt x="207786" y="10287"/>
                  <a:pt x="224045" y="7144"/>
                  <a:pt x="239980" y="7144"/>
                </a:cubicBezTo>
                <a:cubicBezTo>
                  <a:pt x="292510" y="7144"/>
                  <a:pt x="324553" y="40615"/>
                  <a:pt x="325886" y="42034"/>
                </a:cubicBezTo>
                <a:lnTo>
                  <a:pt x="327467" y="44291"/>
                </a:lnTo>
                <a:lnTo>
                  <a:pt x="389151" y="167554"/>
                </a:lnTo>
                <a:lnTo>
                  <a:pt x="459369" y="221332"/>
                </a:lnTo>
                <a:cubicBezTo>
                  <a:pt x="478705" y="242183"/>
                  <a:pt x="479467" y="270834"/>
                  <a:pt x="461151" y="287988"/>
                </a:cubicBezTo>
                <a:cubicBezTo>
                  <a:pt x="455255" y="293503"/>
                  <a:pt x="447339" y="296418"/>
                  <a:pt x="438262" y="296418"/>
                </a:cubicBezTo>
                <a:cubicBezTo>
                  <a:pt x="424737" y="296418"/>
                  <a:pt x="409011" y="289627"/>
                  <a:pt x="398848" y="279473"/>
                </a:cubicBezTo>
                <a:lnTo>
                  <a:pt x="338211" y="233296"/>
                </a:lnTo>
                <a:cubicBezTo>
                  <a:pt x="329839" y="227743"/>
                  <a:pt x="318190" y="208683"/>
                  <a:pt x="308598" y="190910"/>
                </a:cubicBezTo>
                <a:lnTo>
                  <a:pt x="294254" y="284340"/>
                </a:lnTo>
                <a:cubicBezTo>
                  <a:pt x="292025" y="295113"/>
                  <a:pt x="296787" y="301685"/>
                  <a:pt x="296835" y="301752"/>
                </a:cubicBezTo>
                <a:lnTo>
                  <a:pt x="297463" y="302638"/>
                </a:lnTo>
                <a:lnTo>
                  <a:pt x="395152" y="459162"/>
                </a:lnTo>
                <a:lnTo>
                  <a:pt x="395438" y="461105"/>
                </a:lnTo>
                <a:lnTo>
                  <a:pt x="422384" y="638766"/>
                </a:lnTo>
                <a:cubicBezTo>
                  <a:pt x="429394" y="670903"/>
                  <a:pt x="414935" y="697859"/>
                  <a:pt x="386303" y="705260"/>
                </a:cubicBezTo>
                <a:cubicBezTo>
                  <a:pt x="381874" y="706412"/>
                  <a:pt x="377369" y="706993"/>
                  <a:pt x="372930" y="706993"/>
                </a:cubicBezTo>
                <a:cubicBezTo>
                  <a:pt x="349098" y="706993"/>
                  <a:pt x="329077" y="690915"/>
                  <a:pt x="323105" y="666969"/>
                </a:cubicBezTo>
                <a:lnTo>
                  <a:pt x="299292" y="510826"/>
                </a:lnTo>
                <a:lnTo>
                  <a:pt x="246267" y="422519"/>
                </a:lnTo>
                <a:lnTo>
                  <a:pt x="206738" y="532267"/>
                </a:lnTo>
                <a:lnTo>
                  <a:pt x="117089" y="668788"/>
                </a:lnTo>
                <a:cubicBezTo>
                  <a:pt x="107230" y="685562"/>
                  <a:pt x="90742" y="708403"/>
                  <a:pt x="64244" y="708403"/>
                </a:cubicBezTo>
                <a:close/>
                <a:moveTo>
                  <a:pt x="32011" y="644376"/>
                </a:moveTo>
                <a:cubicBezTo>
                  <a:pt x="28649" y="651910"/>
                  <a:pt x="28801" y="660378"/>
                  <a:pt x="32440" y="668265"/>
                </a:cubicBezTo>
                <a:cubicBezTo>
                  <a:pt x="36859" y="677856"/>
                  <a:pt x="45613" y="685286"/>
                  <a:pt x="55852" y="688124"/>
                </a:cubicBezTo>
                <a:cubicBezTo>
                  <a:pt x="72788" y="692887"/>
                  <a:pt x="86066" y="683971"/>
                  <a:pt x="100906" y="658740"/>
                </a:cubicBezTo>
                <a:lnTo>
                  <a:pt x="190183" y="522770"/>
                </a:lnTo>
                <a:lnTo>
                  <a:pt x="241876" y="378209"/>
                </a:lnTo>
                <a:lnTo>
                  <a:pt x="317561" y="504234"/>
                </a:lnTo>
                <a:lnTo>
                  <a:pt x="341755" y="663226"/>
                </a:lnTo>
                <a:cubicBezTo>
                  <a:pt x="346089" y="680409"/>
                  <a:pt x="363586" y="691477"/>
                  <a:pt x="381531" y="686829"/>
                </a:cubicBezTo>
                <a:cubicBezTo>
                  <a:pt x="400124" y="682019"/>
                  <a:pt x="408601" y="664931"/>
                  <a:pt x="403658" y="642223"/>
                </a:cubicBezTo>
                <a:lnTo>
                  <a:pt x="376892" y="465906"/>
                </a:lnTo>
                <a:lnTo>
                  <a:pt x="281500" y="313077"/>
                </a:lnTo>
                <a:cubicBezTo>
                  <a:pt x="279414" y="310220"/>
                  <a:pt x="271870" y="298361"/>
                  <a:pt x="275508" y="280959"/>
                </a:cubicBezTo>
                <a:lnTo>
                  <a:pt x="298921" y="128397"/>
                </a:lnTo>
                <a:lnTo>
                  <a:pt x="312246" y="156105"/>
                </a:lnTo>
                <a:cubicBezTo>
                  <a:pt x="324991" y="182594"/>
                  <a:pt x="342631" y="213512"/>
                  <a:pt x="348584" y="217341"/>
                </a:cubicBezTo>
                <a:lnTo>
                  <a:pt x="349432" y="217922"/>
                </a:lnTo>
                <a:lnTo>
                  <a:pt x="411973" y="265690"/>
                </a:lnTo>
                <a:cubicBezTo>
                  <a:pt x="418536" y="272463"/>
                  <a:pt x="429585" y="277378"/>
                  <a:pt x="438243" y="277378"/>
                </a:cubicBezTo>
                <a:cubicBezTo>
                  <a:pt x="442453" y="277378"/>
                  <a:pt x="445787" y="276273"/>
                  <a:pt x="448120" y="274091"/>
                </a:cubicBezTo>
                <a:cubicBezTo>
                  <a:pt x="458560" y="264319"/>
                  <a:pt x="457598" y="247926"/>
                  <a:pt x="445920" y="234877"/>
                </a:cubicBezTo>
                <a:lnTo>
                  <a:pt x="374073" y="180032"/>
                </a:lnTo>
                <a:lnTo>
                  <a:pt x="311122" y="54226"/>
                </a:lnTo>
                <a:cubicBezTo>
                  <a:pt x="306093" y="49425"/>
                  <a:pt x="279652" y="26203"/>
                  <a:pt x="239980" y="26203"/>
                </a:cubicBezTo>
                <a:cubicBezTo>
                  <a:pt x="226750" y="26203"/>
                  <a:pt x="213177" y="28775"/>
                  <a:pt x="199613" y="33842"/>
                </a:cubicBezTo>
                <a:lnTo>
                  <a:pt x="71626" y="125587"/>
                </a:lnTo>
                <a:cubicBezTo>
                  <a:pt x="70616" y="126244"/>
                  <a:pt x="60415" y="132979"/>
                  <a:pt x="57376" y="152781"/>
                </a:cubicBezTo>
                <a:lnTo>
                  <a:pt x="26220" y="281273"/>
                </a:lnTo>
                <a:cubicBezTo>
                  <a:pt x="25839" y="287179"/>
                  <a:pt x="28116" y="293294"/>
                  <a:pt x="32526" y="298142"/>
                </a:cubicBezTo>
                <a:cubicBezTo>
                  <a:pt x="37431" y="303533"/>
                  <a:pt x="44251" y="306638"/>
                  <a:pt x="51242" y="306638"/>
                </a:cubicBezTo>
                <a:cubicBezTo>
                  <a:pt x="69749" y="306486"/>
                  <a:pt x="75760" y="287750"/>
                  <a:pt x="77712" y="276606"/>
                </a:cubicBezTo>
                <a:lnTo>
                  <a:pt x="102744" y="169697"/>
                </a:lnTo>
                <a:lnTo>
                  <a:pt x="184230" y="98936"/>
                </a:lnTo>
                <a:lnTo>
                  <a:pt x="155665" y="262633"/>
                </a:lnTo>
                <a:cubicBezTo>
                  <a:pt x="155646" y="262719"/>
                  <a:pt x="151359" y="278492"/>
                  <a:pt x="158141" y="304752"/>
                </a:cubicBezTo>
                <a:cubicBezTo>
                  <a:pt x="159722" y="308934"/>
                  <a:pt x="167019" y="329479"/>
                  <a:pt x="164418" y="344224"/>
                </a:cubicBezTo>
                <a:lnTo>
                  <a:pt x="123308" y="493043"/>
                </a:lnTo>
                <a:lnTo>
                  <a:pt x="32011" y="64437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939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3B95C460-F9E5-701F-A63B-9C846DB4C3F7}"/>
              </a:ext>
            </a:extLst>
          </p:cNvPr>
          <p:cNvSpPr/>
          <p:nvPr/>
        </p:nvSpPr>
        <p:spPr>
          <a:xfrm>
            <a:off x="3680330" y="1464555"/>
            <a:ext cx="110984" cy="117512"/>
          </a:xfrm>
          <a:custGeom>
            <a:avLst/>
            <a:gdLst>
              <a:gd name="connsiteX0" fmla="*/ 85231 w 161925"/>
              <a:gd name="connsiteY0" fmla="*/ 166421 h 171450"/>
              <a:gd name="connsiteX1" fmla="*/ 8497 w 161925"/>
              <a:gd name="connsiteY1" fmla="*/ 100679 h 171450"/>
              <a:gd name="connsiteX2" fmla="*/ 70038 w 161925"/>
              <a:gd name="connsiteY2" fmla="*/ 8372 h 171450"/>
              <a:gd name="connsiteX3" fmla="*/ 83573 w 161925"/>
              <a:gd name="connsiteY3" fmla="*/ 7144 h 171450"/>
              <a:gd name="connsiteX4" fmla="*/ 160297 w 161925"/>
              <a:gd name="connsiteY4" fmla="*/ 72885 h 171450"/>
              <a:gd name="connsiteX5" fmla="*/ 98766 w 161925"/>
              <a:gd name="connsiteY5" fmla="*/ 165192 h 171450"/>
              <a:gd name="connsiteX6" fmla="*/ 85231 w 161925"/>
              <a:gd name="connsiteY6" fmla="*/ 166421 h 171450"/>
              <a:gd name="connsiteX7" fmla="*/ 83573 w 161925"/>
              <a:gd name="connsiteY7" fmla="*/ 26184 h 171450"/>
              <a:gd name="connsiteX8" fmla="*/ 73467 w 161925"/>
              <a:gd name="connsiteY8" fmla="*/ 27108 h 171450"/>
              <a:gd name="connsiteX9" fmla="*/ 27233 w 161925"/>
              <a:gd name="connsiteY9" fmla="*/ 97250 h 171450"/>
              <a:gd name="connsiteX10" fmla="*/ 85221 w 161925"/>
              <a:gd name="connsiteY10" fmla="*/ 147380 h 171450"/>
              <a:gd name="connsiteX11" fmla="*/ 95327 w 161925"/>
              <a:gd name="connsiteY11" fmla="*/ 146456 h 171450"/>
              <a:gd name="connsiteX12" fmla="*/ 141562 w 161925"/>
              <a:gd name="connsiteY12" fmla="*/ 76314 h 171450"/>
              <a:gd name="connsiteX13" fmla="*/ 83573 w 161925"/>
              <a:gd name="connsiteY13" fmla="*/ 26184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1925" h="171450">
                <a:moveTo>
                  <a:pt x="85231" y="166421"/>
                </a:moveTo>
                <a:cubicBezTo>
                  <a:pt x="47740" y="166421"/>
                  <a:pt x="15479" y="138770"/>
                  <a:pt x="8497" y="100679"/>
                </a:cubicBezTo>
                <a:cubicBezTo>
                  <a:pt x="582" y="57445"/>
                  <a:pt x="28195" y="16040"/>
                  <a:pt x="70038" y="8372"/>
                </a:cubicBezTo>
                <a:cubicBezTo>
                  <a:pt x="74515" y="7553"/>
                  <a:pt x="79059" y="7144"/>
                  <a:pt x="83573" y="7144"/>
                </a:cubicBezTo>
                <a:cubicBezTo>
                  <a:pt x="121054" y="7144"/>
                  <a:pt x="153315" y="34795"/>
                  <a:pt x="160297" y="72885"/>
                </a:cubicBezTo>
                <a:cubicBezTo>
                  <a:pt x="168222" y="116119"/>
                  <a:pt x="140619" y="157524"/>
                  <a:pt x="98766" y="165192"/>
                </a:cubicBezTo>
                <a:cubicBezTo>
                  <a:pt x="94289" y="166002"/>
                  <a:pt x="89746" y="166421"/>
                  <a:pt x="85231" y="166421"/>
                </a:cubicBezTo>
                <a:close/>
                <a:moveTo>
                  <a:pt x="83573" y="26184"/>
                </a:moveTo>
                <a:cubicBezTo>
                  <a:pt x="80211" y="26184"/>
                  <a:pt x="76811" y="26489"/>
                  <a:pt x="73467" y="27108"/>
                </a:cubicBezTo>
                <a:cubicBezTo>
                  <a:pt x="41949" y="32880"/>
                  <a:pt x="21213" y="64351"/>
                  <a:pt x="27233" y="97250"/>
                </a:cubicBezTo>
                <a:cubicBezTo>
                  <a:pt x="32557" y="126292"/>
                  <a:pt x="56941" y="147380"/>
                  <a:pt x="85221" y="147380"/>
                </a:cubicBezTo>
                <a:cubicBezTo>
                  <a:pt x="88584" y="147380"/>
                  <a:pt x="91984" y="147076"/>
                  <a:pt x="95327" y="146456"/>
                </a:cubicBezTo>
                <a:cubicBezTo>
                  <a:pt x="126845" y="140684"/>
                  <a:pt x="147581" y="109214"/>
                  <a:pt x="141562" y="76314"/>
                </a:cubicBezTo>
                <a:cubicBezTo>
                  <a:pt x="136247" y="47263"/>
                  <a:pt x="111853" y="26184"/>
                  <a:pt x="83573" y="26184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939" dirty="0"/>
          </a:p>
        </p:txBody>
      </p:sp>
      <p:sp>
        <p:nvSpPr>
          <p:cNvPr id="33" name="Shape2_20220526_193751">
            <a:extLst>
              <a:ext uri="{FF2B5EF4-FFF2-40B4-BE49-F238E27FC236}">
                <a16:creationId xmlns:a16="http://schemas.microsoft.com/office/drawing/2014/main" id="{E55D1589-AACC-CFD8-0CB7-BD720D8762DF}"/>
              </a:ext>
            </a:extLst>
          </p:cNvPr>
          <p:cNvSpPr/>
          <p:nvPr/>
        </p:nvSpPr>
        <p:spPr>
          <a:xfrm>
            <a:off x="8098853" y="1366397"/>
            <a:ext cx="3475918" cy="4449298"/>
          </a:xfrm>
          <a:prstGeom prst="rect">
            <a:avLst/>
          </a:prstGeom>
          <a:noFill/>
          <a:ln w="9525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34" name="Google Shape;636;p20">
            <a:extLst>
              <a:ext uri="{FF2B5EF4-FFF2-40B4-BE49-F238E27FC236}">
                <a16:creationId xmlns:a16="http://schemas.microsoft.com/office/drawing/2014/main" id="{0F140619-CD8D-5532-C2B8-5C8D406665DE}"/>
              </a:ext>
            </a:extLst>
          </p:cNvPr>
          <p:cNvSpPr/>
          <p:nvPr/>
        </p:nvSpPr>
        <p:spPr>
          <a:xfrm>
            <a:off x="8153799" y="1578180"/>
            <a:ext cx="202802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400" b="1" dirty="0">
                <a:solidFill>
                  <a:schemeClr val="tx1">
                    <a:lumMod val="100000"/>
                  </a:schemeClr>
                </a:solidFill>
              </a:rPr>
              <a:t>90</a:t>
            </a:r>
            <a:r>
              <a:rPr lang="en-IN" sz="2400" dirty="0">
                <a:solidFill>
                  <a:schemeClr val="tx1">
                    <a:lumMod val="100000"/>
                  </a:schemeClr>
                </a:solidFill>
              </a:rPr>
              <a:t> DAY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639;p20">
            <a:extLst>
              <a:ext uri="{FF2B5EF4-FFF2-40B4-BE49-F238E27FC236}">
                <a16:creationId xmlns:a16="http://schemas.microsoft.com/office/drawing/2014/main" id="{A489ECD6-E880-9F0E-1658-3CC9FCB8D025}"/>
              </a:ext>
            </a:extLst>
          </p:cNvPr>
          <p:cNvSpPr/>
          <p:nvPr/>
        </p:nvSpPr>
        <p:spPr>
          <a:xfrm>
            <a:off x="10786834" y="1366520"/>
            <a:ext cx="787939" cy="792650"/>
          </a:xfrm>
          <a:prstGeom prst="rect">
            <a:avLst/>
          </a:prstGeom>
          <a:solidFill>
            <a:schemeClr val="accent3"/>
          </a:solidFill>
          <a:ln>
            <a:solidFill>
              <a:schemeClr val="accent1">
                <a:lumMod val="100000"/>
              </a:schemeClr>
            </a:solidFill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36" name="Graphic 20">
            <a:extLst>
              <a:ext uri="{FF2B5EF4-FFF2-40B4-BE49-F238E27FC236}">
                <a16:creationId xmlns:a16="http://schemas.microsoft.com/office/drawing/2014/main" id="{CAE79426-341E-3B09-BE97-FBDAA25C7AA2}"/>
              </a:ext>
            </a:extLst>
          </p:cNvPr>
          <p:cNvSpPr/>
          <p:nvPr/>
        </p:nvSpPr>
        <p:spPr>
          <a:xfrm flipH="1">
            <a:off x="10936976" y="1513885"/>
            <a:ext cx="487652" cy="497922"/>
          </a:xfrm>
          <a:custGeom>
            <a:avLst/>
            <a:gdLst>
              <a:gd name="connsiteX0" fmla="*/ 158401 w 904875"/>
              <a:gd name="connsiteY0" fmla="*/ 921163 h 923925"/>
              <a:gd name="connsiteX1" fmla="*/ 179261 w 904875"/>
              <a:gd name="connsiteY1" fmla="*/ 924401 h 923925"/>
              <a:gd name="connsiteX2" fmla="*/ 243554 w 904875"/>
              <a:gd name="connsiteY2" fmla="*/ 879824 h 923925"/>
              <a:gd name="connsiteX3" fmla="*/ 310229 w 904875"/>
              <a:gd name="connsiteY3" fmla="*/ 702183 h 923925"/>
              <a:gd name="connsiteX4" fmla="*/ 505873 w 904875"/>
              <a:gd name="connsiteY4" fmla="*/ 621030 h 923925"/>
              <a:gd name="connsiteX5" fmla="*/ 567976 w 904875"/>
              <a:gd name="connsiteY5" fmla="*/ 703231 h 923925"/>
              <a:gd name="connsiteX6" fmla="*/ 660940 w 904875"/>
              <a:gd name="connsiteY6" fmla="*/ 741902 h 923925"/>
              <a:gd name="connsiteX7" fmla="*/ 832390 w 904875"/>
              <a:gd name="connsiteY7" fmla="*/ 720376 h 923925"/>
              <a:gd name="connsiteX8" fmla="*/ 891684 w 904875"/>
              <a:gd name="connsiteY8" fmla="*/ 643455 h 923925"/>
              <a:gd name="connsiteX9" fmla="*/ 822865 w 904875"/>
              <a:gd name="connsiteY9" fmla="*/ 583597 h 923925"/>
              <a:gd name="connsiteX10" fmla="*/ 813816 w 904875"/>
              <a:gd name="connsiteY10" fmla="*/ 584168 h 923925"/>
              <a:gd name="connsiteX11" fmla="*/ 664274 w 904875"/>
              <a:gd name="connsiteY11" fmla="*/ 603218 h 923925"/>
              <a:gd name="connsiteX12" fmla="*/ 585121 w 904875"/>
              <a:gd name="connsiteY12" fmla="*/ 498443 h 923925"/>
              <a:gd name="connsiteX13" fmla="*/ 458438 w 904875"/>
              <a:gd name="connsiteY13" fmla="*/ 306610 h 923925"/>
              <a:gd name="connsiteX14" fmla="*/ 625697 w 904875"/>
              <a:gd name="connsiteY14" fmla="*/ 300704 h 923925"/>
              <a:gd name="connsiteX15" fmla="*/ 653701 w 904875"/>
              <a:gd name="connsiteY15" fmla="*/ 295751 h 923925"/>
              <a:gd name="connsiteX16" fmla="*/ 701993 w 904875"/>
              <a:gd name="connsiteY16" fmla="*/ 227362 h 923925"/>
              <a:gd name="connsiteX17" fmla="*/ 633603 w 904875"/>
              <a:gd name="connsiteY17" fmla="*/ 179070 h 923925"/>
              <a:gd name="connsiteX18" fmla="*/ 612648 w 904875"/>
              <a:gd name="connsiteY18" fmla="*/ 182785 h 923925"/>
              <a:gd name="connsiteX19" fmla="*/ 412623 w 904875"/>
              <a:gd name="connsiteY19" fmla="*/ 182785 h 923925"/>
              <a:gd name="connsiteX20" fmla="*/ 330899 w 904875"/>
              <a:gd name="connsiteY20" fmla="*/ 168021 h 923925"/>
              <a:gd name="connsiteX21" fmla="*/ 322612 w 904875"/>
              <a:gd name="connsiteY21" fmla="*/ 166783 h 923925"/>
              <a:gd name="connsiteX22" fmla="*/ 316230 w 904875"/>
              <a:gd name="connsiteY22" fmla="*/ 166116 h 923925"/>
              <a:gd name="connsiteX23" fmla="*/ 232696 w 904875"/>
              <a:gd name="connsiteY23" fmla="*/ 190405 h 923925"/>
              <a:gd name="connsiteX24" fmla="*/ 211931 w 904875"/>
              <a:gd name="connsiteY24" fmla="*/ 341566 h 923925"/>
              <a:gd name="connsiteX25" fmla="*/ 343281 w 904875"/>
              <a:gd name="connsiteY25" fmla="*/ 539687 h 923925"/>
              <a:gd name="connsiteX26" fmla="*/ 242602 w 904875"/>
              <a:gd name="connsiteY26" fmla="*/ 581501 h 923925"/>
              <a:gd name="connsiteX27" fmla="*/ 187166 w 904875"/>
              <a:gd name="connsiteY27" fmla="*/ 638651 h 923925"/>
              <a:gd name="connsiteX28" fmla="*/ 109633 w 904875"/>
              <a:gd name="connsiteY28" fmla="*/ 845915 h 923925"/>
              <a:gd name="connsiteX29" fmla="*/ 114205 w 904875"/>
              <a:gd name="connsiteY29" fmla="*/ 898493 h 923925"/>
              <a:gd name="connsiteX30" fmla="*/ 158401 w 904875"/>
              <a:gd name="connsiteY30" fmla="*/ 921163 h 923925"/>
              <a:gd name="connsiteX31" fmla="*/ 145256 w 904875"/>
              <a:gd name="connsiteY31" fmla="*/ 859250 h 923925"/>
              <a:gd name="connsiteX32" fmla="*/ 222790 w 904875"/>
              <a:gd name="connsiteY32" fmla="*/ 652177 h 923925"/>
              <a:gd name="connsiteX33" fmla="*/ 257080 w 904875"/>
              <a:gd name="connsiteY33" fmla="*/ 616649 h 923925"/>
              <a:gd name="connsiteX34" fmla="*/ 379095 w 904875"/>
              <a:gd name="connsiteY34" fmla="*/ 566071 h 923925"/>
              <a:gd name="connsiteX35" fmla="*/ 389724 w 904875"/>
              <a:gd name="connsiteY35" fmla="*/ 541316 h 923925"/>
              <a:gd name="connsiteX36" fmla="*/ 387668 w 904875"/>
              <a:gd name="connsiteY36" fmla="*/ 537496 h 923925"/>
              <a:gd name="connsiteX37" fmla="*/ 244126 w 904875"/>
              <a:gd name="connsiteY37" fmla="*/ 320231 h 923925"/>
              <a:gd name="connsiteX38" fmla="*/ 257270 w 904875"/>
              <a:gd name="connsiteY38" fmla="*/ 219551 h 923925"/>
              <a:gd name="connsiteX39" fmla="*/ 312515 w 904875"/>
              <a:gd name="connsiteY39" fmla="*/ 203645 h 923925"/>
              <a:gd name="connsiteX40" fmla="*/ 318897 w 904875"/>
              <a:gd name="connsiteY40" fmla="*/ 204311 h 923925"/>
              <a:gd name="connsiteX41" fmla="*/ 324612 w 904875"/>
              <a:gd name="connsiteY41" fmla="*/ 205169 h 923925"/>
              <a:gd name="connsiteX42" fmla="*/ 406051 w 904875"/>
              <a:gd name="connsiteY42" fmla="*/ 220028 h 923925"/>
              <a:gd name="connsiteX43" fmla="*/ 619506 w 904875"/>
              <a:gd name="connsiteY43" fmla="*/ 220028 h 923925"/>
              <a:gd name="connsiteX44" fmla="*/ 640366 w 904875"/>
              <a:gd name="connsiteY44" fmla="*/ 216313 h 923925"/>
              <a:gd name="connsiteX45" fmla="*/ 664655 w 904875"/>
              <a:gd name="connsiteY45" fmla="*/ 233553 h 923925"/>
              <a:gd name="connsiteX46" fmla="*/ 647414 w 904875"/>
              <a:gd name="connsiteY46" fmla="*/ 257842 h 923925"/>
              <a:gd name="connsiteX47" fmla="*/ 618839 w 904875"/>
              <a:gd name="connsiteY47" fmla="*/ 262795 h 923925"/>
              <a:gd name="connsiteX48" fmla="*/ 422243 w 904875"/>
              <a:gd name="connsiteY48" fmla="*/ 262795 h 923925"/>
              <a:gd name="connsiteX49" fmla="*/ 400329 w 904875"/>
              <a:gd name="connsiteY49" fmla="*/ 278466 h 923925"/>
              <a:gd name="connsiteX50" fmla="*/ 403193 w 904875"/>
              <a:gd name="connsiteY50" fmla="*/ 292037 h 923925"/>
              <a:gd name="connsiteX51" fmla="*/ 553688 w 904875"/>
              <a:gd name="connsiteY51" fmla="*/ 519398 h 923925"/>
              <a:gd name="connsiteX52" fmla="*/ 554355 w 904875"/>
              <a:gd name="connsiteY52" fmla="*/ 520351 h 923925"/>
              <a:gd name="connsiteX53" fmla="*/ 640080 w 904875"/>
              <a:gd name="connsiteY53" fmla="*/ 634651 h 923925"/>
              <a:gd name="connsiteX54" fmla="*/ 657701 w 904875"/>
              <a:gd name="connsiteY54" fmla="*/ 642080 h 923925"/>
              <a:gd name="connsiteX55" fmla="*/ 818388 w 904875"/>
              <a:gd name="connsiteY55" fmla="*/ 621887 h 923925"/>
              <a:gd name="connsiteX56" fmla="*/ 852100 w 904875"/>
              <a:gd name="connsiteY56" fmla="*/ 648965 h 923925"/>
              <a:gd name="connsiteX57" fmla="*/ 826580 w 904875"/>
              <a:gd name="connsiteY57" fmla="*/ 682466 h 923925"/>
              <a:gd name="connsiteX58" fmla="*/ 655130 w 904875"/>
              <a:gd name="connsiteY58" fmla="*/ 703993 h 923925"/>
              <a:gd name="connsiteX59" fmla="*/ 597313 w 904875"/>
              <a:gd name="connsiteY59" fmla="*/ 679799 h 923925"/>
              <a:gd name="connsiteX60" fmla="*/ 526447 w 904875"/>
              <a:gd name="connsiteY60" fmla="*/ 585788 h 923925"/>
              <a:gd name="connsiteX61" fmla="*/ 504825 w 904875"/>
              <a:gd name="connsiteY61" fmla="*/ 579977 h 923925"/>
              <a:gd name="connsiteX62" fmla="*/ 287941 w 904875"/>
              <a:gd name="connsiteY62" fmla="*/ 670179 h 923925"/>
              <a:gd name="connsiteX63" fmla="*/ 277368 w 904875"/>
              <a:gd name="connsiteY63" fmla="*/ 681133 h 923925"/>
              <a:gd name="connsiteX64" fmla="*/ 207931 w 904875"/>
              <a:gd name="connsiteY64" fmla="*/ 866489 h 923925"/>
              <a:gd name="connsiteX65" fmla="*/ 168593 w 904875"/>
              <a:gd name="connsiteY65" fmla="*/ 884777 h 923925"/>
              <a:gd name="connsiteX66" fmla="*/ 161925 w 904875"/>
              <a:gd name="connsiteY66" fmla="*/ 883539 h 923925"/>
              <a:gd name="connsiteX67" fmla="*/ 145637 w 904875"/>
              <a:gd name="connsiteY67" fmla="*/ 877157 h 923925"/>
              <a:gd name="connsiteX68" fmla="*/ 145352 w 904875"/>
              <a:gd name="connsiteY68" fmla="*/ 859250 h 923925"/>
              <a:gd name="connsiteX69" fmla="*/ 216694 w 904875"/>
              <a:gd name="connsiteY69" fmla="*/ 111919 h 923925"/>
              <a:gd name="connsiteX70" fmla="*/ 111919 w 904875"/>
              <a:gd name="connsiteY70" fmla="*/ 7144 h 923925"/>
              <a:gd name="connsiteX71" fmla="*/ 7144 w 904875"/>
              <a:gd name="connsiteY71" fmla="*/ 111919 h 923925"/>
              <a:gd name="connsiteX72" fmla="*/ 111919 w 904875"/>
              <a:gd name="connsiteY72" fmla="*/ 216694 h 923925"/>
              <a:gd name="connsiteX73" fmla="*/ 216694 w 904875"/>
              <a:gd name="connsiteY73" fmla="*/ 111919 h 923925"/>
              <a:gd name="connsiteX74" fmla="*/ 44767 w 904875"/>
              <a:gd name="connsiteY74" fmla="*/ 111919 h 923925"/>
              <a:gd name="connsiteX75" fmla="*/ 111442 w 904875"/>
              <a:gd name="connsiteY75" fmla="*/ 45244 h 923925"/>
              <a:gd name="connsiteX76" fmla="*/ 178117 w 904875"/>
              <a:gd name="connsiteY76" fmla="*/ 111919 h 923925"/>
              <a:gd name="connsiteX77" fmla="*/ 111442 w 904875"/>
              <a:gd name="connsiteY77" fmla="*/ 178594 h 923925"/>
              <a:gd name="connsiteX78" fmla="*/ 44767 w 904875"/>
              <a:gd name="connsiteY78" fmla="*/ 111919 h 923925"/>
              <a:gd name="connsiteX79" fmla="*/ 804101 w 904875"/>
              <a:gd name="connsiteY79" fmla="*/ 366903 h 923925"/>
              <a:gd name="connsiteX80" fmla="*/ 823151 w 904875"/>
              <a:gd name="connsiteY80" fmla="*/ 385953 h 923925"/>
              <a:gd name="connsiteX81" fmla="*/ 804101 w 904875"/>
              <a:gd name="connsiteY81" fmla="*/ 405003 h 923925"/>
              <a:gd name="connsiteX82" fmla="*/ 617030 w 904875"/>
              <a:gd name="connsiteY82" fmla="*/ 405003 h 923925"/>
              <a:gd name="connsiteX83" fmla="*/ 597980 w 904875"/>
              <a:gd name="connsiteY83" fmla="*/ 385953 h 923925"/>
              <a:gd name="connsiteX84" fmla="*/ 617030 w 904875"/>
              <a:gd name="connsiteY84" fmla="*/ 366903 h 923925"/>
              <a:gd name="connsiteX85" fmla="*/ 881634 w 904875"/>
              <a:gd name="connsiteY85" fmla="*/ 502158 h 923925"/>
              <a:gd name="connsiteX86" fmla="*/ 694658 w 904875"/>
              <a:gd name="connsiteY86" fmla="*/ 502158 h 923925"/>
              <a:gd name="connsiteX87" fmla="*/ 675608 w 904875"/>
              <a:gd name="connsiteY87" fmla="*/ 483108 h 923925"/>
              <a:gd name="connsiteX88" fmla="*/ 694658 w 904875"/>
              <a:gd name="connsiteY88" fmla="*/ 464058 h 923925"/>
              <a:gd name="connsiteX89" fmla="*/ 881634 w 904875"/>
              <a:gd name="connsiteY89" fmla="*/ 464058 h 923925"/>
              <a:gd name="connsiteX90" fmla="*/ 900684 w 904875"/>
              <a:gd name="connsiteY90" fmla="*/ 483108 h 923925"/>
              <a:gd name="connsiteX91" fmla="*/ 881634 w 904875"/>
              <a:gd name="connsiteY91" fmla="*/ 502158 h 923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904875" h="923925">
                <a:moveTo>
                  <a:pt x="158401" y="921163"/>
                </a:moveTo>
                <a:cubicBezTo>
                  <a:pt x="165143" y="923321"/>
                  <a:pt x="172181" y="924414"/>
                  <a:pt x="179261" y="924401"/>
                </a:cubicBezTo>
                <a:cubicBezTo>
                  <a:pt x="207862" y="924313"/>
                  <a:pt x="233441" y="906578"/>
                  <a:pt x="243554" y="879824"/>
                </a:cubicBezTo>
                <a:lnTo>
                  <a:pt x="310229" y="702183"/>
                </a:lnTo>
                <a:lnTo>
                  <a:pt x="505873" y="621030"/>
                </a:lnTo>
                <a:lnTo>
                  <a:pt x="567976" y="703231"/>
                </a:lnTo>
                <a:cubicBezTo>
                  <a:pt x="589767" y="731885"/>
                  <a:pt x="625255" y="746647"/>
                  <a:pt x="660940" y="741902"/>
                </a:cubicBezTo>
                <a:lnTo>
                  <a:pt x="832390" y="720376"/>
                </a:lnTo>
                <a:cubicBezTo>
                  <a:pt x="870005" y="715509"/>
                  <a:pt x="896552" y="681070"/>
                  <a:pt x="891684" y="643455"/>
                </a:cubicBezTo>
                <a:cubicBezTo>
                  <a:pt x="887220" y="608950"/>
                  <a:pt x="857656" y="583236"/>
                  <a:pt x="822865" y="583597"/>
                </a:cubicBezTo>
                <a:cubicBezTo>
                  <a:pt x="819839" y="583582"/>
                  <a:pt x="816816" y="583773"/>
                  <a:pt x="813816" y="584168"/>
                </a:cubicBezTo>
                <a:lnTo>
                  <a:pt x="664274" y="603218"/>
                </a:lnTo>
                <a:lnTo>
                  <a:pt x="585121" y="498443"/>
                </a:lnTo>
                <a:lnTo>
                  <a:pt x="458438" y="306610"/>
                </a:lnTo>
                <a:cubicBezTo>
                  <a:pt x="514197" y="312368"/>
                  <a:pt x="570484" y="310381"/>
                  <a:pt x="625697" y="300704"/>
                </a:cubicBezTo>
                <a:lnTo>
                  <a:pt x="653701" y="295751"/>
                </a:lnTo>
                <a:cubicBezTo>
                  <a:pt x="685921" y="290201"/>
                  <a:pt x="707542" y="259582"/>
                  <a:pt x="701993" y="227362"/>
                </a:cubicBezTo>
                <a:cubicBezTo>
                  <a:pt x="696443" y="195141"/>
                  <a:pt x="665824" y="173520"/>
                  <a:pt x="633603" y="179070"/>
                </a:cubicBezTo>
                <a:lnTo>
                  <a:pt x="612648" y="182785"/>
                </a:lnTo>
                <a:cubicBezTo>
                  <a:pt x="546492" y="194544"/>
                  <a:pt x="478780" y="194544"/>
                  <a:pt x="412623" y="182785"/>
                </a:cubicBezTo>
                <a:lnTo>
                  <a:pt x="330899" y="168021"/>
                </a:lnTo>
                <a:lnTo>
                  <a:pt x="322612" y="166783"/>
                </a:lnTo>
                <a:lnTo>
                  <a:pt x="316230" y="166116"/>
                </a:lnTo>
                <a:cubicBezTo>
                  <a:pt x="286211" y="162134"/>
                  <a:pt x="255899" y="170947"/>
                  <a:pt x="232696" y="190405"/>
                </a:cubicBezTo>
                <a:cubicBezTo>
                  <a:pt x="188477" y="228254"/>
                  <a:pt x="179556" y="293196"/>
                  <a:pt x="211931" y="341566"/>
                </a:cubicBezTo>
                <a:lnTo>
                  <a:pt x="343281" y="539687"/>
                </a:lnTo>
                <a:lnTo>
                  <a:pt x="242602" y="581501"/>
                </a:lnTo>
                <a:cubicBezTo>
                  <a:pt x="217043" y="592106"/>
                  <a:pt x="196988" y="612781"/>
                  <a:pt x="187166" y="638651"/>
                </a:cubicBezTo>
                <a:lnTo>
                  <a:pt x="109633" y="845915"/>
                </a:lnTo>
                <a:cubicBezTo>
                  <a:pt x="102355" y="863117"/>
                  <a:pt x="104067" y="882806"/>
                  <a:pt x="114205" y="898493"/>
                </a:cubicBezTo>
                <a:cubicBezTo>
                  <a:pt x="124558" y="912573"/>
                  <a:pt x="140926" y="920968"/>
                  <a:pt x="158401" y="921163"/>
                </a:cubicBezTo>
                <a:close/>
                <a:moveTo>
                  <a:pt x="145256" y="859250"/>
                </a:moveTo>
                <a:lnTo>
                  <a:pt x="222790" y="652177"/>
                </a:lnTo>
                <a:cubicBezTo>
                  <a:pt x="228838" y="636116"/>
                  <a:pt x="241244" y="623262"/>
                  <a:pt x="257080" y="616649"/>
                </a:cubicBezTo>
                <a:lnTo>
                  <a:pt x="379095" y="566071"/>
                </a:lnTo>
                <a:cubicBezTo>
                  <a:pt x="388866" y="562170"/>
                  <a:pt x="393625" y="551087"/>
                  <a:pt x="389724" y="541316"/>
                </a:cubicBezTo>
                <a:cubicBezTo>
                  <a:pt x="389186" y="539968"/>
                  <a:pt x="388496" y="538687"/>
                  <a:pt x="387668" y="537496"/>
                </a:cubicBezTo>
                <a:lnTo>
                  <a:pt x="244126" y="320231"/>
                </a:lnTo>
                <a:cubicBezTo>
                  <a:pt x="222254" y="288214"/>
                  <a:pt x="227912" y="244879"/>
                  <a:pt x="257270" y="219551"/>
                </a:cubicBezTo>
                <a:cubicBezTo>
                  <a:pt x="272553" y="206573"/>
                  <a:pt x="292671" y="200780"/>
                  <a:pt x="312515" y="203645"/>
                </a:cubicBezTo>
                <a:lnTo>
                  <a:pt x="318897" y="204311"/>
                </a:lnTo>
                <a:lnTo>
                  <a:pt x="324612" y="205169"/>
                </a:lnTo>
                <a:lnTo>
                  <a:pt x="406051" y="220028"/>
                </a:lnTo>
                <a:cubicBezTo>
                  <a:pt x="476650" y="232566"/>
                  <a:pt x="548907" y="232566"/>
                  <a:pt x="619506" y="220028"/>
                </a:cubicBezTo>
                <a:lnTo>
                  <a:pt x="640366" y="216313"/>
                </a:lnTo>
                <a:cubicBezTo>
                  <a:pt x="651834" y="214366"/>
                  <a:pt x="662708" y="222085"/>
                  <a:pt x="664655" y="233553"/>
                </a:cubicBezTo>
                <a:cubicBezTo>
                  <a:pt x="666601" y="245021"/>
                  <a:pt x="658882" y="255895"/>
                  <a:pt x="647414" y="257842"/>
                </a:cubicBezTo>
                <a:lnTo>
                  <a:pt x="618839" y="262795"/>
                </a:lnTo>
                <a:cubicBezTo>
                  <a:pt x="553799" y="274151"/>
                  <a:pt x="487283" y="274151"/>
                  <a:pt x="422243" y="262795"/>
                </a:cubicBezTo>
                <a:cubicBezTo>
                  <a:pt x="411864" y="261071"/>
                  <a:pt x="402053" y="268087"/>
                  <a:pt x="400329" y="278466"/>
                </a:cubicBezTo>
                <a:cubicBezTo>
                  <a:pt x="399545" y="283189"/>
                  <a:pt x="400567" y="288034"/>
                  <a:pt x="403193" y="292037"/>
                </a:cubicBezTo>
                <a:lnTo>
                  <a:pt x="553688" y="519398"/>
                </a:lnTo>
                <a:lnTo>
                  <a:pt x="554355" y="520351"/>
                </a:lnTo>
                <a:lnTo>
                  <a:pt x="640080" y="634651"/>
                </a:lnTo>
                <a:cubicBezTo>
                  <a:pt x="644195" y="640110"/>
                  <a:pt x="650920" y="642945"/>
                  <a:pt x="657701" y="642080"/>
                </a:cubicBezTo>
                <a:lnTo>
                  <a:pt x="818388" y="621887"/>
                </a:lnTo>
                <a:cubicBezTo>
                  <a:pt x="835175" y="620055"/>
                  <a:pt x="850268" y="632178"/>
                  <a:pt x="852100" y="648965"/>
                </a:cubicBezTo>
                <a:cubicBezTo>
                  <a:pt x="853866" y="665144"/>
                  <a:pt x="842647" y="679872"/>
                  <a:pt x="826580" y="682466"/>
                </a:cubicBezTo>
                <a:lnTo>
                  <a:pt x="655130" y="703993"/>
                </a:lnTo>
                <a:cubicBezTo>
                  <a:pt x="632903" y="706958"/>
                  <a:pt x="610804" y="697710"/>
                  <a:pt x="597313" y="679799"/>
                </a:cubicBezTo>
                <a:lnTo>
                  <a:pt x="526447" y="585788"/>
                </a:lnTo>
                <a:cubicBezTo>
                  <a:pt x="521258" y="579373"/>
                  <a:pt x="512530" y="577028"/>
                  <a:pt x="504825" y="579977"/>
                </a:cubicBezTo>
                <a:lnTo>
                  <a:pt x="287941" y="670179"/>
                </a:lnTo>
                <a:cubicBezTo>
                  <a:pt x="283047" y="672202"/>
                  <a:pt x="279217" y="676171"/>
                  <a:pt x="277368" y="681133"/>
                </a:cubicBezTo>
                <a:lnTo>
                  <a:pt x="207931" y="866489"/>
                </a:lnTo>
                <a:cubicBezTo>
                  <a:pt x="201917" y="882216"/>
                  <a:pt x="184493" y="890316"/>
                  <a:pt x="168593" y="884777"/>
                </a:cubicBezTo>
                <a:cubicBezTo>
                  <a:pt x="166462" y="883969"/>
                  <a:pt x="164204" y="883550"/>
                  <a:pt x="161925" y="883539"/>
                </a:cubicBezTo>
                <a:cubicBezTo>
                  <a:pt x="155782" y="884178"/>
                  <a:pt x="149711" y="881799"/>
                  <a:pt x="145637" y="877157"/>
                </a:cubicBezTo>
                <a:cubicBezTo>
                  <a:pt x="142567" y="871608"/>
                  <a:pt x="142460" y="864895"/>
                  <a:pt x="145352" y="859250"/>
                </a:cubicBezTo>
                <a:close/>
                <a:moveTo>
                  <a:pt x="216694" y="111919"/>
                </a:moveTo>
                <a:cubicBezTo>
                  <a:pt x="216694" y="54053"/>
                  <a:pt x="169784" y="7144"/>
                  <a:pt x="111919" y="7144"/>
                </a:cubicBezTo>
                <a:cubicBezTo>
                  <a:pt x="54053" y="7144"/>
                  <a:pt x="7144" y="54053"/>
                  <a:pt x="7144" y="111919"/>
                </a:cubicBezTo>
                <a:cubicBezTo>
                  <a:pt x="7144" y="169784"/>
                  <a:pt x="54053" y="216694"/>
                  <a:pt x="111919" y="216694"/>
                </a:cubicBezTo>
                <a:cubicBezTo>
                  <a:pt x="169784" y="216694"/>
                  <a:pt x="216694" y="169784"/>
                  <a:pt x="216694" y="111919"/>
                </a:cubicBezTo>
                <a:close/>
                <a:moveTo>
                  <a:pt x="44767" y="111919"/>
                </a:moveTo>
                <a:cubicBezTo>
                  <a:pt x="44767" y="75095"/>
                  <a:pt x="74619" y="45244"/>
                  <a:pt x="111442" y="45244"/>
                </a:cubicBezTo>
                <a:cubicBezTo>
                  <a:pt x="148266" y="45244"/>
                  <a:pt x="178117" y="75095"/>
                  <a:pt x="178117" y="111919"/>
                </a:cubicBezTo>
                <a:cubicBezTo>
                  <a:pt x="178117" y="148742"/>
                  <a:pt x="148266" y="178594"/>
                  <a:pt x="111442" y="178594"/>
                </a:cubicBezTo>
                <a:cubicBezTo>
                  <a:pt x="74619" y="178594"/>
                  <a:pt x="44767" y="148742"/>
                  <a:pt x="44767" y="111919"/>
                </a:cubicBezTo>
                <a:close/>
                <a:moveTo>
                  <a:pt x="804101" y="366903"/>
                </a:moveTo>
                <a:cubicBezTo>
                  <a:pt x="814622" y="366903"/>
                  <a:pt x="823151" y="375432"/>
                  <a:pt x="823151" y="385953"/>
                </a:cubicBezTo>
                <a:cubicBezTo>
                  <a:pt x="823151" y="396474"/>
                  <a:pt x="814622" y="405003"/>
                  <a:pt x="804101" y="405003"/>
                </a:cubicBezTo>
                <a:lnTo>
                  <a:pt x="617030" y="405003"/>
                </a:lnTo>
                <a:cubicBezTo>
                  <a:pt x="606509" y="405003"/>
                  <a:pt x="597980" y="396474"/>
                  <a:pt x="597980" y="385953"/>
                </a:cubicBezTo>
                <a:cubicBezTo>
                  <a:pt x="597980" y="375432"/>
                  <a:pt x="606509" y="366903"/>
                  <a:pt x="617030" y="366903"/>
                </a:cubicBezTo>
                <a:close/>
                <a:moveTo>
                  <a:pt x="881634" y="502158"/>
                </a:moveTo>
                <a:lnTo>
                  <a:pt x="694658" y="502158"/>
                </a:lnTo>
                <a:cubicBezTo>
                  <a:pt x="684137" y="502158"/>
                  <a:pt x="675608" y="493629"/>
                  <a:pt x="675608" y="483108"/>
                </a:cubicBezTo>
                <a:cubicBezTo>
                  <a:pt x="675608" y="472587"/>
                  <a:pt x="684137" y="464058"/>
                  <a:pt x="694658" y="464058"/>
                </a:cubicBezTo>
                <a:lnTo>
                  <a:pt x="881634" y="464058"/>
                </a:lnTo>
                <a:cubicBezTo>
                  <a:pt x="892155" y="464058"/>
                  <a:pt x="900684" y="472587"/>
                  <a:pt x="900684" y="483108"/>
                </a:cubicBezTo>
                <a:cubicBezTo>
                  <a:pt x="900684" y="493629"/>
                  <a:pt x="892155" y="502158"/>
                  <a:pt x="881634" y="502158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3939" dirty="0"/>
          </a:p>
        </p:txBody>
      </p:sp>
    </p:spTree>
    <p:extLst>
      <p:ext uri="{BB962C8B-B14F-4D97-AF65-F5344CB8AC3E}">
        <p14:creationId xmlns:p14="http://schemas.microsoft.com/office/powerpoint/2010/main" val="1794815494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87D7DF-D131-5C94-579B-4B760AB5A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D8B44FD2-D627-C9D3-1CAA-FAA3B69EA8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B44FD2-D627-C9D3-1CAA-FAA3B69EA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FADEAA-4EC1-ECF3-B582-9BD95363F2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C0E24D1-FAF0-1579-C167-6B19A3A5DC7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1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hape1_20220526_194238">
            <a:extLst>
              <a:ext uri="{FF2B5EF4-FFF2-40B4-BE49-F238E27FC236}">
                <a16:creationId xmlns:a16="http://schemas.microsoft.com/office/drawing/2014/main" id="{F66CD6BE-4AE8-E554-51FE-3D98777EBF8E}"/>
              </a:ext>
            </a:extLst>
          </p:cNvPr>
          <p:cNvSpPr/>
          <p:nvPr/>
        </p:nvSpPr>
        <p:spPr>
          <a:xfrm>
            <a:off x="1068477" y="1201530"/>
            <a:ext cx="3502099" cy="420092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rgbClr val="FFFFFF"/>
                </a:solidFill>
              </a:rPr>
              <a:t>First 30 DAY</a:t>
            </a:r>
          </a:p>
        </p:txBody>
      </p:sp>
      <p:sp>
        <p:nvSpPr>
          <p:cNvPr id="6" name="Shape2_20220526_194238">
            <a:extLst>
              <a:ext uri="{FF2B5EF4-FFF2-40B4-BE49-F238E27FC236}">
                <a16:creationId xmlns:a16="http://schemas.microsoft.com/office/drawing/2014/main" id="{883EEF13-BE23-5700-2737-BCFA2570CFC7}"/>
              </a:ext>
            </a:extLst>
          </p:cNvPr>
          <p:cNvSpPr/>
          <p:nvPr/>
        </p:nvSpPr>
        <p:spPr>
          <a:xfrm>
            <a:off x="4570576" y="1201530"/>
            <a:ext cx="3502099" cy="420092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rgbClr val="FFFFFF"/>
                </a:solidFill>
              </a:rPr>
              <a:t>First 60 DAY</a:t>
            </a:r>
          </a:p>
        </p:txBody>
      </p:sp>
      <p:sp>
        <p:nvSpPr>
          <p:cNvPr id="7" name="Shape3_20220526_194238">
            <a:extLst>
              <a:ext uri="{FF2B5EF4-FFF2-40B4-BE49-F238E27FC236}">
                <a16:creationId xmlns:a16="http://schemas.microsoft.com/office/drawing/2014/main" id="{C33541EB-31D8-0861-9F01-CA827F4F65EF}"/>
              </a:ext>
            </a:extLst>
          </p:cNvPr>
          <p:cNvSpPr/>
          <p:nvPr/>
        </p:nvSpPr>
        <p:spPr>
          <a:xfrm>
            <a:off x="8072674" y="1201530"/>
            <a:ext cx="3502099" cy="420092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rgbClr val="FFFFFF"/>
                </a:solidFill>
              </a:rPr>
              <a:t>First 90 DAY</a:t>
            </a:r>
          </a:p>
        </p:txBody>
      </p:sp>
      <p:sp>
        <p:nvSpPr>
          <p:cNvPr id="8" name="Shape1_20220526_194235">
            <a:extLst>
              <a:ext uri="{FF2B5EF4-FFF2-40B4-BE49-F238E27FC236}">
                <a16:creationId xmlns:a16="http://schemas.microsoft.com/office/drawing/2014/main" id="{C9EAE9DD-E473-556E-8F06-46382E8F8C45}"/>
              </a:ext>
            </a:extLst>
          </p:cNvPr>
          <p:cNvSpPr/>
          <p:nvPr/>
        </p:nvSpPr>
        <p:spPr>
          <a:xfrm rot="16200000">
            <a:off x="341898" y="1893365"/>
            <a:ext cx="1014145" cy="451248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9" name="Shape0_20220526_194235">
            <a:extLst>
              <a:ext uri="{FF2B5EF4-FFF2-40B4-BE49-F238E27FC236}">
                <a16:creationId xmlns:a16="http://schemas.microsoft.com/office/drawing/2014/main" id="{E48DA5D3-8DD6-E300-BF49-42904AA3A6E2}"/>
              </a:ext>
            </a:extLst>
          </p:cNvPr>
          <p:cNvSpPr/>
          <p:nvPr/>
        </p:nvSpPr>
        <p:spPr>
          <a:xfrm rot="16200000">
            <a:off x="341898" y="2907515"/>
            <a:ext cx="1014145" cy="451248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10" name="Shape2_20220526_194235">
            <a:extLst>
              <a:ext uri="{FF2B5EF4-FFF2-40B4-BE49-F238E27FC236}">
                <a16:creationId xmlns:a16="http://schemas.microsoft.com/office/drawing/2014/main" id="{807762D0-4109-740E-ADDA-8663539E67B6}"/>
              </a:ext>
            </a:extLst>
          </p:cNvPr>
          <p:cNvSpPr/>
          <p:nvPr/>
        </p:nvSpPr>
        <p:spPr>
          <a:xfrm rot="16200000">
            <a:off x="341898" y="3917629"/>
            <a:ext cx="1014145" cy="451248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11" name="Shape0_20220526_194238">
            <a:extLst>
              <a:ext uri="{FF2B5EF4-FFF2-40B4-BE49-F238E27FC236}">
                <a16:creationId xmlns:a16="http://schemas.microsoft.com/office/drawing/2014/main" id="{BE61AAA5-33BE-1E8E-6C0F-94AC7349ABFF}"/>
              </a:ext>
            </a:extLst>
          </p:cNvPr>
          <p:cNvSpPr/>
          <p:nvPr/>
        </p:nvSpPr>
        <p:spPr>
          <a:xfrm>
            <a:off x="1068477" y="1611913"/>
            <a:ext cx="3502099" cy="10072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2" name="Shape4_20220526_194238">
            <a:extLst>
              <a:ext uri="{FF2B5EF4-FFF2-40B4-BE49-F238E27FC236}">
                <a16:creationId xmlns:a16="http://schemas.microsoft.com/office/drawing/2014/main" id="{8E1E1126-3341-10D3-B327-05C77B2BDD83}"/>
              </a:ext>
            </a:extLst>
          </p:cNvPr>
          <p:cNvSpPr/>
          <p:nvPr/>
        </p:nvSpPr>
        <p:spPr>
          <a:xfrm>
            <a:off x="4570576" y="1611914"/>
            <a:ext cx="3502099" cy="100608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3" name="Shape5_20220526_194238">
            <a:extLst>
              <a:ext uri="{FF2B5EF4-FFF2-40B4-BE49-F238E27FC236}">
                <a16:creationId xmlns:a16="http://schemas.microsoft.com/office/drawing/2014/main" id="{690E8460-A770-E2DC-E61F-64F9406D60DC}"/>
              </a:ext>
            </a:extLst>
          </p:cNvPr>
          <p:cNvSpPr/>
          <p:nvPr/>
        </p:nvSpPr>
        <p:spPr>
          <a:xfrm>
            <a:off x="8072674" y="1611913"/>
            <a:ext cx="3502099" cy="10072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4" name="Shape6_20220526_194238">
            <a:extLst>
              <a:ext uri="{FF2B5EF4-FFF2-40B4-BE49-F238E27FC236}">
                <a16:creationId xmlns:a16="http://schemas.microsoft.com/office/drawing/2014/main" id="{35A0895C-4314-FE46-50DC-B9DE1C06ACBA}"/>
              </a:ext>
            </a:extLst>
          </p:cNvPr>
          <p:cNvSpPr/>
          <p:nvPr/>
        </p:nvSpPr>
        <p:spPr>
          <a:xfrm>
            <a:off x="1068477" y="2626058"/>
            <a:ext cx="3502099" cy="10239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5" name="Shape7_20220526_194238">
            <a:extLst>
              <a:ext uri="{FF2B5EF4-FFF2-40B4-BE49-F238E27FC236}">
                <a16:creationId xmlns:a16="http://schemas.microsoft.com/office/drawing/2014/main" id="{D4B118A0-42B5-03E4-D47C-F1CB419205CF}"/>
              </a:ext>
            </a:extLst>
          </p:cNvPr>
          <p:cNvSpPr/>
          <p:nvPr/>
        </p:nvSpPr>
        <p:spPr>
          <a:xfrm>
            <a:off x="4570576" y="2626058"/>
            <a:ext cx="3502099" cy="10239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6" name="Shape8_20220526_194238">
            <a:extLst>
              <a:ext uri="{FF2B5EF4-FFF2-40B4-BE49-F238E27FC236}">
                <a16:creationId xmlns:a16="http://schemas.microsoft.com/office/drawing/2014/main" id="{4102E818-FE91-FD83-0E98-D0AA4159291D}"/>
              </a:ext>
            </a:extLst>
          </p:cNvPr>
          <p:cNvSpPr/>
          <p:nvPr/>
        </p:nvSpPr>
        <p:spPr>
          <a:xfrm>
            <a:off x="8072674" y="2626058"/>
            <a:ext cx="3502099" cy="10239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7" name="Shape9_20220526_194238">
            <a:extLst>
              <a:ext uri="{FF2B5EF4-FFF2-40B4-BE49-F238E27FC236}">
                <a16:creationId xmlns:a16="http://schemas.microsoft.com/office/drawing/2014/main" id="{7F323FF0-BC1A-E230-B194-528A602D7B2E}"/>
              </a:ext>
            </a:extLst>
          </p:cNvPr>
          <p:cNvSpPr/>
          <p:nvPr/>
        </p:nvSpPr>
        <p:spPr>
          <a:xfrm>
            <a:off x="1068477" y="3640205"/>
            <a:ext cx="3502099" cy="101728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8" name="Shape10_20220526_194238">
            <a:extLst>
              <a:ext uri="{FF2B5EF4-FFF2-40B4-BE49-F238E27FC236}">
                <a16:creationId xmlns:a16="http://schemas.microsoft.com/office/drawing/2014/main" id="{F5A88AD2-82DD-E9CF-0E90-BCF7FBAD3F94}"/>
              </a:ext>
            </a:extLst>
          </p:cNvPr>
          <p:cNvSpPr/>
          <p:nvPr/>
        </p:nvSpPr>
        <p:spPr>
          <a:xfrm>
            <a:off x="4570576" y="3640208"/>
            <a:ext cx="3502099" cy="101728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21" name="Shape11_20220526_194238">
            <a:extLst>
              <a:ext uri="{FF2B5EF4-FFF2-40B4-BE49-F238E27FC236}">
                <a16:creationId xmlns:a16="http://schemas.microsoft.com/office/drawing/2014/main" id="{1966ECDF-3DF7-2160-DAAE-FC6C7CBFC6AE}"/>
              </a:ext>
            </a:extLst>
          </p:cNvPr>
          <p:cNvSpPr/>
          <p:nvPr/>
        </p:nvSpPr>
        <p:spPr>
          <a:xfrm>
            <a:off x="8072674" y="3640205"/>
            <a:ext cx="3502099" cy="101728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23" name="Shape12_20220526_194238">
            <a:extLst>
              <a:ext uri="{FF2B5EF4-FFF2-40B4-BE49-F238E27FC236}">
                <a16:creationId xmlns:a16="http://schemas.microsoft.com/office/drawing/2014/main" id="{C7BD1AE4-7443-0A40-E991-9812A90EC39D}"/>
              </a:ext>
            </a:extLst>
          </p:cNvPr>
          <p:cNvSpPr/>
          <p:nvPr/>
        </p:nvSpPr>
        <p:spPr>
          <a:xfrm>
            <a:off x="1068477" y="4654358"/>
            <a:ext cx="3502099" cy="100608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24" name="Shape13_20220526_194238">
            <a:extLst>
              <a:ext uri="{FF2B5EF4-FFF2-40B4-BE49-F238E27FC236}">
                <a16:creationId xmlns:a16="http://schemas.microsoft.com/office/drawing/2014/main" id="{A4FA4507-1AC8-9938-0AE5-A3AA685D3944}"/>
              </a:ext>
            </a:extLst>
          </p:cNvPr>
          <p:cNvSpPr/>
          <p:nvPr/>
        </p:nvSpPr>
        <p:spPr>
          <a:xfrm>
            <a:off x="4570576" y="4654358"/>
            <a:ext cx="3502099" cy="100608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25" name="Shape14_20220526_194238">
            <a:extLst>
              <a:ext uri="{FF2B5EF4-FFF2-40B4-BE49-F238E27FC236}">
                <a16:creationId xmlns:a16="http://schemas.microsoft.com/office/drawing/2014/main" id="{D30EC0BE-75C2-A069-44AA-78D1BB338478}"/>
              </a:ext>
            </a:extLst>
          </p:cNvPr>
          <p:cNvSpPr/>
          <p:nvPr/>
        </p:nvSpPr>
        <p:spPr>
          <a:xfrm>
            <a:off x="8072674" y="4654358"/>
            <a:ext cx="3502099" cy="100608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30" name="Shape3_20220526_194235">
            <a:extLst>
              <a:ext uri="{FF2B5EF4-FFF2-40B4-BE49-F238E27FC236}">
                <a16:creationId xmlns:a16="http://schemas.microsoft.com/office/drawing/2014/main" id="{DB5AD56F-EBB0-AC5A-4888-EA216821FC7E}"/>
              </a:ext>
            </a:extLst>
          </p:cNvPr>
          <p:cNvSpPr/>
          <p:nvPr/>
        </p:nvSpPr>
        <p:spPr>
          <a:xfrm rot="16200000">
            <a:off x="335779" y="4935805"/>
            <a:ext cx="1014145" cy="451248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725384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FEEDF0-FDAF-83BC-0FF7-7B75847756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4F5F705-360C-3DEB-79C7-57A76B901F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F5F705-360C-3DEB-79C7-57A76B901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09AE21-125D-10EF-3962-8070D9DC9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6013F19-91AF-AF69-0745-769650F33DB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2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0A6EE622-ED96-7B3D-9709-173E7D057089}"/>
              </a:ext>
            </a:extLst>
          </p:cNvPr>
          <p:cNvCxnSpPr/>
          <p:nvPr/>
        </p:nvCxnSpPr>
        <p:spPr>
          <a:xfrm>
            <a:off x="3237027" y="22970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AE9BE5A8-1CEF-5A39-B884-6515CE796A4E}"/>
              </a:ext>
            </a:extLst>
          </p:cNvPr>
          <p:cNvCxnSpPr/>
          <p:nvPr/>
        </p:nvCxnSpPr>
        <p:spPr>
          <a:xfrm>
            <a:off x="3237027" y="318913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103A1977-1F80-1BE3-E363-900164A65A78}"/>
              </a:ext>
            </a:extLst>
          </p:cNvPr>
          <p:cNvCxnSpPr/>
          <p:nvPr/>
        </p:nvCxnSpPr>
        <p:spPr>
          <a:xfrm>
            <a:off x="3237027" y="408116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Shape3_20220715_163354">
            <a:extLst>
              <a:ext uri="{FF2B5EF4-FFF2-40B4-BE49-F238E27FC236}">
                <a16:creationId xmlns:a16="http://schemas.microsoft.com/office/drawing/2014/main" id="{740D2340-14E6-8380-589A-25CDE03198B3}"/>
              </a:ext>
            </a:extLst>
          </p:cNvPr>
          <p:cNvCxnSpPr/>
          <p:nvPr/>
        </p:nvCxnSpPr>
        <p:spPr>
          <a:xfrm>
            <a:off x="3237027" y="49731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Google Shape;1179;g6b2a921a3a_2_763">
            <a:extLst>
              <a:ext uri="{FF2B5EF4-FFF2-40B4-BE49-F238E27FC236}">
                <a16:creationId xmlns:a16="http://schemas.microsoft.com/office/drawing/2014/main" id="{9B8396D2-B60B-EAE2-642C-88F7916BD9C0}"/>
              </a:ext>
            </a:extLst>
          </p:cNvPr>
          <p:cNvSpPr txBox="1"/>
          <p:nvPr/>
        </p:nvSpPr>
        <p:spPr>
          <a:xfrm>
            <a:off x="549928" y="1474619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69E034F-4B8E-8036-2B4C-D39E47C49F71}"/>
              </a:ext>
            </a:extLst>
          </p:cNvPr>
          <p:cNvSpPr txBox="1">
            <a:spLocks/>
          </p:cNvSpPr>
          <p:nvPr/>
        </p:nvSpPr>
        <p:spPr bwMode="auto">
          <a:xfrm>
            <a:off x="3237030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1" name="Content Placeholder 2~1">
            <a:extLst>
              <a:ext uri="{FF2B5EF4-FFF2-40B4-BE49-F238E27FC236}">
                <a16:creationId xmlns:a16="http://schemas.microsoft.com/office/drawing/2014/main" id="{CC85143D-448D-B0B4-71C4-53DF52A8AB6F}"/>
              </a:ext>
            </a:extLst>
          </p:cNvPr>
          <p:cNvSpPr txBox="1">
            <a:spLocks/>
          </p:cNvSpPr>
          <p:nvPr/>
        </p:nvSpPr>
        <p:spPr bwMode="auto">
          <a:xfrm>
            <a:off x="5383619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2" name="Content Placeholder 2~2">
            <a:extLst>
              <a:ext uri="{FF2B5EF4-FFF2-40B4-BE49-F238E27FC236}">
                <a16:creationId xmlns:a16="http://schemas.microsoft.com/office/drawing/2014/main" id="{BCD5507E-D0B4-356E-AD4B-FB3FBC9DC0ED}"/>
              </a:ext>
            </a:extLst>
          </p:cNvPr>
          <p:cNvSpPr txBox="1">
            <a:spLocks/>
          </p:cNvSpPr>
          <p:nvPr/>
        </p:nvSpPr>
        <p:spPr bwMode="auto">
          <a:xfrm>
            <a:off x="7527718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3" name="Content Placeholder 2~3">
            <a:extLst>
              <a:ext uri="{FF2B5EF4-FFF2-40B4-BE49-F238E27FC236}">
                <a16:creationId xmlns:a16="http://schemas.microsoft.com/office/drawing/2014/main" id="{520602FA-B3ED-2A24-72E8-8E10106E543A}"/>
              </a:ext>
            </a:extLst>
          </p:cNvPr>
          <p:cNvSpPr txBox="1">
            <a:spLocks/>
          </p:cNvSpPr>
          <p:nvPr/>
        </p:nvSpPr>
        <p:spPr bwMode="auto">
          <a:xfrm>
            <a:off x="9671815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4" name="Google Shape;1180;g6b2a921a3a_2_763">
            <a:extLst>
              <a:ext uri="{FF2B5EF4-FFF2-40B4-BE49-F238E27FC236}">
                <a16:creationId xmlns:a16="http://schemas.microsoft.com/office/drawing/2014/main" id="{7F1D7546-8662-81AE-579A-C70964F32AAE}"/>
              </a:ext>
            </a:extLst>
          </p:cNvPr>
          <p:cNvSpPr txBox="1"/>
          <p:nvPr/>
        </p:nvSpPr>
        <p:spPr>
          <a:xfrm>
            <a:off x="549928" y="2366653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15" name="Content Placeholder 2~4">
            <a:extLst>
              <a:ext uri="{FF2B5EF4-FFF2-40B4-BE49-F238E27FC236}">
                <a16:creationId xmlns:a16="http://schemas.microsoft.com/office/drawing/2014/main" id="{46C1F0DC-003F-6550-2F94-8F510F9981C0}"/>
              </a:ext>
            </a:extLst>
          </p:cNvPr>
          <p:cNvSpPr txBox="1">
            <a:spLocks/>
          </p:cNvSpPr>
          <p:nvPr/>
        </p:nvSpPr>
        <p:spPr bwMode="auto">
          <a:xfrm>
            <a:off x="3237030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6" name="Content Placeholder 2~5">
            <a:extLst>
              <a:ext uri="{FF2B5EF4-FFF2-40B4-BE49-F238E27FC236}">
                <a16:creationId xmlns:a16="http://schemas.microsoft.com/office/drawing/2014/main" id="{CFA186D6-1F2E-1B05-DB77-A890B341304A}"/>
              </a:ext>
            </a:extLst>
          </p:cNvPr>
          <p:cNvSpPr txBox="1">
            <a:spLocks/>
          </p:cNvSpPr>
          <p:nvPr/>
        </p:nvSpPr>
        <p:spPr bwMode="auto">
          <a:xfrm>
            <a:off x="5383619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7" name="Content Placeholder 2~6">
            <a:extLst>
              <a:ext uri="{FF2B5EF4-FFF2-40B4-BE49-F238E27FC236}">
                <a16:creationId xmlns:a16="http://schemas.microsoft.com/office/drawing/2014/main" id="{5EDB7D57-C606-8452-391B-A7A4E2B2705B}"/>
              </a:ext>
            </a:extLst>
          </p:cNvPr>
          <p:cNvSpPr txBox="1">
            <a:spLocks/>
          </p:cNvSpPr>
          <p:nvPr/>
        </p:nvSpPr>
        <p:spPr bwMode="auto">
          <a:xfrm>
            <a:off x="7527718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8" name="Content Placeholder 2~7">
            <a:extLst>
              <a:ext uri="{FF2B5EF4-FFF2-40B4-BE49-F238E27FC236}">
                <a16:creationId xmlns:a16="http://schemas.microsoft.com/office/drawing/2014/main" id="{6B8AD6B8-295C-3F87-4D19-483D3E86CD25}"/>
              </a:ext>
            </a:extLst>
          </p:cNvPr>
          <p:cNvSpPr txBox="1">
            <a:spLocks/>
          </p:cNvSpPr>
          <p:nvPr/>
        </p:nvSpPr>
        <p:spPr bwMode="auto">
          <a:xfrm>
            <a:off x="9671815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9" name="Google Shape;1181;g6b2a921a3a_2_763">
            <a:extLst>
              <a:ext uri="{FF2B5EF4-FFF2-40B4-BE49-F238E27FC236}">
                <a16:creationId xmlns:a16="http://schemas.microsoft.com/office/drawing/2014/main" id="{EF346F65-E53A-1E32-05AC-14B0F5C23E0E}"/>
              </a:ext>
            </a:extLst>
          </p:cNvPr>
          <p:cNvSpPr txBox="1"/>
          <p:nvPr/>
        </p:nvSpPr>
        <p:spPr>
          <a:xfrm>
            <a:off x="549928" y="3258694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0" name="Content Placeholder 2~8">
            <a:extLst>
              <a:ext uri="{FF2B5EF4-FFF2-40B4-BE49-F238E27FC236}">
                <a16:creationId xmlns:a16="http://schemas.microsoft.com/office/drawing/2014/main" id="{ECC0162F-5F59-B59A-380B-A9C3DB8BC211}"/>
              </a:ext>
            </a:extLst>
          </p:cNvPr>
          <p:cNvSpPr txBox="1">
            <a:spLocks/>
          </p:cNvSpPr>
          <p:nvPr/>
        </p:nvSpPr>
        <p:spPr bwMode="auto">
          <a:xfrm>
            <a:off x="3237030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1" name="Content Placeholder 2~9">
            <a:extLst>
              <a:ext uri="{FF2B5EF4-FFF2-40B4-BE49-F238E27FC236}">
                <a16:creationId xmlns:a16="http://schemas.microsoft.com/office/drawing/2014/main" id="{8EE88001-0BA6-FB53-80F4-F28E2EA19279}"/>
              </a:ext>
            </a:extLst>
          </p:cNvPr>
          <p:cNvSpPr txBox="1">
            <a:spLocks/>
          </p:cNvSpPr>
          <p:nvPr/>
        </p:nvSpPr>
        <p:spPr bwMode="auto">
          <a:xfrm>
            <a:off x="5383619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2" name="Content Placeholder 2~10">
            <a:extLst>
              <a:ext uri="{FF2B5EF4-FFF2-40B4-BE49-F238E27FC236}">
                <a16:creationId xmlns:a16="http://schemas.microsoft.com/office/drawing/2014/main" id="{FE899772-CF8E-59D7-01A8-DD86D88E8E8C}"/>
              </a:ext>
            </a:extLst>
          </p:cNvPr>
          <p:cNvSpPr txBox="1">
            <a:spLocks/>
          </p:cNvSpPr>
          <p:nvPr/>
        </p:nvSpPr>
        <p:spPr bwMode="auto">
          <a:xfrm>
            <a:off x="7527718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3" name="Content Placeholder 2~11">
            <a:extLst>
              <a:ext uri="{FF2B5EF4-FFF2-40B4-BE49-F238E27FC236}">
                <a16:creationId xmlns:a16="http://schemas.microsoft.com/office/drawing/2014/main" id="{9AC50943-89B5-3C06-A0C5-0EE91B14B629}"/>
              </a:ext>
            </a:extLst>
          </p:cNvPr>
          <p:cNvSpPr txBox="1">
            <a:spLocks/>
          </p:cNvSpPr>
          <p:nvPr/>
        </p:nvSpPr>
        <p:spPr bwMode="auto">
          <a:xfrm>
            <a:off x="9671815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4" name="Google Shape;1182;g6b2a921a3a_2_763">
            <a:extLst>
              <a:ext uri="{FF2B5EF4-FFF2-40B4-BE49-F238E27FC236}">
                <a16:creationId xmlns:a16="http://schemas.microsoft.com/office/drawing/2014/main" id="{48F771EE-E9B0-E8DB-7460-F44DAB196CD5}"/>
              </a:ext>
            </a:extLst>
          </p:cNvPr>
          <p:cNvSpPr txBox="1"/>
          <p:nvPr/>
        </p:nvSpPr>
        <p:spPr>
          <a:xfrm>
            <a:off x="549928" y="4150725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5" name="Content Placeholder 2~12">
            <a:extLst>
              <a:ext uri="{FF2B5EF4-FFF2-40B4-BE49-F238E27FC236}">
                <a16:creationId xmlns:a16="http://schemas.microsoft.com/office/drawing/2014/main" id="{CD95BC03-F2FF-82F4-A3DC-E066115AD489}"/>
              </a:ext>
            </a:extLst>
          </p:cNvPr>
          <p:cNvSpPr txBox="1">
            <a:spLocks/>
          </p:cNvSpPr>
          <p:nvPr/>
        </p:nvSpPr>
        <p:spPr bwMode="auto">
          <a:xfrm>
            <a:off x="3237030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6" name="Content Placeholder 2~13">
            <a:extLst>
              <a:ext uri="{FF2B5EF4-FFF2-40B4-BE49-F238E27FC236}">
                <a16:creationId xmlns:a16="http://schemas.microsoft.com/office/drawing/2014/main" id="{D1BA5ECB-AFEE-90F1-355D-89C65A1DB3ED}"/>
              </a:ext>
            </a:extLst>
          </p:cNvPr>
          <p:cNvSpPr txBox="1">
            <a:spLocks/>
          </p:cNvSpPr>
          <p:nvPr/>
        </p:nvSpPr>
        <p:spPr bwMode="auto">
          <a:xfrm>
            <a:off x="5383619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7" name="Content Placeholder 2~14">
            <a:extLst>
              <a:ext uri="{FF2B5EF4-FFF2-40B4-BE49-F238E27FC236}">
                <a16:creationId xmlns:a16="http://schemas.microsoft.com/office/drawing/2014/main" id="{30EE026B-0E08-0B18-FA9A-3435DC686C2C}"/>
              </a:ext>
            </a:extLst>
          </p:cNvPr>
          <p:cNvSpPr txBox="1">
            <a:spLocks/>
          </p:cNvSpPr>
          <p:nvPr/>
        </p:nvSpPr>
        <p:spPr bwMode="auto">
          <a:xfrm>
            <a:off x="7527718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8" name="Content Placeholder 2~15">
            <a:extLst>
              <a:ext uri="{FF2B5EF4-FFF2-40B4-BE49-F238E27FC236}">
                <a16:creationId xmlns:a16="http://schemas.microsoft.com/office/drawing/2014/main" id="{BCBF644B-E0E1-3D8B-DFE0-F3ED815C23C1}"/>
              </a:ext>
            </a:extLst>
          </p:cNvPr>
          <p:cNvSpPr txBox="1">
            <a:spLocks/>
          </p:cNvSpPr>
          <p:nvPr/>
        </p:nvSpPr>
        <p:spPr bwMode="auto">
          <a:xfrm>
            <a:off x="9671815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9" name="Google Shape;1183;g6b2a921a3a_2_763">
            <a:extLst>
              <a:ext uri="{FF2B5EF4-FFF2-40B4-BE49-F238E27FC236}">
                <a16:creationId xmlns:a16="http://schemas.microsoft.com/office/drawing/2014/main" id="{8CA03723-858A-0283-8397-1AFDDC45D4C8}"/>
              </a:ext>
            </a:extLst>
          </p:cNvPr>
          <p:cNvSpPr txBox="1"/>
          <p:nvPr/>
        </p:nvSpPr>
        <p:spPr>
          <a:xfrm>
            <a:off x="549928" y="5034332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30" name="Content Placeholder 2~16">
            <a:extLst>
              <a:ext uri="{FF2B5EF4-FFF2-40B4-BE49-F238E27FC236}">
                <a16:creationId xmlns:a16="http://schemas.microsoft.com/office/drawing/2014/main" id="{9D928092-EFCF-2A64-5E07-0569802EE85C}"/>
              </a:ext>
            </a:extLst>
          </p:cNvPr>
          <p:cNvSpPr txBox="1">
            <a:spLocks/>
          </p:cNvSpPr>
          <p:nvPr/>
        </p:nvSpPr>
        <p:spPr bwMode="auto">
          <a:xfrm>
            <a:off x="3237030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1" name="Content Placeholder 2~17">
            <a:extLst>
              <a:ext uri="{FF2B5EF4-FFF2-40B4-BE49-F238E27FC236}">
                <a16:creationId xmlns:a16="http://schemas.microsoft.com/office/drawing/2014/main" id="{6609CA2C-4AA3-D198-BBD8-F14FF22B7A16}"/>
              </a:ext>
            </a:extLst>
          </p:cNvPr>
          <p:cNvSpPr txBox="1">
            <a:spLocks/>
          </p:cNvSpPr>
          <p:nvPr/>
        </p:nvSpPr>
        <p:spPr bwMode="auto">
          <a:xfrm>
            <a:off x="5383619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2" name="Content Placeholder 2~18">
            <a:extLst>
              <a:ext uri="{FF2B5EF4-FFF2-40B4-BE49-F238E27FC236}">
                <a16:creationId xmlns:a16="http://schemas.microsoft.com/office/drawing/2014/main" id="{D72179B6-59A8-2E45-B740-F5FDCCCE4F8E}"/>
              </a:ext>
            </a:extLst>
          </p:cNvPr>
          <p:cNvSpPr txBox="1">
            <a:spLocks/>
          </p:cNvSpPr>
          <p:nvPr/>
        </p:nvSpPr>
        <p:spPr bwMode="auto">
          <a:xfrm>
            <a:off x="7527718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3" name="Content Placeholder 2~19">
            <a:extLst>
              <a:ext uri="{FF2B5EF4-FFF2-40B4-BE49-F238E27FC236}">
                <a16:creationId xmlns:a16="http://schemas.microsoft.com/office/drawing/2014/main" id="{1CAE19B9-8658-7EC1-FEC7-62E064606700}"/>
              </a:ext>
            </a:extLst>
          </p:cNvPr>
          <p:cNvSpPr txBox="1">
            <a:spLocks/>
          </p:cNvSpPr>
          <p:nvPr/>
        </p:nvSpPr>
        <p:spPr bwMode="auto">
          <a:xfrm>
            <a:off x="9671815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4" name="Google Shape;1178;g6b2a921a3a_2_763">
            <a:extLst>
              <a:ext uri="{FF2B5EF4-FFF2-40B4-BE49-F238E27FC236}">
                <a16:creationId xmlns:a16="http://schemas.microsoft.com/office/drawing/2014/main" id="{B01D59B3-F2A4-017F-8239-C1495C2D5943}"/>
              </a:ext>
            </a:extLst>
          </p:cNvPr>
          <p:cNvSpPr txBox="1"/>
          <p:nvPr/>
        </p:nvSpPr>
        <p:spPr>
          <a:xfrm>
            <a:off x="549928" y="1021283"/>
            <a:ext cx="2569376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1185;g6b2a921a3a_2_763">
            <a:extLst>
              <a:ext uri="{FF2B5EF4-FFF2-40B4-BE49-F238E27FC236}">
                <a16:creationId xmlns:a16="http://schemas.microsoft.com/office/drawing/2014/main" id="{C1CE852A-7BEA-A23F-967C-9EE2BEE38FFF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6" name="Shape4_20220715_163331">
            <a:extLst>
              <a:ext uri="{FF2B5EF4-FFF2-40B4-BE49-F238E27FC236}">
                <a16:creationId xmlns:a16="http://schemas.microsoft.com/office/drawing/2014/main" id="{E0D1DAC7-0CB1-2132-0729-3C0D53187BB0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" name="Google Shape;1188;g6b2a921a3a_2_763">
            <a:extLst>
              <a:ext uri="{FF2B5EF4-FFF2-40B4-BE49-F238E27FC236}">
                <a16:creationId xmlns:a16="http://schemas.microsoft.com/office/drawing/2014/main" id="{60883CF8-7350-0871-B969-4B95B7DF18A2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8" name="Shape5_20220715_163331">
            <a:extLst>
              <a:ext uri="{FF2B5EF4-FFF2-40B4-BE49-F238E27FC236}">
                <a16:creationId xmlns:a16="http://schemas.microsoft.com/office/drawing/2014/main" id="{6ACA1876-3DBB-5471-5DE8-372CF57F8421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1191;g6b2a921a3a_2_763">
            <a:extLst>
              <a:ext uri="{FF2B5EF4-FFF2-40B4-BE49-F238E27FC236}">
                <a16:creationId xmlns:a16="http://schemas.microsoft.com/office/drawing/2014/main" id="{846B6BF3-67F5-67FD-B6BA-6427C1C63804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0" name="Shape6_20220715_163331">
            <a:extLst>
              <a:ext uri="{FF2B5EF4-FFF2-40B4-BE49-F238E27FC236}">
                <a16:creationId xmlns:a16="http://schemas.microsoft.com/office/drawing/2014/main" id="{9F7B2FBF-9F8E-59DD-CBB5-2050D67E6D36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1199;g6b2a921a3a_2_763">
            <a:extLst>
              <a:ext uri="{FF2B5EF4-FFF2-40B4-BE49-F238E27FC236}">
                <a16:creationId xmlns:a16="http://schemas.microsoft.com/office/drawing/2014/main" id="{310C68A2-DEC5-D718-E87E-014165E5515C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2" name="Shape7_20220715_163331">
            <a:extLst>
              <a:ext uri="{FF2B5EF4-FFF2-40B4-BE49-F238E27FC236}">
                <a16:creationId xmlns:a16="http://schemas.microsoft.com/office/drawing/2014/main" id="{5C42A3C4-9D78-814C-28B5-02EB13EE2FC5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482409231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028EA-636E-2F00-EF18-A04FC91A1F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4ADB5CE-9B5B-D9FA-7060-0A121A02F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1AFB15-1122-BA0E-2920-494E58DB6D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9A72CF-40B2-22D7-982B-1ECC43816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33C87F2-160E-73C7-3B7A-CB91BFBBB67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20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Google Shape;3295;p49">
            <a:extLst>
              <a:ext uri="{FF2B5EF4-FFF2-40B4-BE49-F238E27FC236}">
                <a16:creationId xmlns:a16="http://schemas.microsoft.com/office/drawing/2014/main" id="{B802CD95-96E4-02E7-B4BA-32BE9456EF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4037940"/>
              </p:ext>
            </p:extLst>
          </p:nvPr>
        </p:nvGraphicFramePr>
        <p:xfrm>
          <a:off x="617625" y="1200752"/>
          <a:ext cx="11144837" cy="4555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79381007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15180A-188A-F292-C2B2-1E9305C33B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5823DF0-3E8C-913B-0B91-961996E7B2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ADB5CE-9B5B-D9FA-7060-0A121A02F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F969DE-FD16-65E9-329A-D5250C184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CCB10E3-32CE-1CB1-7F85-44FE321183A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2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6A8F29E-2178-8750-080A-06D0B91AF0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9903797"/>
              </p:ext>
            </p:extLst>
          </p:nvPr>
        </p:nvGraphicFramePr>
        <p:xfrm>
          <a:off x="475305" y="2065825"/>
          <a:ext cx="4577303" cy="2823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ardrop 4">
            <a:extLst>
              <a:ext uri="{FF2B5EF4-FFF2-40B4-BE49-F238E27FC236}">
                <a16:creationId xmlns:a16="http://schemas.microsoft.com/office/drawing/2014/main" id="{D5BBC607-5725-F735-B9B5-8AA7548D8242}"/>
              </a:ext>
            </a:extLst>
          </p:cNvPr>
          <p:cNvSpPr/>
          <p:nvPr/>
        </p:nvSpPr>
        <p:spPr bwMode="gray">
          <a:xfrm rot="8100000">
            <a:off x="684115" y="2425728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9FD0E54-6B01-8D5D-BD5F-515DD6529EBF}"/>
              </a:ext>
            </a:extLst>
          </p:cNvPr>
          <p:cNvSpPr/>
          <p:nvPr/>
        </p:nvSpPr>
        <p:spPr bwMode="gray">
          <a:xfrm>
            <a:off x="728325" y="2467920"/>
            <a:ext cx="480218" cy="4578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50%</a:t>
            </a:r>
          </a:p>
        </p:txBody>
      </p:sp>
      <p:sp>
        <p:nvSpPr>
          <p:cNvPr id="7" name="Teardrop 6">
            <a:extLst>
              <a:ext uri="{FF2B5EF4-FFF2-40B4-BE49-F238E27FC236}">
                <a16:creationId xmlns:a16="http://schemas.microsoft.com/office/drawing/2014/main" id="{82B21757-D62A-F3AF-1269-A45E9B074056}"/>
              </a:ext>
            </a:extLst>
          </p:cNvPr>
          <p:cNvSpPr/>
          <p:nvPr/>
        </p:nvSpPr>
        <p:spPr bwMode="gray">
          <a:xfrm rot="8100000">
            <a:off x="1420588" y="2070726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04D9DE5-7C3C-ECD4-4009-86C37F1E722A}"/>
              </a:ext>
            </a:extLst>
          </p:cNvPr>
          <p:cNvSpPr/>
          <p:nvPr/>
        </p:nvSpPr>
        <p:spPr bwMode="gray">
          <a:xfrm>
            <a:off x="1464799" y="2112915"/>
            <a:ext cx="480218" cy="480218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60%</a:t>
            </a:r>
          </a:p>
        </p:txBody>
      </p:sp>
      <p:sp>
        <p:nvSpPr>
          <p:cNvPr id="9" name="Teardrop 8">
            <a:extLst>
              <a:ext uri="{FF2B5EF4-FFF2-40B4-BE49-F238E27FC236}">
                <a16:creationId xmlns:a16="http://schemas.microsoft.com/office/drawing/2014/main" id="{81828D9F-4048-EF78-1B64-80FC2C3D1C9C}"/>
              </a:ext>
            </a:extLst>
          </p:cNvPr>
          <p:cNvSpPr/>
          <p:nvPr/>
        </p:nvSpPr>
        <p:spPr bwMode="gray">
          <a:xfrm rot="8100000">
            <a:off x="2127132" y="2550945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16AAB43-5B30-B51C-0058-8FBEDAF094BD}"/>
              </a:ext>
            </a:extLst>
          </p:cNvPr>
          <p:cNvSpPr/>
          <p:nvPr/>
        </p:nvSpPr>
        <p:spPr bwMode="gray">
          <a:xfrm>
            <a:off x="2171345" y="2593135"/>
            <a:ext cx="480218" cy="480218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45%</a:t>
            </a:r>
          </a:p>
        </p:txBody>
      </p:sp>
      <p:sp>
        <p:nvSpPr>
          <p:cNvPr id="11" name="Teardrop 10">
            <a:extLst>
              <a:ext uri="{FF2B5EF4-FFF2-40B4-BE49-F238E27FC236}">
                <a16:creationId xmlns:a16="http://schemas.microsoft.com/office/drawing/2014/main" id="{DDAB9478-B1BD-B326-B63A-5A442BF52CA7}"/>
              </a:ext>
            </a:extLst>
          </p:cNvPr>
          <p:cNvSpPr/>
          <p:nvPr/>
        </p:nvSpPr>
        <p:spPr bwMode="gray">
          <a:xfrm rot="8100000">
            <a:off x="2832748" y="2242711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0200C73-4708-4A98-923E-27A5E01414D0}"/>
              </a:ext>
            </a:extLst>
          </p:cNvPr>
          <p:cNvSpPr/>
          <p:nvPr/>
        </p:nvSpPr>
        <p:spPr bwMode="gray">
          <a:xfrm>
            <a:off x="2876957" y="2284896"/>
            <a:ext cx="480218" cy="480218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55%</a:t>
            </a:r>
          </a:p>
        </p:txBody>
      </p:sp>
      <p:sp>
        <p:nvSpPr>
          <p:cNvPr id="13" name="Teardrop 12">
            <a:extLst>
              <a:ext uri="{FF2B5EF4-FFF2-40B4-BE49-F238E27FC236}">
                <a16:creationId xmlns:a16="http://schemas.microsoft.com/office/drawing/2014/main" id="{E974E180-E1CB-59CA-4B22-00C3F77A89C3}"/>
              </a:ext>
            </a:extLst>
          </p:cNvPr>
          <p:cNvSpPr/>
          <p:nvPr/>
        </p:nvSpPr>
        <p:spPr bwMode="gray">
          <a:xfrm rot="8100000">
            <a:off x="4271783" y="1506682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defRPr/>
            </a:pPr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5339258-9758-ECE6-75D7-57EA49E4E6D6}"/>
              </a:ext>
            </a:extLst>
          </p:cNvPr>
          <p:cNvSpPr/>
          <p:nvPr/>
        </p:nvSpPr>
        <p:spPr bwMode="gray">
          <a:xfrm>
            <a:off x="4315997" y="1548872"/>
            <a:ext cx="480218" cy="480218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rgbClr val="000000"/>
                </a:solidFill>
                <a:cs typeface="Arial" panose="020B0604020202020204" pitchFamily="34" charset="0"/>
              </a:rPr>
              <a:t>80%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E2D4E82-D2A5-EA11-8DFB-D113D3C437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8453780"/>
              </p:ext>
            </p:extLst>
          </p:nvPr>
        </p:nvGraphicFramePr>
        <p:xfrm>
          <a:off x="5323847" y="1436099"/>
          <a:ext cx="6034727" cy="3378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81865384-82E1-4B14-5537-75B3D7170F70}"/>
              </a:ext>
            </a:extLst>
          </p:cNvPr>
          <p:cNvSpPr/>
          <p:nvPr/>
        </p:nvSpPr>
        <p:spPr bwMode="gray">
          <a:xfrm>
            <a:off x="7764346" y="1436094"/>
            <a:ext cx="1724848" cy="767765"/>
          </a:xfrm>
          <a:prstGeom prst="wedgeRectCallout">
            <a:avLst>
              <a:gd name="adj1" fmla="val -16619"/>
              <a:gd name="adj2" fmla="val 107831"/>
            </a:avLst>
          </a:prstGeom>
          <a:solidFill>
            <a:srgbClr val="F1F1F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4948" tIns="34948" rIns="34948" bIns="34948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37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1691800-2A81-6023-40C1-63CA613CB234}"/>
              </a:ext>
            </a:extLst>
          </p:cNvPr>
          <p:cNvSpPr txBox="1"/>
          <p:nvPr/>
        </p:nvSpPr>
        <p:spPr bwMode="gray">
          <a:xfrm>
            <a:off x="372731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66D911-6CEA-CD70-0834-99A3FC94D1D9}"/>
              </a:ext>
            </a:extLst>
          </p:cNvPr>
          <p:cNvSpPr txBox="1"/>
          <p:nvPr/>
        </p:nvSpPr>
        <p:spPr bwMode="gray">
          <a:xfrm>
            <a:off x="2278193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76E459-79A1-3E4E-F4F2-8BBAAB41C43C}"/>
              </a:ext>
            </a:extLst>
          </p:cNvPr>
          <p:cNvSpPr txBox="1"/>
          <p:nvPr/>
        </p:nvSpPr>
        <p:spPr bwMode="gray">
          <a:xfrm>
            <a:off x="4183656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B1FBE43-35FF-E179-DFBA-D0D5324ABC25}"/>
              </a:ext>
            </a:extLst>
          </p:cNvPr>
          <p:cNvSpPr txBox="1"/>
          <p:nvPr/>
        </p:nvSpPr>
        <p:spPr bwMode="gray">
          <a:xfrm>
            <a:off x="6089117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14696B0-F591-2327-8A18-CBBE402EDAF6}"/>
              </a:ext>
            </a:extLst>
          </p:cNvPr>
          <p:cNvSpPr txBox="1"/>
          <p:nvPr/>
        </p:nvSpPr>
        <p:spPr bwMode="gray">
          <a:xfrm>
            <a:off x="7994578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C598B6-CBD8-5BB5-C4DD-29C9B495D08F}"/>
              </a:ext>
            </a:extLst>
          </p:cNvPr>
          <p:cNvSpPr txBox="1"/>
          <p:nvPr/>
        </p:nvSpPr>
        <p:spPr bwMode="gray">
          <a:xfrm>
            <a:off x="9900038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Teardrop 22">
            <a:extLst>
              <a:ext uri="{FF2B5EF4-FFF2-40B4-BE49-F238E27FC236}">
                <a16:creationId xmlns:a16="http://schemas.microsoft.com/office/drawing/2014/main" id="{B60E58B0-A9BF-DDEA-401F-B2A13AC184F2}"/>
              </a:ext>
            </a:extLst>
          </p:cNvPr>
          <p:cNvSpPr/>
          <p:nvPr/>
        </p:nvSpPr>
        <p:spPr bwMode="gray">
          <a:xfrm rot="8100000">
            <a:off x="3544990" y="1798528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979216E-0854-861A-6989-93488AD95EBD}"/>
              </a:ext>
            </a:extLst>
          </p:cNvPr>
          <p:cNvSpPr/>
          <p:nvPr/>
        </p:nvSpPr>
        <p:spPr bwMode="gray">
          <a:xfrm>
            <a:off x="3589206" y="1840718"/>
            <a:ext cx="480218" cy="480218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70%</a:t>
            </a:r>
          </a:p>
        </p:txBody>
      </p:sp>
    </p:spTree>
    <p:extLst>
      <p:ext uri="{BB962C8B-B14F-4D97-AF65-F5344CB8AC3E}">
        <p14:creationId xmlns:p14="http://schemas.microsoft.com/office/powerpoint/2010/main" val="3407662929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39EF1F-1AD2-EBE4-51CB-8560B7893A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2B32CD4-FB58-3E6C-BB55-27E7110219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823DF0-3E8C-913B-0B91-961996E7B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6B5E3F-1C98-5E0F-7B1F-77BE21952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FC36F1F-A03D-E7EE-9C1A-C895F4DB037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22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DB93DB2-B946-4A43-DA6C-02C2EA69C8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54564202"/>
              </p:ext>
            </p:extLst>
          </p:nvPr>
        </p:nvGraphicFramePr>
        <p:xfrm>
          <a:off x="372731" y="1200033"/>
          <a:ext cx="7877801" cy="455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CF5C030-2E72-1E89-89AF-FA4D460F11C9}"/>
              </a:ext>
            </a:extLst>
          </p:cNvPr>
          <p:cNvSpPr/>
          <p:nvPr/>
        </p:nvSpPr>
        <p:spPr bwMode="gray">
          <a:xfrm>
            <a:off x="8660502" y="1200033"/>
            <a:ext cx="2857064" cy="4557000"/>
          </a:xfrm>
          <a:prstGeom prst="rect">
            <a:avLst/>
          </a:prstGeom>
          <a:solidFill>
            <a:srgbClr val="FFFFFF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329" dirty="0">
              <a:solidFill>
                <a:srgbClr val="FFFFFF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FAAAF8-B7A1-33FF-8049-118A3215CDD3}"/>
              </a:ext>
            </a:extLst>
          </p:cNvPr>
          <p:cNvSpPr txBox="1"/>
          <p:nvPr/>
        </p:nvSpPr>
        <p:spPr bwMode="gray">
          <a:xfrm>
            <a:off x="8830387" y="1375376"/>
            <a:ext cx="2517292" cy="23654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37" b="1" noProof="1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E4B608-C9CB-53D5-DBF0-2B2A8A62A8B3}"/>
              </a:ext>
            </a:extLst>
          </p:cNvPr>
          <p:cNvSpPr txBox="1"/>
          <p:nvPr/>
        </p:nvSpPr>
        <p:spPr bwMode="gray">
          <a:xfrm>
            <a:off x="8830387" y="1665403"/>
            <a:ext cx="2517292" cy="2365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37" noProof="1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220230349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87439E-281D-A4C4-32E1-E08B8ED0F4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8FC4767-FDE7-9F9D-7751-8F3C0A1C9D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B32CD4-FB58-3E6C-BB55-27E711021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8338DD-9AF4-1333-961E-8441A9841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E3465E6-250E-6392-04AF-96C8DF6B658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23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6437F2BA-620D-A7FD-C6EB-E2E094B8BF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5156139"/>
              </p:ext>
            </p:extLst>
          </p:nvPr>
        </p:nvGraphicFramePr>
        <p:xfrm>
          <a:off x="517702" y="1184555"/>
          <a:ext cx="11156595" cy="4567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5164">
                  <a:extLst>
                    <a:ext uri="{9D8B030D-6E8A-4147-A177-3AD203B41FA5}">
                      <a16:colId xmlns:a16="http://schemas.microsoft.com/office/drawing/2014/main" val="20907343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135900651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452308803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3134237105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585510681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56373698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334602310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588875718"/>
                    </a:ext>
                  </a:extLst>
                </a:gridCol>
              </a:tblGrid>
              <a:tr h="553237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rgbClr val="FFFFFF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148821"/>
                  </a:ext>
                </a:extLst>
              </a:tr>
              <a:tr h="1338199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433772"/>
                  </a:ext>
                </a:extLst>
              </a:tr>
              <a:tr h="1338199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744574"/>
                  </a:ext>
                </a:extLst>
              </a:tr>
              <a:tr h="1338199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299071"/>
                  </a:ext>
                </a:extLst>
              </a:tr>
            </a:tbl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EE53351-6BDD-CC98-EC7E-6250740115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6944136"/>
              </p:ext>
            </p:extLst>
          </p:nvPr>
        </p:nvGraphicFramePr>
        <p:xfrm>
          <a:off x="2989918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987CB4B-BBFC-0564-C0DA-D862F77481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3773578"/>
              </p:ext>
            </p:extLst>
          </p:nvPr>
        </p:nvGraphicFramePr>
        <p:xfrm>
          <a:off x="4271943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55BBC25-6743-1F38-0214-E6A45042B3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9851790"/>
              </p:ext>
            </p:extLst>
          </p:nvPr>
        </p:nvGraphicFramePr>
        <p:xfrm>
          <a:off x="5553969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9BB3834-2635-4DD1-053F-F3351F085D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2799534"/>
              </p:ext>
            </p:extLst>
          </p:nvPr>
        </p:nvGraphicFramePr>
        <p:xfrm>
          <a:off x="6835995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A5B1F3DD-73A2-B372-059B-1282B6C43F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9965032"/>
              </p:ext>
            </p:extLst>
          </p:nvPr>
        </p:nvGraphicFramePr>
        <p:xfrm>
          <a:off x="8118021" y="1817482"/>
          <a:ext cx="97245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AAFA8E56-3DEF-3D93-F678-97F4C8CBF2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3934933"/>
              </p:ext>
            </p:extLst>
          </p:nvPr>
        </p:nvGraphicFramePr>
        <p:xfrm>
          <a:off x="9400047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CF89F380-8755-4C37-61AE-69EFD53BD9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3243127"/>
              </p:ext>
            </p:extLst>
          </p:nvPr>
        </p:nvGraphicFramePr>
        <p:xfrm>
          <a:off x="10682072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22296127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1396E-5418-147A-5990-B1DAA47383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2CCDFEA-F894-750A-5413-6F7108F8A3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CDFEA-F894-750A-5413-6F7108F8A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B5BC2B-95AB-CF14-8ACC-9CF442684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4534316-5B95-D7F9-6958-250E530AE4D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3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2D2AAE1-DB17-D549-6E71-9C9CB934FF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9553380"/>
              </p:ext>
            </p:extLst>
          </p:nvPr>
        </p:nvGraphicFramePr>
        <p:xfrm>
          <a:off x="754521" y="1282304"/>
          <a:ext cx="10682958" cy="4166616"/>
        </p:xfrm>
        <a:graphic>
          <a:graphicData uri="http://schemas.openxmlformats.org/drawingml/2006/table">
            <a:tbl>
              <a:tblPr firstRow="1" bandRow="1"/>
              <a:tblGrid>
                <a:gridCol w="1780493">
                  <a:extLst>
                    <a:ext uri="{9D8B030D-6E8A-4147-A177-3AD203B41FA5}">
                      <a16:colId xmlns:a16="http://schemas.microsoft.com/office/drawing/2014/main" val="3659823728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405163725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83719901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75481753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267950814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1472900263"/>
                    </a:ext>
                  </a:extLst>
                </a:gridCol>
              </a:tblGrid>
              <a:tr h="4114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476668"/>
                  </a:ext>
                </a:extLst>
              </a:tr>
              <a:tr h="18775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241880"/>
                  </a:ext>
                </a:extLst>
              </a:tr>
              <a:tr h="18775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081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2671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04DA14-6EF0-75A0-FEA6-BFFF0C4961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ACC098D-5BD7-82B7-09A0-CE38B18B9E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CC098D-5BD7-82B7-09A0-CE38B18B9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BAE94E-8403-EE4F-2B69-789335921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5DCF6AD-A629-6D00-B37D-23581DBDA37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4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FF1AA65-80B6-6041-1F1C-6E5E6F8AD3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169309"/>
              </p:ext>
            </p:extLst>
          </p:nvPr>
        </p:nvGraphicFramePr>
        <p:xfrm>
          <a:off x="754521" y="1282309"/>
          <a:ext cx="10682958" cy="4722250"/>
        </p:xfrm>
        <a:graphic>
          <a:graphicData uri="http://schemas.openxmlformats.org/drawingml/2006/table">
            <a:tbl>
              <a:tblPr firstRow="1" bandRow="1"/>
              <a:tblGrid>
                <a:gridCol w="1780493">
                  <a:extLst>
                    <a:ext uri="{9D8B030D-6E8A-4147-A177-3AD203B41FA5}">
                      <a16:colId xmlns:a16="http://schemas.microsoft.com/office/drawing/2014/main" val="3659823728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405163725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83719901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75481753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267950814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1472900263"/>
                    </a:ext>
                  </a:extLst>
                </a:gridCol>
              </a:tblGrid>
              <a:tr h="4118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476668"/>
                  </a:ext>
                </a:extLst>
              </a:tr>
              <a:tr h="1436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241880"/>
                  </a:ext>
                </a:extLst>
              </a:tr>
              <a:tr h="1436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08137"/>
                  </a:ext>
                </a:extLst>
              </a:tr>
              <a:tr h="1436788">
                <a:tc>
                  <a:txBody>
                    <a:bodyPr/>
                    <a:lstStyle/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3747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65845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A765E4-5558-D03A-34D6-1193260A1E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D7044C9-DADE-1442-6ECA-24B74AB157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044C9-DADE-1442-6ECA-24B74AB157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548B701-0A76-81DB-476B-560556643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9B5439F-9D6D-F8AB-B9C1-B22FF72D0377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0E62136-E033-89A8-6AEC-A34DE80D12FB}"/>
              </a:ext>
            </a:extLst>
          </p:cNvPr>
          <p:cNvSpPr/>
          <p:nvPr/>
        </p:nvSpPr>
        <p:spPr>
          <a:xfrm>
            <a:off x="808895" y="1931884"/>
            <a:ext cx="4126709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" name="Shape0_20220512_134702">
            <a:extLst>
              <a:ext uri="{FF2B5EF4-FFF2-40B4-BE49-F238E27FC236}">
                <a16:creationId xmlns:a16="http://schemas.microsoft.com/office/drawing/2014/main" id="{F8034AF1-C03F-C162-E734-56A82E28A1CA}"/>
              </a:ext>
            </a:extLst>
          </p:cNvPr>
          <p:cNvSpPr/>
          <p:nvPr/>
        </p:nvSpPr>
        <p:spPr>
          <a:xfrm>
            <a:off x="813256" y="1156607"/>
            <a:ext cx="4117986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460CAD-062D-4205-F7E5-8B49BD945E47}"/>
              </a:ext>
            </a:extLst>
          </p:cNvPr>
          <p:cNvSpPr/>
          <p:nvPr/>
        </p:nvSpPr>
        <p:spPr>
          <a:xfrm>
            <a:off x="7197339" y="1931884"/>
            <a:ext cx="4126709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F55BFA-40BC-23B4-B368-AE52FF57245B}"/>
              </a:ext>
            </a:extLst>
          </p:cNvPr>
          <p:cNvSpPr>
            <a:spLocks/>
          </p:cNvSpPr>
          <p:nvPr/>
        </p:nvSpPr>
        <p:spPr>
          <a:xfrm>
            <a:off x="747364" y="2250707"/>
            <a:ext cx="4292650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2A4B7A3-3C45-CAD3-B8F8-571D0ADECA86}"/>
              </a:ext>
            </a:extLst>
          </p:cNvPr>
          <p:cNvSpPr txBox="1">
            <a:spLocks/>
          </p:cNvSpPr>
          <p:nvPr/>
        </p:nvSpPr>
        <p:spPr>
          <a:xfrm>
            <a:off x="747364" y="2591598"/>
            <a:ext cx="4292650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02B0799-2146-CAF6-0C96-0C3DA760A5EC}"/>
              </a:ext>
            </a:extLst>
          </p:cNvPr>
          <p:cNvSpPr txBox="1">
            <a:spLocks/>
          </p:cNvSpPr>
          <p:nvPr/>
        </p:nvSpPr>
        <p:spPr>
          <a:xfrm>
            <a:off x="7135808" y="2591598"/>
            <a:ext cx="4292650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B389C7-B97C-5D78-460F-CC4533DF7F8E}"/>
              </a:ext>
            </a:extLst>
          </p:cNvPr>
          <p:cNvSpPr>
            <a:spLocks/>
          </p:cNvSpPr>
          <p:nvPr/>
        </p:nvSpPr>
        <p:spPr>
          <a:xfrm>
            <a:off x="7135808" y="2250706"/>
            <a:ext cx="4292650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1" name="Shape1_20220512_134702">
            <a:extLst>
              <a:ext uri="{FF2B5EF4-FFF2-40B4-BE49-F238E27FC236}">
                <a16:creationId xmlns:a16="http://schemas.microsoft.com/office/drawing/2014/main" id="{54391248-0B1E-C042-67ED-717D64F5D539}"/>
              </a:ext>
            </a:extLst>
          </p:cNvPr>
          <p:cNvSpPr/>
          <p:nvPr/>
        </p:nvSpPr>
        <p:spPr>
          <a:xfrm>
            <a:off x="7201694" y="1156607"/>
            <a:ext cx="4117986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12" name="Shape0_20210625_174740">
            <a:extLst>
              <a:ext uri="{FF2B5EF4-FFF2-40B4-BE49-F238E27FC236}">
                <a16:creationId xmlns:a16="http://schemas.microsoft.com/office/drawing/2014/main" id="{EE025C60-816E-DD8F-9BE1-8E33E161C263}"/>
              </a:ext>
            </a:extLst>
          </p:cNvPr>
          <p:cNvCxnSpPr>
            <a:cxnSpLocks/>
          </p:cNvCxnSpPr>
          <p:nvPr/>
        </p:nvCxnSpPr>
        <p:spPr>
          <a:xfrm>
            <a:off x="6066465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hape1_20220317_110454">
            <a:extLst>
              <a:ext uri="{FF2B5EF4-FFF2-40B4-BE49-F238E27FC236}">
                <a16:creationId xmlns:a16="http://schemas.microsoft.com/office/drawing/2014/main" id="{FC89CD21-4C2D-B461-B1E5-0A1AB50A9B1E}"/>
              </a:ext>
            </a:extLst>
          </p:cNvPr>
          <p:cNvCxnSpPr>
            <a:cxnSpLocks/>
          </p:cNvCxnSpPr>
          <p:nvPr/>
        </p:nvCxnSpPr>
        <p:spPr>
          <a:xfrm>
            <a:off x="407823" y="2021182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1_20220317_110454">
            <a:extLst>
              <a:ext uri="{FF2B5EF4-FFF2-40B4-BE49-F238E27FC236}">
                <a16:creationId xmlns:a16="http://schemas.microsoft.com/office/drawing/2014/main" id="{00E8445E-8539-FFA5-C4DF-1D31F62FF0F3}"/>
              </a:ext>
            </a:extLst>
          </p:cNvPr>
          <p:cNvCxnSpPr>
            <a:cxnSpLocks/>
          </p:cNvCxnSpPr>
          <p:nvPr/>
        </p:nvCxnSpPr>
        <p:spPr>
          <a:xfrm>
            <a:off x="407823" y="6180881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30607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5105CF-6585-0161-5DFD-8777E95E2A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6F86BE5-8967-F060-575F-133763777D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F86BE5-8967-F060-575F-133763777D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2EB4A6-B0E8-F31E-CD64-8BA36FACD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2CF2E27-498B-DC47-B031-31AA067E68D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6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3" name="Shape0_20210625_174740">
            <a:extLst>
              <a:ext uri="{FF2B5EF4-FFF2-40B4-BE49-F238E27FC236}">
                <a16:creationId xmlns:a16="http://schemas.microsoft.com/office/drawing/2014/main" id="{2C1B5A77-74A6-EDE3-4A68-577A17D4E1CD}"/>
              </a:ext>
            </a:extLst>
          </p:cNvPr>
          <p:cNvCxnSpPr>
            <a:cxnSpLocks/>
          </p:cNvCxnSpPr>
          <p:nvPr/>
        </p:nvCxnSpPr>
        <p:spPr>
          <a:xfrm>
            <a:off x="4265335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1_20220317_110454">
            <a:extLst>
              <a:ext uri="{FF2B5EF4-FFF2-40B4-BE49-F238E27FC236}">
                <a16:creationId xmlns:a16="http://schemas.microsoft.com/office/drawing/2014/main" id="{8E6B2B0B-1FF7-D3B7-1064-3A868EE61D57}"/>
              </a:ext>
            </a:extLst>
          </p:cNvPr>
          <p:cNvCxnSpPr>
            <a:cxnSpLocks/>
          </p:cNvCxnSpPr>
          <p:nvPr/>
        </p:nvCxnSpPr>
        <p:spPr>
          <a:xfrm>
            <a:off x="407823" y="2021182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hape1_20220317_110454">
            <a:extLst>
              <a:ext uri="{FF2B5EF4-FFF2-40B4-BE49-F238E27FC236}">
                <a16:creationId xmlns:a16="http://schemas.microsoft.com/office/drawing/2014/main" id="{F77D33FC-4D5F-454E-FB59-D62046045DDC}"/>
              </a:ext>
            </a:extLst>
          </p:cNvPr>
          <p:cNvCxnSpPr>
            <a:cxnSpLocks/>
          </p:cNvCxnSpPr>
          <p:nvPr/>
        </p:nvCxnSpPr>
        <p:spPr>
          <a:xfrm>
            <a:off x="407823" y="6180881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0D0B3025-FB39-73A4-0CFB-D30344FFC41E}"/>
              </a:ext>
            </a:extLst>
          </p:cNvPr>
          <p:cNvSpPr/>
          <p:nvPr/>
        </p:nvSpPr>
        <p:spPr>
          <a:xfrm>
            <a:off x="808895" y="1931884"/>
            <a:ext cx="3360037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8" name="Shape0_20220512_134702">
            <a:extLst>
              <a:ext uri="{FF2B5EF4-FFF2-40B4-BE49-F238E27FC236}">
                <a16:creationId xmlns:a16="http://schemas.microsoft.com/office/drawing/2014/main" id="{96CE1BED-5C52-884C-3D6D-C974C22B8FD0}"/>
              </a:ext>
            </a:extLst>
          </p:cNvPr>
          <p:cNvSpPr/>
          <p:nvPr/>
        </p:nvSpPr>
        <p:spPr>
          <a:xfrm>
            <a:off x="812446" y="1156607"/>
            <a:ext cx="3352935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BAE6CF6-5E41-FCFC-4354-EC9532D9C951}"/>
              </a:ext>
            </a:extLst>
          </p:cNvPr>
          <p:cNvSpPr/>
          <p:nvPr/>
        </p:nvSpPr>
        <p:spPr>
          <a:xfrm>
            <a:off x="4419610" y="1931884"/>
            <a:ext cx="3360037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2" name="Shape1_20220512_134702">
            <a:extLst>
              <a:ext uri="{FF2B5EF4-FFF2-40B4-BE49-F238E27FC236}">
                <a16:creationId xmlns:a16="http://schemas.microsoft.com/office/drawing/2014/main" id="{80CD907A-E4E1-ADB6-3E93-C28C72A2B593}"/>
              </a:ext>
            </a:extLst>
          </p:cNvPr>
          <p:cNvSpPr/>
          <p:nvPr/>
        </p:nvSpPr>
        <p:spPr>
          <a:xfrm>
            <a:off x="4423156" y="1156607"/>
            <a:ext cx="3352935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7600FFD-97E7-7994-2211-0B5B2E5654B7}"/>
              </a:ext>
            </a:extLst>
          </p:cNvPr>
          <p:cNvSpPr/>
          <p:nvPr/>
        </p:nvSpPr>
        <p:spPr>
          <a:xfrm>
            <a:off x="7999587" y="1931884"/>
            <a:ext cx="3360037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1" name="Shape1_20220512_134702">
            <a:extLst>
              <a:ext uri="{FF2B5EF4-FFF2-40B4-BE49-F238E27FC236}">
                <a16:creationId xmlns:a16="http://schemas.microsoft.com/office/drawing/2014/main" id="{1332E149-7659-AB4F-0C98-630435081EE6}"/>
              </a:ext>
            </a:extLst>
          </p:cNvPr>
          <p:cNvSpPr/>
          <p:nvPr/>
        </p:nvSpPr>
        <p:spPr>
          <a:xfrm>
            <a:off x="8003133" y="1156607"/>
            <a:ext cx="3352935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24" name="Shape0_20210625_174740">
            <a:extLst>
              <a:ext uri="{FF2B5EF4-FFF2-40B4-BE49-F238E27FC236}">
                <a16:creationId xmlns:a16="http://schemas.microsoft.com/office/drawing/2014/main" id="{AFF5D7EC-DEE1-FEBB-9F85-95FFFEAF6882}"/>
              </a:ext>
            </a:extLst>
          </p:cNvPr>
          <p:cNvCxnSpPr>
            <a:cxnSpLocks/>
          </p:cNvCxnSpPr>
          <p:nvPr/>
        </p:nvCxnSpPr>
        <p:spPr>
          <a:xfrm>
            <a:off x="7874314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05CD915-3921-0387-A288-B9345B08D548}"/>
              </a:ext>
            </a:extLst>
          </p:cNvPr>
          <p:cNvGrpSpPr/>
          <p:nvPr/>
        </p:nvGrpSpPr>
        <p:grpSpPr>
          <a:xfrm>
            <a:off x="770186" y="2250706"/>
            <a:ext cx="10674450" cy="567236"/>
            <a:chOff x="770186" y="2633440"/>
            <a:chExt cx="10674450" cy="567236"/>
          </a:xfrm>
        </p:grpSpPr>
        <p:sp>
          <p:nvSpPr>
            <p:cNvPr id="10" name="Text Placeholder 3">
              <a:extLst>
                <a:ext uri="{FF2B5EF4-FFF2-40B4-BE49-F238E27FC236}">
                  <a16:creationId xmlns:a16="http://schemas.microsoft.com/office/drawing/2014/main" id="{2C294508-EB38-4F99-F289-F874CAAF397C}"/>
                </a:ext>
              </a:extLst>
            </p:cNvPr>
            <p:cNvSpPr txBox="1">
              <a:spLocks/>
            </p:cNvSpPr>
            <p:nvPr/>
          </p:nvSpPr>
          <p:spPr>
            <a:xfrm>
              <a:off x="4369510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CD3AB5F-541B-9F17-1B90-1E03522D3074}"/>
                </a:ext>
              </a:extLst>
            </p:cNvPr>
            <p:cNvSpPr>
              <a:spLocks/>
            </p:cNvSpPr>
            <p:nvPr/>
          </p:nvSpPr>
          <p:spPr>
            <a:xfrm>
              <a:off x="4369510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F56D9F59-F3FF-0B34-E0BF-30287FFA5E3F}"/>
                </a:ext>
              </a:extLst>
            </p:cNvPr>
            <p:cNvSpPr txBox="1">
              <a:spLocks/>
            </p:cNvSpPr>
            <p:nvPr/>
          </p:nvSpPr>
          <p:spPr>
            <a:xfrm>
              <a:off x="7949487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0EDDB79-F428-BC81-BCEE-A6D0DE08CFCE}"/>
                </a:ext>
              </a:extLst>
            </p:cNvPr>
            <p:cNvSpPr>
              <a:spLocks/>
            </p:cNvSpPr>
            <p:nvPr/>
          </p:nvSpPr>
          <p:spPr>
            <a:xfrm>
              <a:off x="7949487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  <p:sp>
          <p:nvSpPr>
            <p:cNvPr id="25" name="Text Placeholder 3">
              <a:extLst>
                <a:ext uri="{FF2B5EF4-FFF2-40B4-BE49-F238E27FC236}">
                  <a16:creationId xmlns:a16="http://schemas.microsoft.com/office/drawing/2014/main" id="{9A24432C-1422-5CA4-D211-1D22F1E39D9D}"/>
                </a:ext>
              </a:extLst>
            </p:cNvPr>
            <p:cNvSpPr txBox="1">
              <a:spLocks/>
            </p:cNvSpPr>
            <p:nvPr/>
          </p:nvSpPr>
          <p:spPr>
            <a:xfrm>
              <a:off x="770186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488F272-77EE-A8FB-3254-C99C1B814396}"/>
                </a:ext>
              </a:extLst>
            </p:cNvPr>
            <p:cNvSpPr>
              <a:spLocks/>
            </p:cNvSpPr>
            <p:nvPr/>
          </p:nvSpPr>
          <p:spPr>
            <a:xfrm>
              <a:off x="770186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9582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9286D3-FE95-484A-C9FF-692939208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76ACE28-B0F2-02CA-879F-A2A9044705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6ACE28-B0F2-02CA-879F-A2A904470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0" name="Shape1_20220317_110454">
            <a:extLst>
              <a:ext uri="{FF2B5EF4-FFF2-40B4-BE49-F238E27FC236}">
                <a16:creationId xmlns:a16="http://schemas.microsoft.com/office/drawing/2014/main" id="{B966359E-CB25-7E94-D57B-E2785E0E2E43}"/>
              </a:ext>
            </a:extLst>
          </p:cNvPr>
          <p:cNvCxnSpPr>
            <a:cxnSpLocks/>
          </p:cNvCxnSpPr>
          <p:nvPr/>
        </p:nvCxnSpPr>
        <p:spPr>
          <a:xfrm>
            <a:off x="407823" y="2021182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89BA6FB-8392-3C6C-3659-F5AC1F7F6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C7B5803-1DA9-1108-DAE9-BCA46D8A74A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7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3" name="Shape0_20210625_174740">
            <a:extLst>
              <a:ext uri="{FF2B5EF4-FFF2-40B4-BE49-F238E27FC236}">
                <a16:creationId xmlns:a16="http://schemas.microsoft.com/office/drawing/2014/main" id="{E3B51786-B49A-F413-E2F7-F03ABD77EC10}"/>
              </a:ext>
            </a:extLst>
          </p:cNvPr>
          <p:cNvCxnSpPr>
            <a:cxnSpLocks/>
          </p:cNvCxnSpPr>
          <p:nvPr/>
        </p:nvCxnSpPr>
        <p:spPr>
          <a:xfrm>
            <a:off x="3324578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hape1_20220317_110454">
            <a:extLst>
              <a:ext uri="{FF2B5EF4-FFF2-40B4-BE49-F238E27FC236}">
                <a16:creationId xmlns:a16="http://schemas.microsoft.com/office/drawing/2014/main" id="{D1A175D8-6807-C69D-9A84-A71393CCA496}"/>
              </a:ext>
            </a:extLst>
          </p:cNvPr>
          <p:cNvCxnSpPr>
            <a:cxnSpLocks/>
          </p:cNvCxnSpPr>
          <p:nvPr/>
        </p:nvCxnSpPr>
        <p:spPr>
          <a:xfrm>
            <a:off x="407823" y="6180881"/>
            <a:ext cx="113553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1FE916FE-F324-FD28-9ED0-D238E93F3ECC}"/>
              </a:ext>
            </a:extLst>
          </p:cNvPr>
          <p:cNvSpPr/>
          <p:nvPr/>
        </p:nvSpPr>
        <p:spPr>
          <a:xfrm>
            <a:off x="670295" y="1931884"/>
            <a:ext cx="2580253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9" name="Shape0_20220512_134702">
            <a:extLst>
              <a:ext uri="{FF2B5EF4-FFF2-40B4-BE49-F238E27FC236}">
                <a16:creationId xmlns:a16="http://schemas.microsoft.com/office/drawing/2014/main" id="{80435193-4252-18D9-23B6-D341346AB291}"/>
              </a:ext>
            </a:extLst>
          </p:cNvPr>
          <p:cNvSpPr/>
          <p:nvPr/>
        </p:nvSpPr>
        <p:spPr>
          <a:xfrm>
            <a:off x="673022" y="1156607"/>
            <a:ext cx="2574799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8CE85C-8C76-AF01-116F-1FEF5DA6B2E4}"/>
              </a:ext>
            </a:extLst>
          </p:cNvPr>
          <p:cNvSpPr/>
          <p:nvPr/>
        </p:nvSpPr>
        <p:spPr>
          <a:xfrm>
            <a:off x="3443050" y="1931884"/>
            <a:ext cx="2580253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1" name="Shape1_20220512_134702">
            <a:extLst>
              <a:ext uri="{FF2B5EF4-FFF2-40B4-BE49-F238E27FC236}">
                <a16:creationId xmlns:a16="http://schemas.microsoft.com/office/drawing/2014/main" id="{23BBF2FA-E877-2D06-F424-26FA9A64677E}"/>
              </a:ext>
            </a:extLst>
          </p:cNvPr>
          <p:cNvSpPr/>
          <p:nvPr/>
        </p:nvSpPr>
        <p:spPr>
          <a:xfrm>
            <a:off x="3445773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D043E9-32CD-EFFC-B3AA-D08349810C01}"/>
              </a:ext>
            </a:extLst>
          </p:cNvPr>
          <p:cNvSpPr/>
          <p:nvPr/>
        </p:nvSpPr>
        <p:spPr>
          <a:xfrm>
            <a:off x="6192200" y="1931884"/>
            <a:ext cx="2580253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3" name="Shape1_20220512_134702">
            <a:extLst>
              <a:ext uri="{FF2B5EF4-FFF2-40B4-BE49-F238E27FC236}">
                <a16:creationId xmlns:a16="http://schemas.microsoft.com/office/drawing/2014/main" id="{7898A7C1-04E7-1355-1F47-72C8D7B22AEC}"/>
              </a:ext>
            </a:extLst>
          </p:cNvPr>
          <p:cNvSpPr/>
          <p:nvPr/>
        </p:nvSpPr>
        <p:spPr>
          <a:xfrm>
            <a:off x="6194923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14" name="Shape0_20210625_174740">
            <a:extLst>
              <a:ext uri="{FF2B5EF4-FFF2-40B4-BE49-F238E27FC236}">
                <a16:creationId xmlns:a16="http://schemas.microsoft.com/office/drawing/2014/main" id="{8ECB7299-6F2B-E94F-60F2-F128E2F21141}"/>
              </a:ext>
            </a:extLst>
          </p:cNvPr>
          <p:cNvCxnSpPr>
            <a:cxnSpLocks/>
          </p:cNvCxnSpPr>
          <p:nvPr/>
        </p:nvCxnSpPr>
        <p:spPr>
          <a:xfrm>
            <a:off x="6096000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A3B2C3-2689-903A-6720-3AAF77CBB813}"/>
              </a:ext>
            </a:extLst>
          </p:cNvPr>
          <p:cNvSpPr txBox="1">
            <a:spLocks/>
          </p:cNvSpPr>
          <p:nvPr/>
        </p:nvSpPr>
        <p:spPr>
          <a:xfrm>
            <a:off x="3404577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D1FCBB-5F78-6F76-6153-9BD9B5B14D05}"/>
              </a:ext>
            </a:extLst>
          </p:cNvPr>
          <p:cNvSpPr>
            <a:spLocks/>
          </p:cNvSpPr>
          <p:nvPr/>
        </p:nvSpPr>
        <p:spPr>
          <a:xfrm>
            <a:off x="3404577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513442B-B8A8-8762-5784-467FD72F084E}"/>
              </a:ext>
            </a:extLst>
          </p:cNvPr>
          <p:cNvSpPr txBox="1">
            <a:spLocks/>
          </p:cNvSpPr>
          <p:nvPr/>
        </p:nvSpPr>
        <p:spPr>
          <a:xfrm>
            <a:off x="6153727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B9A2276-A9F7-3C59-8F15-F6DEB09EEE54}"/>
              </a:ext>
            </a:extLst>
          </p:cNvPr>
          <p:cNvSpPr>
            <a:spLocks/>
          </p:cNvSpPr>
          <p:nvPr/>
        </p:nvSpPr>
        <p:spPr>
          <a:xfrm>
            <a:off x="6153727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0B78CCC-D7F3-2DAE-B47C-401DF789F2FB}"/>
              </a:ext>
            </a:extLst>
          </p:cNvPr>
          <p:cNvSpPr txBox="1">
            <a:spLocks/>
          </p:cNvSpPr>
          <p:nvPr/>
        </p:nvSpPr>
        <p:spPr>
          <a:xfrm>
            <a:off x="640569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4F5F805-8E73-216E-20CF-A091F5F2AADF}"/>
              </a:ext>
            </a:extLst>
          </p:cNvPr>
          <p:cNvSpPr>
            <a:spLocks/>
          </p:cNvSpPr>
          <p:nvPr/>
        </p:nvSpPr>
        <p:spPr>
          <a:xfrm>
            <a:off x="640569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D2F8C61-6266-35F9-398F-C1494C94B6ED}"/>
              </a:ext>
            </a:extLst>
          </p:cNvPr>
          <p:cNvSpPr/>
          <p:nvPr/>
        </p:nvSpPr>
        <p:spPr>
          <a:xfrm>
            <a:off x="8963622" y="1931884"/>
            <a:ext cx="2580253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4" name="Shape1_20220512_134702">
            <a:extLst>
              <a:ext uri="{FF2B5EF4-FFF2-40B4-BE49-F238E27FC236}">
                <a16:creationId xmlns:a16="http://schemas.microsoft.com/office/drawing/2014/main" id="{316A60F6-33E2-00F2-FF19-FEB1C1AB5923}"/>
              </a:ext>
            </a:extLst>
          </p:cNvPr>
          <p:cNvSpPr/>
          <p:nvPr/>
        </p:nvSpPr>
        <p:spPr>
          <a:xfrm>
            <a:off x="8966345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25" name="Shape0_20210625_174740">
            <a:extLst>
              <a:ext uri="{FF2B5EF4-FFF2-40B4-BE49-F238E27FC236}">
                <a16:creationId xmlns:a16="http://schemas.microsoft.com/office/drawing/2014/main" id="{26BF24E1-2878-F3D9-6C80-58DF848693A7}"/>
              </a:ext>
            </a:extLst>
          </p:cNvPr>
          <p:cNvCxnSpPr>
            <a:cxnSpLocks/>
          </p:cNvCxnSpPr>
          <p:nvPr/>
        </p:nvCxnSpPr>
        <p:spPr>
          <a:xfrm>
            <a:off x="8867422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DF61028-87B9-A09B-0FDF-C1A6900ED392}"/>
              </a:ext>
            </a:extLst>
          </p:cNvPr>
          <p:cNvSpPr txBox="1">
            <a:spLocks/>
          </p:cNvSpPr>
          <p:nvPr/>
        </p:nvSpPr>
        <p:spPr>
          <a:xfrm>
            <a:off x="8895462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AB93CB1-642C-C4E8-838C-780B2A2748FA}"/>
              </a:ext>
            </a:extLst>
          </p:cNvPr>
          <p:cNvSpPr>
            <a:spLocks/>
          </p:cNvSpPr>
          <p:nvPr/>
        </p:nvSpPr>
        <p:spPr>
          <a:xfrm>
            <a:off x="8895462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5435337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84F5EB-CFC7-6A93-5257-E9FAED2521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30579A0-5C81-4AD4-EB98-31E788066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579A0-5C81-4AD4-EB98-31E788066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912DAC-FFB2-AAF4-D5D7-00A373EFF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FBFC13D-1D6B-3E30-8FF8-3EB1D7C7C8F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3A94B96-05EF-2E2C-04FD-70BEAF7C036C}"/>
              </a:ext>
            </a:extLst>
          </p:cNvPr>
          <p:cNvSpPr/>
          <p:nvPr/>
        </p:nvSpPr>
        <p:spPr>
          <a:xfrm>
            <a:off x="625033" y="1690926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29" name="Shape1_20210618_105917">
            <a:extLst>
              <a:ext uri="{FF2B5EF4-FFF2-40B4-BE49-F238E27FC236}">
                <a16:creationId xmlns:a16="http://schemas.microsoft.com/office/drawing/2014/main" id="{17FF6AE2-90F4-5634-A79A-A558BA9048FB}"/>
              </a:ext>
            </a:extLst>
          </p:cNvPr>
          <p:cNvSpPr/>
          <p:nvPr/>
        </p:nvSpPr>
        <p:spPr>
          <a:xfrm>
            <a:off x="760226" y="2183480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30" name="Shape1_20210618_105928">
            <a:extLst>
              <a:ext uri="{FF2B5EF4-FFF2-40B4-BE49-F238E27FC236}">
                <a16:creationId xmlns:a16="http://schemas.microsoft.com/office/drawing/2014/main" id="{0AECE39B-AD8B-2BA5-EA14-9DCC252D5F7A}"/>
              </a:ext>
            </a:extLst>
          </p:cNvPr>
          <p:cNvSpPr>
            <a:spLocks/>
          </p:cNvSpPr>
          <p:nvPr/>
        </p:nvSpPr>
        <p:spPr>
          <a:xfrm>
            <a:off x="2607842" y="1690924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1" name="Shape0_20210618_105928">
            <a:extLst>
              <a:ext uri="{FF2B5EF4-FFF2-40B4-BE49-F238E27FC236}">
                <a16:creationId xmlns:a16="http://schemas.microsoft.com/office/drawing/2014/main" id="{141D029E-D8EB-8F17-A72E-6A6BDE122F17}"/>
              </a:ext>
            </a:extLst>
          </p:cNvPr>
          <p:cNvSpPr/>
          <p:nvPr/>
        </p:nvSpPr>
        <p:spPr>
          <a:xfrm>
            <a:off x="7138762" y="1690924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2" name="Shape0_20210618_105917">
            <a:extLst>
              <a:ext uri="{FF2B5EF4-FFF2-40B4-BE49-F238E27FC236}">
                <a16:creationId xmlns:a16="http://schemas.microsoft.com/office/drawing/2014/main" id="{E5155019-F0E3-AE9A-03D3-2239AC732BB2}"/>
              </a:ext>
            </a:extLst>
          </p:cNvPr>
          <p:cNvSpPr>
            <a:spLocks/>
          </p:cNvSpPr>
          <p:nvPr/>
        </p:nvSpPr>
        <p:spPr>
          <a:xfrm>
            <a:off x="2607842" y="1690928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3" name="Shape2_20210618_105917">
            <a:extLst>
              <a:ext uri="{FF2B5EF4-FFF2-40B4-BE49-F238E27FC236}">
                <a16:creationId xmlns:a16="http://schemas.microsoft.com/office/drawing/2014/main" id="{81DE7381-9509-7F56-2A51-5BD791B17C39}"/>
              </a:ext>
            </a:extLst>
          </p:cNvPr>
          <p:cNvSpPr>
            <a:spLocks/>
          </p:cNvSpPr>
          <p:nvPr/>
        </p:nvSpPr>
        <p:spPr>
          <a:xfrm>
            <a:off x="7138762" y="1690928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D870EAF-03A7-E017-2359-5AC1EB8F81CD}"/>
              </a:ext>
            </a:extLst>
          </p:cNvPr>
          <p:cNvSpPr/>
          <p:nvPr/>
        </p:nvSpPr>
        <p:spPr>
          <a:xfrm>
            <a:off x="625033" y="3169568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35" name="Shape4_20210618_105917">
            <a:extLst>
              <a:ext uri="{FF2B5EF4-FFF2-40B4-BE49-F238E27FC236}">
                <a16:creationId xmlns:a16="http://schemas.microsoft.com/office/drawing/2014/main" id="{D8358766-C760-E670-1439-865B50376C32}"/>
              </a:ext>
            </a:extLst>
          </p:cNvPr>
          <p:cNvSpPr/>
          <p:nvPr/>
        </p:nvSpPr>
        <p:spPr>
          <a:xfrm>
            <a:off x="760226" y="3662122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36" name="Shape2_20210618_105928">
            <a:extLst>
              <a:ext uri="{FF2B5EF4-FFF2-40B4-BE49-F238E27FC236}">
                <a16:creationId xmlns:a16="http://schemas.microsoft.com/office/drawing/2014/main" id="{8FDE9298-B55B-9E8B-E2D0-33E51F78C5C9}"/>
              </a:ext>
            </a:extLst>
          </p:cNvPr>
          <p:cNvSpPr>
            <a:spLocks/>
          </p:cNvSpPr>
          <p:nvPr/>
        </p:nvSpPr>
        <p:spPr>
          <a:xfrm>
            <a:off x="2607842" y="3169568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7" name="Shape3_20210618_105928">
            <a:extLst>
              <a:ext uri="{FF2B5EF4-FFF2-40B4-BE49-F238E27FC236}">
                <a16:creationId xmlns:a16="http://schemas.microsoft.com/office/drawing/2014/main" id="{D2B1713A-FED9-CD40-5F84-9ADA83F05BD1}"/>
              </a:ext>
            </a:extLst>
          </p:cNvPr>
          <p:cNvSpPr/>
          <p:nvPr/>
        </p:nvSpPr>
        <p:spPr>
          <a:xfrm>
            <a:off x="7138762" y="3169568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8" name="Shape5_20210618_105917">
            <a:extLst>
              <a:ext uri="{FF2B5EF4-FFF2-40B4-BE49-F238E27FC236}">
                <a16:creationId xmlns:a16="http://schemas.microsoft.com/office/drawing/2014/main" id="{63830D59-4D0B-BAEA-388A-2B07D6CCC1EB}"/>
              </a:ext>
            </a:extLst>
          </p:cNvPr>
          <p:cNvSpPr>
            <a:spLocks/>
          </p:cNvSpPr>
          <p:nvPr/>
        </p:nvSpPr>
        <p:spPr>
          <a:xfrm>
            <a:off x="2607842" y="3169569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9" name="Shape6_20210618_105917">
            <a:extLst>
              <a:ext uri="{FF2B5EF4-FFF2-40B4-BE49-F238E27FC236}">
                <a16:creationId xmlns:a16="http://schemas.microsoft.com/office/drawing/2014/main" id="{89FDDC8E-0057-1733-A310-BED356F8D871}"/>
              </a:ext>
            </a:extLst>
          </p:cNvPr>
          <p:cNvSpPr>
            <a:spLocks/>
          </p:cNvSpPr>
          <p:nvPr/>
        </p:nvSpPr>
        <p:spPr>
          <a:xfrm>
            <a:off x="7138762" y="3169569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07B1CD7-93A9-83BE-3751-8876E8DCAF30}"/>
              </a:ext>
            </a:extLst>
          </p:cNvPr>
          <p:cNvSpPr/>
          <p:nvPr/>
        </p:nvSpPr>
        <p:spPr>
          <a:xfrm>
            <a:off x="625033" y="4648210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41" name="Shape7_20210618_105917">
            <a:extLst>
              <a:ext uri="{FF2B5EF4-FFF2-40B4-BE49-F238E27FC236}">
                <a16:creationId xmlns:a16="http://schemas.microsoft.com/office/drawing/2014/main" id="{A0A85ED4-A2CD-2F1E-BF81-DE974B4E86E9}"/>
              </a:ext>
            </a:extLst>
          </p:cNvPr>
          <p:cNvSpPr/>
          <p:nvPr/>
        </p:nvSpPr>
        <p:spPr>
          <a:xfrm>
            <a:off x="760226" y="5140765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42" name="Shape4_20210618_105928">
            <a:extLst>
              <a:ext uri="{FF2B5EF4-FFF2-40B4-BE49-F238E27FC236}">
                <a16:creationId xmlns:a16="http://schemas.microsoft.com/office/drawing/2014/main" id="{FECDFF28-D1A2-5F7E-E516-979E3C9CCE65}"/>
              </a:ext>
            </a:extLst>
          </p:cNvPr>
          <p:cNvSpPr>
            <a:spLocks/>
          </p:cNvSpPr>
          <p:nvPr/>
        </p:nvSpPr>
        <p:spPr>
          <a:xfrm>
            <a:off x="2607842" y="4648211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43" name="Shape5_20210618_105928">
            <a:extLst>
              <a:ext uri="{FF2B5EF4-FFF2-40B4-BE49-F238E27FC236}">
                <a16:creationId xmlns:a16="http://schemas.microsoft.com/office/drawing/2014/main" id="{39D3F474-A2E0-8AB7-25F3-7C95739CCA12}"/>
              </a:ext>
            </a:extLst>
          </p:cNvPr>
          <p:cNvSpPr/>
          <p:nvPr/>
        </p:nvSpPr>
        <p:spPr>
          <a:xfrm>
            <a:off x="7138762" y="4648211"/>
            <a:ext cx="4365956" cy="1303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44" name="Shape8_20210618_105917">
            <a:extLst>
              <a:ext uri="{FF2B5EF4-FFF2-40B4-BE49-F238E27FC236}">
                <a16:creationId xmlns:a16="http://schemas.microsoft.com/office/drawing/2014/main" id="{FCDB2E0C-42B4-49D9-2C71-B045F413A50B}"/>
              </a:ext>
            </a:extLst>
          </p:cNvPr>
          <p:cNvSpPr>
            <a:spLocks/>
          </p:cNvSpPr>
          <p:nvPr/>
        </p:nvSpPr>
        <p:spPr>
          <a:xfrm>
            <a:off x="2607842" y="4648211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5" name="Shape9_20210618_105917">
            <a:extLst>
              <a:ext uri="{FF2B5EF4-FFF2-40B4-BE49-F238E27FC236}">
                <a16:creationId xmlns:a16="http://schemas.microsoft.com/office/drawing/2014/main" id="{2788A11F-1702-4BC6-3BB7-AACC9938E6D9}"/>
              </a:ext>
            </a:extLst>
          </p:cNvPr>
          <p:cNvSpPr>
            <a:spLocks/>
          </p:cNvSpPr>
          <p:nvPr/>
        </p:nvSpPr>
        <p:spPr>
          <a:xfrm>
            <a:off x="7138762" y="4648211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1F70672-75F2-4E40-A0A5-2318C5A99F0A}"/>
              </a:ext>
            </a:extLst>
          </p:cNvPr>
          <p:cNvSpPr/>
          <p:nvPr/>
        </p:nvSpPr>
        <p:spPr>
          <a:xfrm>
            <a:off x="7138762" y="990424"/>
            <a:ext cx="4365956" cy="5479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3168">
              <a:defRPr/>
            </a:pPr>
            <a:endParaRPr lang="en-IN" sz="2771" b="1" dirty="0">
              <a:solidFill>
                <a:srgbClr val="FFFFFF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FF426FE-64D0-564D-1136-A59103F01F60}"/>
              </a:ext>
            </a:extLst>
          </p:cNvPr>
          <p:cNvSpPr/>
          <p:nvPr/>
        </p:nvSpPr>
        <p:spPr>
          <a:xfrm>
            <a:off x="2607844" y="990424"/>
            <a:ext cx="4365956" cy="5479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3168">
              <a:defRPr/>
            </a:pPr>
            <a:endParaRPr lang="en-IN" sz="2771" b="1" dirty="0">
              <a:solidFill>
                <a:srgbClr val="FFFFFF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DDBBF9B-441F-B9DF-0449-3259E076BFAE}"/>
              </a:ext>
            </a:extLst>
          </p:cNvPr>
          <p:cNvSpPr/>
          <p:nvPr/>
        </p:nvSpPr>
        <p:spPr>
          <a:xfrm>
            <a:off x="2703954" y="1151221"/>
            <a:ext cx="4173736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IN" sz="1471" b="1" dirty="0">
              <a:solidFill>
                <a:srgbClr val="FFFFFF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1FEA9A6-5F51-132C-8ABA-9C81A114B40A}"/>
              </a:ext>
            </a:extLst>
          </p:cNvPr>
          <p:cNvSpPr/>
          <p:nvPr/>
        </p:nvSpPr>
        <p:spPr>
          <a:xfrm>
            <a:off x="7234871" y="1151221"/>
            <a:ext cx="4173736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932351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52FD04-C810-7612-7070-A6BC23ACD9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8531E59-9834-B7DC-7CFD-2E6F5945BD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31E59-9834-B7DC-7CFD-2E6F5945B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BE4F45-E301-4F1B-2784-BB0F3DA7A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24F253A-DE82-C264-097F-EF8D2514750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9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7B76BB1-7DDA-91BE-4657-CB509174E6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0412074"/>
              </p:ext>
            </p:extLst>
          </p:nvPr>
        </p:nvGraphicFramePr>
        <p:xfrm>
          <a:off x="762308" y="1062430"/>
          <a:ext cx="10667385" cy="4360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35489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1962454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1962454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58666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CF5A31-C760-DEAC-6FDE-565DA9DB12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F15F6F8-4EE7-285C-DE1A-7D5A1C9C94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6E6CA0-E250-AC63-2D0E-C3F2078D33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6901481F-E7B8-05A9-05AC-938F41ED82B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231648-5F63-8F3E-B8F2-8C327B210FAD}"/>
              </a:ext>
            </a:extLst>
          </p:cNvPr>
          <p:cNvSpPr txBox="1"/>
          <p:nvPr/>
        </p:nvSpPr>
        <p:spPr>
          <a:xfrm>
            <a:off x="401254" y="3993139"/>
            <a:ext cx="51314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accent1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045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5F815-408F-AB0B-F952-CBFAC9D5B6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0418B56-CAC3-A5F4-4927-A17370497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418B56-CAC3-A5F4-4927-A17370497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55BC75-1747-F7D5-2EE1-FEE8F0767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920D106B-601E-8211-DD29-376518C2DB8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0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C9AA7DF-437B-A6AE-A60C-01EFDD66DC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3301407"/>
              </p:ext>
            </p:extLst>
          </p:nvPr>
        </p:nvGraphicFramePr>
        <p:xfrm>
          <a:off x="762308" y="1062429"/>
          <a:ext cx="10667385" cy="4360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19087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427161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799504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34992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5BC51E-CC96-5CAE-A507-8671D07942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FD101BB-C011-B02F-76F8-BD4B29FDD2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D101BB-C011-B02F-76F8-BD4B29FDD2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5394AD-3DE3-D03D-9E0C-9C1550417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8015B0B-536F-9577-95CE-7732BD3A9D1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F619EDE-89F9-91B7-2408-6F7B15236C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58758"/>
              </p:ext>
            </p:extLst>
          </p:nvPr>
        </p:nvGraphicFramePr>
        <p:xfrm>
          <a:off x="762308" y="1062430"/>
          <a:ext cx="10667385" cy="43604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19086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427161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553458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013419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799504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84127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D1D143-DA90-4F70-3021-808DD1FA3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439336C-0C86-6EBB-C940-8BEDCDCE58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39336C-0C86-6EBB-C940-8BEDCDCE5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6D86B8-A6EE-10CC-FEC9-880F658F1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BA12672-60D2-EAA7-26CA-4BB37040614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Round Same Side Corner Rectangle 2">
            <a:extLst>
              <a:ext uri="{FF2B5EF4-FFF2-40B4-BE49-F238E27FC236}">
                <a16:creationId xmlns:a16="http://schemas.microsoft.com/office/drawing/2014/main" id="{1DE679E1-C39B-C627-5096-CD483FA7D1C5}"/>
              </a:ext>
            </a:extLst>
          </p:cNvPr>
          <p:cNvSpPr/>
          <p:nvPr/>
        </p:nvSpPr>
        <p:spPr>
          <a:xfrm>
            <a:off x="2258089" y="1103088"/>
            <a:ext cx="2233958" cy="1090210"/>
          </a:xfrm>
          <a:prstGeom prst="rect">
            <a:avLst/>
          </a:prstGeom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6" name="Round Same Side Corner Rectangle 23">
            <a:extLst>
              <a:ext uri="{FF2B5EF4-FFF2-40B4-BE49-F238E27FC236}">
                <a16:creationId xmlns:a16="http://schemas.microsoft.com/office/drawing/2014/main" id="{824E3991-0051-EF76-A880-5E8509B0D8DF}"/>
              </a:ext>
            </a:extLst>
          </p:cNvPr>
          <p:cNvSpPr/>
          <p:nvPr/>
        </p:nvSpPr>
        <p:spPr>
          <a:xfrm>
            <a:off x="4603050" y="1103088"/>
            <a:ext cx="2233958" cy="1090210"/>
          </a:xfrm>
          <a:prstGeom prst="rect">
            <a:avLst/>
          </a:prstGeom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01DFA5-93A0-6ECA-3B59-566A53A3276B}"/>
              </a:ext>
            </a:extLst>
          </p:cNvPr>
          <p:cNvSpPr/>
          <p:nvPr/>
        </p:nvSpPr>
        <p:spPr>
          <a:xfrm>
            <a:off x="2258089" y="2359142"/>
            <a:ext cx="2233958" cy="167062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6667427-ADE7-B7C3-B486-89AF29BE917D}"/>
              </a:ext>
            </a:extLst>
          </p:cNvPr>
          <p:cNvSpPr/>
          <p:nvPr/>
        </p:nvSpPr>
        <p:spPr>
          <a:xfrm>
            <a:off x="4603050" y="2359142"/>
            <a:ext cx="2233958" cy="167062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6F14D5C-C180-7CEF-457F-2D0441D24E69}"/>
              </a:ext>
            </a:extLst>
          </p:cNvPr>
          <p:cNvSpPr/>
          <p:nvPr/>
        </p:nvSpPr>
        <p:spPr>
          <a:xfrm>
            <a:off x="2258089" y="4195606"/>
            <a:ext cx="2233958" cy="167062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CE78A02-A08E-E0F4-B89D-CDB811D367F2}"/>
              </a:ext>
            </a:extLst>
          </p:cNvPr>
          <p:cNvSpPr/>
          <p:nvPr/>
        </p:nvSpPr>
        <p:spPr>
          <a:xfrm>
            <a:off x="4603050" y="4195606"/>
            <a:ext cx="2233958" cy="167062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  <p:sp>
        <p:nvSpPr>
          <p:cNvPr id="7" name="Round Same Side Corner Rectangle 25">
            <a:extLst>
              <a:ext uri="{FF2B5EF4-FFF2-40B4-BE49-F238E27FC236}">
                <a16:creationId xmlns:a16="http://schemas.microsoft.com/office/drawing/2014/main" id="{5CDF883E-404A-DACC-4306-045F37D2A7F2}"/>
              </a:ext>
            </a:extLst>
          </p:cNvPr>
          <p:cNvSpPr/>
          <p:nvPr/>
        </p:nvSpPr>
        <p:spPr>
          <a:xfrm>
            <a:off x="6948011" y="1103088"/>
            <a:ext cx="2233958" cy="1090210"/>
          </a:xfrm>
          <a:prstGeom prst="rect">
            <a:avLst/>
          </a:prstGeom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49B707-DA1C-F086-CCBF-4C3FAB6055C4}"/>
              </a:ext>
            </a:extLst>
          </p:cNvPr>
          <p:cNvSpPr/>
          <p:nvPr/>
        </p:nvSpPr>
        <p:spPr>
          <a:xfrm>
            <a:off x="6948011" y="2359142"/>
            <a:ext cx="2233958" cy="167062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0AC4D94-78D5-6399-7C58-B938547C274E}"/>
              </a:ext>
            </a:extLst>
          </p:cNvPr>
          <p:cNvSpPr/>
          <p:nvPr/>
        </p:nvSpPr>
        <p:spPr>
          <a:xfrm>
            <a:off x="6948011" y="4195606"/>
            <a:ext cx="2233958" cy="167062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  <p:sp>
        <p:nvSpPr>
          <p:cNvPr id="14" name="Round Same Side Corner Rectangle 45">
            <a:extLst>
              <a:ext uri="{FF2B5EF4-FFF2-40B4-BE49-F238E27FC236}">
                <a16:creationId xmlns:a16="http://schemas.microsoft.com/office/drawing/2014/main" id="{E4992599-BFAB-8FF7-A7C7-1703FD87F21D}"/>
              </a:ext>
            </a:extLst>
          </p:cNvPr>
          <p:cNvSpPr/>
          <p:nvPr/>
        </p:nvSpPr>
        <p:spPr>
          <a:xfrm rot="16200000">
            <a:off x="559295" y="2483366"/>
            <a:ext cx="1670621" cy="1422169"/>
          </a:xfrm>
          <a:prstGeom prst="rect">
            <a:avLst/>
          </a:prstGeom>
          <a:solidFill>
            <a:schemeClr val="accent2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Insert heading</a:t>
            </a:r>
          </a:p>
        </p:txBody>
      </p:sp>
      <p:sp>
        <p:nvSpPr>
          <p:cNvPr id="15" name="Round Same Side Corner Rectangle 46">
            <a:extLst>
              <a:ext uri="{FF2B5EF4-FFF2-40B4-BE49-F238E27FC236}">
                <a16:creationId xmlns:a16="http://schemas.microsoft.com/office/drawing/2014/main" id="{6D2411B9-1B7E-5443-DE47-108EF78CF0B7}"/>
              </a:ext>
            </a:extLst>
          </p:cNvPr>
          <p:cNvSpPr/>
          <p:nvPr/>
        </p:nvSpPr>
        <p:spPr>
          <a:xfrm rot="16200000">
            <a:off x="559295" y="4319832"/>
            <a:ext cx="1670621" cy="1422169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Insert head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B66208-3440-484B-FF2E-99BAB0B4A2D2}"/>
              </a:ext>
            </a:extLst>
          </p:cNvPr>
          <p:cNvSpPr/>
          <p:nvPr/>
        </p:nvSpPr>
        <p:spPr>
          <a:xfrm>
            <a:off x="925469" y="1537554"/>
            <a:ext cx="938272" cy="492443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ea typeface="ＭＳ Ｐゴシック"/>
                <a:cs typeface="+mn-cs"/>
              </a:rPr>
              <a:t>Insert heading</a:t>
            </a:r>
          </a:p>
        </p:txBody>
      </p:sp>
      <p:sp>
        <p:nvSpPr>
          <p:cNvPr id="19" name="Round Same Side Corner Rectangle 25">
            <a:extLst>
              <a:ext uri="{FF2B5EF4-FFF2-40B4-BE49-F238E27FC236}">
                <a16:creationId xmlns:a16="http://schemas.microsoft.com/office/drawing/2014/main" id="{3C8C6EAF-9FE1-BABF-49EE-24614BC3FCC2}"/>
              </a:ext>
            </a:extLst>
          </p:cNvPr>
          <p:cNvSpPr/>
          <p:nvPr/>
        </p:nvSpPr>
        <p:spPr>
          <a:xfrm>
            <a:off x="9274522" y="1103088"/>
            <a:ext cx="2233958" cy="1090210"/>
          </a:xfrm>
          <a:prstGeom prst="rect">
            <a:avLst/>
          </a:prstGeom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CF8FCFA-6C06-5B08-391D-DF3AE4BDC337}"/>
              </a:ext>
            </a:extLst>
          </p:cNvPr>
          <p:cNvSpPr/>
          <p:nvPr/>
        </p:nvSpPr>
        <p:spPr>
          <a:xfrm>
            <a:off x="9274522" y="2359142"/>
            <a:ext cx="2233958" cy="167062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4DF45B6-FE4E-8A38-921A-D2EEBCFC5E06}"/>
              </a:ext>
            </a:extLst>
          </p:cNvPr>
          <p:cNvSpPr/>
          <p:nvPr/>
        </p:nvSpPr>
        <p:spPr>
          <a:xfrm>
            <a:off x="9274522" y="4195606"/>
            <a:ext cx="2233958" cy="167062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0690104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29731E-08F2-50CF-9DD0-5405067CF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2E16609-C5A1-833A-E846-82DC9F1715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E16609-C5A1-833A-E846-82DC9F1715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25619C-1C80-9C60-392F-1848906B8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F782289-86AC-7D82-444B-DDC43B2BB51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D98E0B-965A-F068-B1E6-6F60DC1B2AAA}"/>
              </a:ext>
            </a:extLst>
          </p:cNvPr>
          <p:cNvSpPr/>
          <p:nvPr/>
        </p:nvSpPr>
        <p:spPr>
          <a:xfrm>
            <a:off x="1974872" y="1666562"/>
            <a:ext cx="2334236" cy="453295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261FCF-E8A9-DAD6-F07A-53EBC9F594F9}"/>
              </a:ext>
            </a:extLst>
          </p:cNvPr>
          <p:cNvSpPr/>
          <p:nvPr/>
        </p:nvSpPr>
        <p:spPr>
          <a:xfrm>
            <a:off x="4357932" y="1666562"/>
            <a:ext cx="2334236" cy="453295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E97877-3BB0-9DCC-C754-713731B653B0}"/>
              </a:ext>
            </a:extLst>
          </p:cNvPr>
          <p:cNvSpPr/>
          <p:nvPr/>
        </p:nvSpPr>
        <p:spPr>
          <a:xfrm>
            <a:off x="6740993" y="1666562"/>
            <a:ext cx="2334236" cy="453295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69D86B-FA31-B1A6-81D8-6F0E42F9A040}"/>
              </a:ext>
            </a:extLst>
          </p:cNvPr>
          <p:cNvSpPr/>
          <p:nvPr/>
        </p:nvSpPr>
        <p:spPr>
          <a:xfrm>
            <a:off x="9124055" y="1666562"/>
            <a:ext cx="2334236" cy="453295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FABEDFB-FAE7-3B03-20CA-0286B46B118D}"/>
              </a:ext>
            </a:extLst>
          </p:cNvPr>
          <p:cNvGrpSpPr/>
          <p:nvPr/>
        </p:nvGrpSpPr>
        <p:grpSpPr>
          <a:xfrm>
            <a:off x="733710" y="1067888"/>
            <a:ext cx="10724581" cy="5103661"/>
            <a:chOff x="942945" y="1108623"/>
            <a:chExt cx="10306111" cy="4953564"/>
          </a:xfrm>
        </p:grpSpPr>
        <p:sp>
          <p:nvSpPr>
            <p:cNvPr id="6" name="Round Same Side Corner Rectangle 19">
              <a:extLst>
                <a:ext uri="{FF2B5EF4-FFF2-40B4-BE49-F238E27FC236}">
                  <a16:creationId xmlns:a16="http://schemas.microsoft.com/office/drawing/2014/main" id="{08960295-1177-4BD5-C7BF-5FAF4AD9B8AC}"/>
                </a:ext>
              </a:extLst>
            </p:cNvPr>
            <p:cNvSpPr/>
            <p:nvPr/>
          </p:nvSpPr>
          <p:spPr>
            <a:xfrm>
              <a:off x="2135677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8" name="Round Same Side Corner Rectangle 19">
              <a:extLst>
                <a:ext uri="{FF2B5EF4-FFF2-40B4-BE49-F238E27FC236}">
                  <a16:creationId xmlns:a16="http://schemas.microsoft.com/office/drawing/2014/main" id="{43A55037-C6A7-B219-EDF8-6208CF75092F}"/>
                </a:ext>
              </a:extLst>
            </p:cNvPr>
            <p:cNvSpPr/>
            <p:nvPr/>
          </p:nvSpPr>
          <p:spPr>
            <a:xfrm>
              <a:off x="4425751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0" name="Round Same Side Corner Rectangle 19">
              <a:extLst>
                <a:ext uri="{FF2B5EF4-FFF2-40B4-BE49-F238E27FC236}">
                  <a16:creationId xmlns:a16="http://schemas.microsoft.com/office/drawing/2014/main" id="{3099815E-85C9-6DC3-82E8-39E1690E253D}"/>
                </a:ext>
              </a:extLst>
            </p:cNvPr>
            <p:cNvSpPr/>
            <p:nvPr/>
          </p:nvSpPr>
          <p:spPr>
            <a:xfrm>
              <a:off x="6715826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2" name="Round Same Side Corner Rectangle 19">
              <a:extLst>
                <a:ext uri="{FF2B5EF4-FFF2-40B4-BE49-F238E27FC236}">
                  <a16:creationId xmlns:a16="http://schemas.microsoft.com/office/drawing/2014/main" id="{B4FDF370-8B48-E671-003E-9E5A11E7DC83}"/>
                </a:ext>
              </a:extLst>
            </p:cNvPr>
            <p:cNvSpPr/>
            <p:nvPr/>
          </p:nvSpPr>
          <p:spPr>
            <a:xfrm>
              <a:off x="9005901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77DA5B10-0371-F93A-BAA3-24EDE2CDA259}"/>
                </a:ext>
              </a:extLst>
            </p:cNvPr>
            <p:cNvCxnSpPr/>
            <p:nvPr/>
          </p:nvCxnSpPr>
          <p:spPr>
            <a:xfrm flipV="1">
              <a:off x="2216076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B763F5E4-F98F-A641-31F5-50312489A854}"/>
                </a:ext>
              </a:extLst>
            </p:cNvPr>
            <p:cNvCxnSpPr/>
            <p:nvPr/>
          </p:nvCxnSpPr>
          <p:spPr>
            <a:xfrm flipV="1">
              <a:off x="4506150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1FAC453-F113-142D-9241-5EA7D337B794}"/>
                </a:ext>
              </a:extLst>
            </p:cNvPr>
            <p:cNvCxnSpPr/>
            <p:nvPr/>
          </p:nvCxnSpPr>
          <p:spPr>
            <a:xfrm flipV="1">
              <a:off x="6796225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74AF9C0-AF96-FBE3-A59C-6FCD3DA2828D}"/>
                </a:ext>
              </a:extLst>
            </p:cNvPr>
            <p:cNvCxnSpPr/>
            <p:nvPr/>
          </p:nvCxnSpPr>
          <p:spPr>
            <a:xfrm flipV="1">
              <a:off x="9086299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ound Same Side Corner Rectangle 19">
              <a:extLst>
                <a:ext uri="{FF2B5EF4-FFF2-40B4-BE49-F238E27FC236}">
                  <a16:creationId xmlns:a16="http://schemas.microsoft.com/office/drawing/2014/main" id="{D27FE75B-8297-5A60-2795-5BA1BC3D3844}"/>
                </a:ext>
              </a:extLst>
            </p:cNvPr>
            <p:cNvSpPr/>
            <p:nvPr/>
          </p:nvSpPr>
          <p:spPr>
            <a:xfrm rot="16200000">
              <a:off x="1125158" y="1561744"/>
              <a:ext cx="781390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8" name="Content Placeholder 1">
              <a:extLst>
                <a:ext uri="{FF2B5EF4-FFF2-40B4-BE49-F238E27FC236}">
                  <a16:creationId xmlns:a16="http://schemas.microsoft.com/office/drawing/2014/main" id="{BFDA4768-45E7-2A9E-5391-74078D197528}"/>
                </a:ext>
              </a:extLst>
            </p:cNvPr>
            <p:cNvSpPr txBox="1">
              <a:spLocks/>
            </p:cNvSpPr>
            <p:nvPr/>
          </p:nvSpPr>
          <p:spPr>
            <a:xfrm>
              <a:off x="2216076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19" name="Content Placeholder 1">
              <a:extLst>
                <a:ext uri="{FF2B5EF4-FFF2-40B4-BE49-F238E27FC236}">
                  <a16:creationId xmlns:a16="http://schemas.microsoft.com/office/drawing/2014/main" id="{31B723CE-FC79-908D-9C58-AA3F3C96C522}"/>
                </a:ext>
              </a:extLst>
            </p:cNvPr>
            <p:cNvSpPr txBox="1">
              <a:spLocks/>
            </p:cNvSpPr>
            <p:nvPr/>
          </p:nvSpPr>
          <p:spPr>
            <a:xfrm>
              <a:off x="4506150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0" name="Content Placeholder 1">
              <a:extLst>
                <a:ext uri="{FF2B5EF4-FFF2-40B4-BE49-F238E27FC236}">
                  <a16:creationId xmlns:a16="http://schemas.microsoft.com/office/drawing/2014/main" id="{817E2707-446B-5C7B-A831-98B8842A51D2}"/>
                </a:ext>
              </a:extLst>
            </p:cNvPr>
            <p:cNvSpPr txBox="1">
              <a:spLocks/>
            </p:cNvSpPr>
            <p:nvPr/>
          </p:nvSpPr>
          <p:spPr>
            <a:xfrm>
              <a:off x="6796225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1" name="Content Placeholder 1">
              <a:extLst>
                <a:ext uri="{FF2B5EF4-FFF2-40B4-BE49-F238E27FC236}">
                  <a16:creationId xmlns:a16="http://schemas.microsoft.com/office/drawing/2014/main" id="{05A289CA-8B87-DB30-9C13-EAE7E34E3F4E}"/>
                </a:ext>
              </a:extLst>
            </p:cNvPr>
            <p:cNvSpPr txBox="1">
              <a:spLocks/>
            </p:cNvSpPr>
            <p:nvPr/>
          </p:nvSpPr>
          <p:spPr>
            <a:xfrm>
              <a:off x="9086299" y="1743957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2" name="Round Same Side Corner Rectangle 19">
              <a:extLst>
                <a:ext uri="{FF2B5EF4-FFF2-40B4-BE49-F238E27FC236}">
                  <a16:creationId xmlns:a16="http://schemas.microsoft.com/office/drawing/2014/main" id="{09697870-E845-A6E6-4BBB-B8C807A82644}"/>
                </a:ext>
              </a:extLst>
            </p:cNvPr>
            <p:cNvSpPr/>
            <p:nvPr/>
          </p:nvSpPr>
          <p:spPr>
            <a:xfrm rot="16200000">
              <a:off x="1125159" y="2413951"/>
              <a:ext cx="781390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23" name="Content Placeholder 1">
              <a:extLst>
                <a:ext uri="{FF2B5EF4-FFF2-40B4-BE49-F238E27FC236}">
                  <a16:creationId xmlns:a16="http://schemas.microsoft.com/office/drawing/2014/main" id="{6FB39435-7771-47BB-B1B8-204F293F025B}"/>
                </a:ext>
              </a:extLst>
            </p:cNvPr>
            <p:cNvSpPr txBox="1">
              <a:spLocks/>
            </p:cNvSpPr>
            <p:nvPr/>
          </p:nvSpPr>
          <p:spPr>
            <a:xfrm>
              <a:off x="2216074" y="2596166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24" name="Content Placeholder 1">
              <a:extLst>
                <a:ext uri="{FF2B5EF4-FFF2-40B4-BE49-F238E27FC236}">
                  <a16:creationId xmlns:a16="http://schemas.microsoft.com/office/drawing/2014/main" id="{1F148967-E3A3-DC69-DC61-9BB752B64CE5}"/>
                </a:ext>
              </a:extLst>
            </p:cNvPr>
            <p:cNvSpPr txBox="1">
              <a:spLocks/>
            </p:cNvSpPr>
            <p:nvPr/>
          </p:nvSpPr>
          <p:spPr>
            <a:xfrm>
              <a:off x="4506148" y="2596166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25" name="Content Placeholder 1">
              <a:extLst>
                <a:ext uri="{FF2B5EF4-FFF2-40B4-BE49-F238E27FC236}">
                  <a16:creationId xmlns:a16="http://schemas.microsoft.com/office/drawing/2014/main" id="{B1835AB0-7750-0AF3-056E-922A4F84CC32}"/>
                </a:ext>
              </a:extLst>
            </p:cNvPr>
            <p:cNvSpPr txBox="1">
              <a:spLocks/>
            </p:cNvSpPr>
            <p:nvPr/>
          </p:nvSpPr>
          <p:spPr>
            <a:xfrm>
              <a:off x="6796222" y="2596166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26" name="Content Placeholder 1">
              <a:extLst>
                <a:ext uri="{FF2B5EF4-FFF2-40B4-BE49-F238E27FC236}">
                  <a16:creationId xmlns:a16="http://schemas.microsoft.com/office/drawing/2014/main" id="{E06AABD5-718E-FF16-5DA8-B1AD6BB702D5}"/>
                </a:ext>
              </a:extLst>
            </p:cNvPr>
            <p:cNvSpPr txBox="1">
              <a:spLocks/>
            </p:cNvSpPr>
            <p:nvPr/>
          </p:nvSpPr>
          <p:spPr>
            <a:xfrm>
              <a:off x="9086297" y="2596166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49EFD88-2EB8-7794-D0D7-8D943D8369BB}"/>
                </a:ext>
              </a:extLst>
            </p:cNvPr>
            <p:cNvCxnSpPr/>
            <p:nvPr/>
          </p:nvCxnSpPr>
          <p:spPr>
            <a:xfrm flipV="1">
              <a:off x="2216076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7EAB93F7-0D57-77E8-A7FB-3635601F8501}"/>
                </a:ext>
              </a:extLst>
            </p:cNvPr>
            <p:cNvCxnSpPr/>
            <p:nvPr/>
          </p:nvCxnSpPr>
          <p:spPr>
            <a:xfrm flipV="1">
              <a:off x="4506150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131A2A1-4BA2-7F1F-B46C-A715A3328B4F}"/>
                </a:ext>
              </a:extLst>
            </p:cNvPr>
            <p:cNvCxnSpPr/>
            <p:nvPr/>
          </p:nvCxnSpPr>
          <p:spPr>
            <a:xfrm flipV="1">
              <a:off x="6796225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DAAA21A-EF75-997D-70E1-F62D5B598F56}"/>
                </a:ext>
              </a:extLst>
            </p:cNvPr>
            <p:cNvCxnSpPr/>
            <p:nvPr/>
          </p:nvCxnSpPr>
          <p:spPr>
            <a:xfrm flipV="1">
              <a:off x="9086299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2A304293-30D7-2995-A79B-C82CC1750A6C}"/>
                </a:ext>
              </a:extLst>
            </p:cNvPr>
            <p:cNvCxnSpPr/>
            <p:nvPr/>
          </p:nvCxnSpPr>
          <p:spPr>
            <a:xfrm flipV="1">
              <a:off x="2216076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347DD13-CAF9-0657-5A04-D2D16F426D6F}"/>
                </a:ext>
              </a:extLst>
            </p:cNvPr>
            <p:cNvCxnSpPr/>
            <p:nvPr/>
          </p:nvCxnSpPr>
          <p:spPr>
            <a:xfrm flipV="1">
              <a:off x="4506150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7B99ACE0-538B-E787-B5B8-908860E19BDA}"/>
                </a:ext>
              </a:extLst>
            </p:cNvPr>
            <p:cNvCxnSpPr/>
            <p:nvPr/>
          </p:nvCxnSpPr>
          <p:spPr>
            <a:xfrm flipV="1">
              <a:off x="6796225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D5066CAC-6AE1-54F1-C706-4B30D91F5341}"/>
                </a:ext>
              </a:extLst>
            </p:cNvPr>
            <p:cNvCxnSpPr/>
            <p:nvPr/>
          </p:nvCxnSpPr>
          <p:spPr>
            <a:xfrm flipV="1">
              <a:off x="9086299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ontent Placeholder 1">
              <a:extLst>
                <a:ext uri="{FF2B5EF4-FFF2-40B4-BE49-F238E27FC236}">
                  <a16:creationId xmlns:a16="http://schemas.microsoft.com/office/drawing/2014/main" id="{CC8F93B2-143E-FF00-B81C-B7B27B45CCBF}"/>
                </a:ext>
              </a:extLst>
            </p:cNvPr>
            <p:cNvSpPr txBox="1">
              <a:spLocks/>
            </p:cNvSpPr>
            <p:nvPr/>
          </p:nvSpPr>
          <p:spPr>
            <a:xfrm>
              <a:off x="2216074" y="3448374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36" name="Content Placeholder 1">
              <a:extLst>
                <a:ext uri="{FF2B5EF4-FFF2-40B4-BE49-F238E27FC236}">
                  <a16:creationId xmlns:a16="http://schemas.microsoft.com/office/drawing/2014/main" id="{ECEDBD66-0713-D715-CDDC-EFDE4AD193B8}"/>
                </a:ext>
              </a:extLst>
            </p:cNvPr>
            <p:cNvSpPr txBox="1">
              <a:spLocks/>
            </p:cNvSpPr>
            <p:nvPr/>
          </p:nvSpPr>
          <p:spPr>
            <a:xfrm>
              <a:off x="4506148" y="3448374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37" name="Content Placeholder 1">
              <a:extLst>
                <a:ext uri="{FF2B5EF4-FFF2-40B4-BE49-F238E27FC236}">
                  <a16:creationId xmlns:a16="http://schemas.microsoft.com/office/drawing/2014/main" id="{BFAB9C43-030A-CB88-9C31-076CFAD04146}"/>
                </a:ext>
              </a:extLst>
            </p:cNvPr>
            <p:cNvSpPr txBox="1">
              <a:spLocks/>
            </p:cNvSpPr>
            <p:nvPr/>
          </p:nvSpPr>
          <p:spPr>
            <a:xfrm>
              <a:off x="6796222" y="3448374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38" name="Content Placeholder 1">
              <a:extLst>
                <a:ext uri="{FF2B5EF4-FFF2-40B4-BE49-F238E27FC236}">
                  <a16:creationId xmlns:a16="http://schemas.microsoft.com/office/drawing/2014/main" id="{040C3BB5-61D8-AE23-B003-D26C7E636253}"/>
                </a:ext>
              </a:extLst>
            </p:cNvPr>
            <p:cNvSpPr txBox="1">
              <a:spLocks/>
            </p:cNvSpPr>
            <p:nvPr/>
          </p:nvSpPr>
          <p:spPr>
            <a:xfrm>
              <a:off x="9086297" y="3448374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39" name="Round Same Side Corner Rectangle 19">
              <a:extLst>
                <a:ext uri="{FF2B5EF4-FFF2-40B4-BE49-F238E27FC236}">
                  <a16:creationId xmlns:a16="http://schemas.microsoft.com/office/drawing/2014/main" id="{68F00EBE-617C-179E-75B2-F1680DB1FD61}"/>
                </a:ext>
              </a:extLst>
            </p:cNvPr>
            <p:cNvSpPr/>
            <p:nvPr/>
          </p:nvSpPr>
          <p:spPr>
            <a:xfrm rot="16200000">
              <a:off x="1048227" y="3343089"/>
              <a:ext cx="935252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40" name="Content Placeholder 1">
              <a:extLst>
                <a:ext uri="{FF2B5EF4-FFF2-40B4-BE49-F238E27FC236}">
                  <a16:creationId xmlns:a16="http://schemas.microsoft.com/office/drawing/2014/main" id="{38BA11C4-CA24-D579-4F2D-E63B675CBDE3}"/>
                </a:ext>
              </a:extLst>
            </p:cNvPr>
            <p:cNvSpPr txBox="1">
              <a:spLocks/>
            </p:cNvSpPr>
            <p:nvPr/>
          </p:nvSpPr>
          <p:spPr>
            <a:xfrm>
              <a:off x="2216076" y="4454445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41" name="Content Placeholder 1">
              <a:extLst>
                <a:ext uri="{FF2B5EF4-FFF2-40B4-BE49-F238E27FC236}">
                  <a16:creationId xmlns:a16="http://schemas.microsoft.com/office/drawing/2014/main" id="{C181E1ED-FD7E-A431-B068-A81D67A5647A}"/>
                </a:ext>
              </a:extLst>
            </p:cNvPr>
            <p:cNvSpPr txBox="1">
              <a:spLocks/>
            </p:cNvSpPr>
            <p:nvPr/>
          </p:nvSpPr>
          <p:spPr>
            <a:xfrm>
              <a:off x="4506150" y="4454445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42" name="Content Placeholder 1">
              <a:extLst>
                <a:ext uri="{FF2B5EF4-FFF2-40B4-BE49-F238E27FC236}">
                  <a16:creationId xmlns:a16="http://schemas.microsoft.com/office/drawing/2014/main" id="{74C84542-E6DE-50EB-D545-7DA9DD2144E6}"/>
                </a:ext>
              </a:extLst>
            </p:cNvPr>
            <p:cNvSpPr txBox="1">
              <a:spLocks/>
            </p:cNvSpPr>
            <p:nvPr/>
          </p:nvSpPr>
          <p:spPr>
            <a:xfrm>
              <a:off x="6796225" y="4454445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43" name="Content Placeholder 1">
              <a:extLst>
                <a:ext uri="{FF2B5EF4-FFF2-40B4-BE49-F238E27FC236}">
                  <a16:creationId xmlns:a16="http://schemas.microsoft.com/office/drawing/2014/main" id="{1FBAB46C-8BF4-0EE3-F520-B79EEC0A99ED}"/>
                </a:ext>
              </a:extLst>
            </p:cNvPr>
            <p:cNvSpPr txBox="1">
              <a:spLocks/>
            </p:cNvSpPr>
            <p:nvPr/>
          </p:nvSpPr>
          <p:spPr>
            <a:xfrm>
              <a:off x="9086299" y="4454445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44" name="Round Same Side Corner Rectangle 19">
              <a:extLst>
                <a:ext uri="{FF2B5EF4-FFF2-40B4-BE49-F238E27FC236}">
                  <a16:creationId xmlns:a16="http://schemas.microsoft.com/office/drawing/2014/main" id="{5FA38EC8-7713-F8C7-4C9C-57F3B3F42B20}"/>
                </a:ext>
              </a:extLst>
            </p:cNvPr>
            <p:cNvSpPr/>
            <p:nvPr/>
          </p:nvSpPr>
          <p:spPr>
            <a:xfrm rot="16200000">
              <a:off x="711981" y="4685407"/>
              <a:ext cx="1607744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74151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0BD19-A33C-3EBB-ACAD-8932CF4C69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EE24CE4-6AEB-A93D-2400-644E0D3408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E24CE4-6AEB-A93D-2400-644E0D3408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666915-076E-6AC1-743C-332CB88EB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4D060FC-A599-0EA7-9B26-84F027051CA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522455C-99F0-2900-00C7-D91142B1F9C4}"/>
              </a:ext>
            </a:extLst>
          </p:cNvPr>
          <p:cNvSpPr/>
          <p:nvPr/>
        </p:nvSpPr>
        <p:spPr>
          <a:xfrm>
            <a:off x="492528" y="2342319"/>
            <a:ext cx="11091340" cy="560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F9E9947-47C9-EA09-2C68-367A8F11BCEB}"/>
              </a:ext>
            </a:extLst>
          </p:cNvPr>
          <p:cNvSpPr/>
          <p:nvPr/>
        </p:nvSpPr>
        <p:spPr>
          <a:xfrm>
            <a:off x="492528" y="3081198"/>
            <a:ext cx="11091340" cy="560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DDC974-D53D-E4EB-45C4-FF985B378FFA}"/>
              </a:ext>
            </a:extLst>
          </p:cNvPr>
          <p:cNvSpPr/>
          <p:nvPr/>
        </p:nvSpPr>
        <p:spPr>
          <a:xfrm>
            <a:off x="492528" y="3820077"/>
            <a:ext cx="11091340" cy="560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88EE8C-F253-726E-F289-283F27A15FF1}"/>
              </a:ext>
            </a:extLst>
          </p:cNvPr>
          <p:cNvSpPr/>
          <p:nvPr/>
        </p:nvSpPr>
        <p:spPr>
          <a:xfrm>
            <a:off x="492528" y="4558956"/>
            <a:ext cx="11091340" cy="560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B9D671-3134-976C-71D9-40FB0DEAD83F}"/>
              </a:ext>
            </a:extLst>
          </p:cNvPr>
          <p:cNvSpPr/>
          <p:nvPr/>
        </p:nvSpPr>
        <p:spPr>
          <a:xfrm>
            <a:off x="492528" y="5297833"/>
            <a:ext cx="11091340" cy="560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B9B5B3C-EA13-37A0-5869-E338C6E8BCF6}"/>
              </a:ext>
            </a:extLst>
          </p:cNvPr>
          <p:cNvSpPr/>
          <p:nvPr/>
        </p:nvSpPr>
        <p:spPr>
          <a:xfrm>
            <a:off x="492528" y="1603440"/>
            <a:ext cx="11091340" cy="560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8633965-85E4-8718-4911-7D70E57923E0}"/>
              </a:ext>
            </a:extLst>
          </p:cNvPr>
          <p:cNvSpPr/>
          <p:nvPr/>
        </p:nvSpPr>
        <p:spPr>
          <a:xfrm>
            <a:off x="624304" y="1776124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6493CF-B63F-DFC6-7321-7853E78F083D}"/>
              </a:ext>
            </a:extLst>
          </p:cNvPr>
          <p:cNvSpPr/>
          <p:nvPr/>
        </p:nvSpPr>
        <p:spPr>
          <a:xfrm>
            <a:off x="624304" y="2515003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C4EDB68-0E7F-7FA2-0B24-8C686AE5A477}"/>
              </a:ext>
            </a:extLst>
          </p:cNvPr>
          <p:cNvSpPr/>
          <p:nvPr/>
        </p:nvSpPr>
        <p:spPr>
          <a:xfrm>
            <a:off x="624304" y="3253882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535854D-A9E2-9098-7FC4-75F80DC4B11B}"/>
              </a:ext>
            </a:extLst>
          </p:cNvPr>
          <p:cNvSpPr/>
          <p:nvPr/>
        </p:nvSpPr>
        <p:spPr>
          <a:xfrm>
            <a:off x="624304" y="3992761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AC79F5C-D98A-0C08-6036-4F6C237DC253}"/>
              </a:ext>
            </a:extLst>
          </p:cNvPr>
          <p:cNvSpPr/>
          <p:nvPr/>
        </p:nvSpPr>
        <p:spPr>
          <a:xfrm>
            <a:off x="624304" y="4731640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70A08D1-E21C-2B08-C95A-3072A272EFC8}"/>
              </a:ext>
            </a:extLst>
          </p:cNvPr>
          <p:cNvSpPr/>
          <p:nvPr/>
        </p:nvSpPr>
        <p:spPr>
          <a:xfrm>
            <a:off x="624304" y="5470517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04ED0D8D-1DC2-AC3A-DF95-7115AC9B77D6}"/>
              </a:ext>
            </a:extLst>
          </p:cNvPr>
          <p:cNvGrpSpPr/>
          <p:nvPr/>
        </p:nvGrpSpPr>
        <p:grpSpPr>
          <a:xfrm>
            <a:off x="4659694" y="1258786"/>
            <a:ext cx="6613267" cy="4504704"/>
            <a:chOff x="3976787" y="1258786"/>
            <a:chExt cx="6613267" cy="4504704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DBE5277-66F6-0F6E-E00B-8E3338EA6A86}"/>
                </a:ext>
              </a:extLst>
            </p:cNvPr>
            <p:cNvSpPr/>
            <p:nvPr/>
          </p:nvSpPr>
          <p:spPr>
            <a:xfrm>
              <a:off x="7331773" y="1258786"/>
              <a:ext cx="928468" cy="215444"/>
            </a:xfrm>
            <a:prstGeom prst="rect">
              <a:avLst/>
            </a:prstGeom>
            <a:noFill/>
            <a:ln w="127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  <a:latin typeface="+mn-lt"/>
                </a:rPr>
                <a:t>Heading 4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A367ADC-0623-8EC2-EBAB-93FD334BDF41}"/>
                </a:ext>
              </a:extLst>
            </p:cNvPr>
            <p:cNvSpPr/>
            <p:nvPr/>
          </p:nvSpPr>
          <p:spPr>
            <a:xfrm>
              <a:off x="3976787" y="1258786"/>
              <a:ext cx="928468" cy="215444"/>
            </a:xfrm>
            <a:prstGeom prst="rect">
              <a:avLst/>
            </a:prstGeom>
            <a:noFill/>
            <a:ln w="127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  <a:latin typeface="+mn-lt"/>
                </a:rPr>
                <a:t>Heading 1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387EEA4-574A-D3CA-754F-22A406BEA201}"/>
                </a:ext>
              </a:extLst>
            </p:cNvPr>
            <p:cNvGrpSpPr/>
            <p:nvPr/>
          </p:nvGrpSpPr>
          <p:grpSpPr>
            <a:xfrm>
              <a:off x="4255770" y="1698595"/>
              <a:ext cx="370502" cy="370502"/>
              <a:chOff x="3551571" y="1283110"/>
              <a:chExt cx="589936" cy="589936"/>
            </a:xfrm>
          </p:grpSpPr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FBD7E2DC-5A4B-D102-B599-826521D5B8AF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Freeform 280">
                <a:extLst>
                  <a:ext uri="{FF2B5EF4-FFF2-40B4-BE49-F238E27FC236}">
                    <a16:creationId xmlns:a16="http://schemas.microsoft.com/office/drawing/2014/main" id="{1ADDB4D1-2FB0-64CA-34C6-24A1195F0D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776285B-6646-BAF9-B40F-DA6C0AE16629}"/>
                </a:ext>
              </a:extLst>
            </p:cNvPr>
            <p:cNvGrpSpPr/>
            <p:nvPr/>
          </p:nvGrpSpPr>
          <p:grpSpPr>
            <a:xfrm>
              <a:off x="7610756" y="1698595"/>
              <a:ext cx="370502" cy="370502"/>
              <a:chOff x="3551571" y="1283110"/>
              <a:chExt cx="589936" cy="589936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65B342C0-433C-1ABB-D06D-A32B68B04652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Freeform 280">
                <a:extLst>
                  <a:ext uri="{FF2B5EF4-FFF2-40B4-BE49-F238E27FC236}">
                    <a16:creationId xmlns:a16="http://schemas.microsoft.com/office/drawing/2014/main" id="{390A0F27-533D-983D-A274-E47CBF88F8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D6F0C30-E44E-BECB-1950-67682CC33613}"/>
                </a:ext>
              </a:extLst>
            </p:cNvPr>
            <p:cNvGrpSpPr/>
            <p:nvPr/>
          </p:nvGrpSpPr>
          <p:grpSpPr>
            <a:xfrm>
              <a:off x="4255770" y="2437474"/>
              <a:ext cx="370502" cy="370502"/>
              <a:chOff x="3551571" y="1283110"/>
              <a:chExt cx="589936" cy="589936"/>
            </a:xfrm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D32E07A9-712F-BAD3-82F5-BE886F61467A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Freeform 280">
                <a:extLst>
                  <a:ext uri="{FF2B5EF4-FFF2-40B4-BE49-F238E27FC236}">
                    <a16:creationId xmlns:a16="http://schemas.microsoft.com/office/drawing/2014/main" id="{3C1545A4-9178-932F-380E-6030DDF5E2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D523C95-18C5-E023-01B5-804595EC92EB}"/>
                </a:ext>
              </a:extLst>
            </p:cNvPr>
            <p:cNvGrpSpPr/>
            <p:nvPr/>
          </p:nvGrpSpPr>
          <p:grpSpPr>
            <a:xfrm>
              <a:off x="7610756" y="2437474"/>
              <a:ext cx="370502" cy="370502"/>
              <a:chOff x="3551571" y="1283110"/>
              <a:chExt cx="589936" cy="589936"/>
            </a:xfrm>
          </p:grpSpPr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D120B2D1-ADB0-2FC5-80F4-EA1E56765AFF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Freeform 280">
                <a:extLst>
                  <a:ext uri="{FF2B5EF4-FFF2-40B4-BE49-F238E27FC236}">
                    <a16:creationId xmlns:a16="http://schemas.microsoft.com/office/drawing/2014/main" id="{04804888-6E37-4227-7D53-60C3586EB2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A9DDACF-CE3D-2EC5-EE59-C076C7EF92FD}"/>
                </a:ext>
              </a:extLst>
            </p:cNvPr>
            <p:cNvGrpSpPr/>
            <p:nvPr/>
          </p:nvGrpSpPr>
          <p:grpSpPr>
            <a:xfrm>
              <a:off x="4255770" y="3176353"/>
              <a:ext cx="370502" cy="370502"/>
              <a:chOff x="3551571" y="1283110"/>
              <a:chExt cx="589936" cy="589936"/>
            </a:xfrm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279348C6-673A-9377-534C-E1F0CD0CB8E3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Freeform 280">
                <a:extLst>
                  <a:ext uri="{FF2B5EF4-FFF2-40B4-BE49-F238E27FC236}">
                    <a16:creationId xmlns:a16="http://schemas.microsoft.com/office/drawing/2014/main" id="{5099C67C-6FDD-6E39-6E12-C5E354DF2EE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443E7C98-6AC2-2AF1-D933-2A9BE8116403}"/>
                </a:ext>
              </a:extLst>
            </p:cNvPr>
            <p:cNvGrpSpPr/>
            <p:nvPr/>
          </p:nvGrpSpPr>
          <p:grpSpPr>
            <a:xfrm>
              <a:off x="7610756" y="3176353"/>
              <a:ext cx="370502" cy="370502"/>
              <a:chOff x="3551571" y="1283110"/>
              <a:chExt cx="589936" cy="589936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EC85FCA-7A77-0EC4-8D7A-7BDBDCED6473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Freeform 280">
                <a:extLst>
                  <a:ext uri="{FF2B5EF4-FFF2-40B4-BE49-F238E27FC236}">
                    <a16:creationId xmlns:a16="http://schemas.microsoft.com/office/drawing/2014/main" id="{BF545388-3F49-8D0B-9479-E2E8E9E23E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74C5BD7-AB55-4C27-3CA3-8D0B23375F36}"/>
                </a:ext>
              </a:extLst>
            </p:cNvPr>
            <p:cNvGrpSpPr/>
            <p:nvPr/>
          </p:nvGrpSpPr>
          <p:grpSpPr>
            <a:xfrm>
              <a:off x="7610756" y="3915232"/>
              <a:ext cx="370502" cy="370502"/>
              <a:chOff x="3551571" y="1283110"/>
              <a:chExt cx="589936" cy="589936"/>
            </a:xfrm>
          </p:grpSpPr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F7933FFE-59C3-EACD-E75F-FE58F06F63C9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Freeform 280">
                <a:extLst>
                  <a:ext uri="{FF2B5EF4-FFF2-40B4-BE49-F238E27FC236}">
                    <a16:creationId xmlns:a16="http://schemas.microsoft.com/office/drawing/2014/main" id="{0E5199AB-C67E-7BB8-96A6-8E580F75AC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D6B0B135-D04A-C5CC-1FE8-7332DA923B60}"/>
                </a:ext>
              </a:extLst>
            </p:cNvPr>
            <p:cNvGrpSpPr/>
            <p:nvPr/>
          </p:nvGrpSpPr>
          <p:grpSpPr>
            <a:xfrm>
              <a:off x="4255770" y="3915232"/>
              <a:ext cx="370502" cy="370502"/>
              <a:chOff x="7577881" y="1283110"/>
              <a:chExt cx="589936" cy="589936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91A92084-A15C-E618-8A28-6511E084B82F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3" name="Freeform 281">
                <a:extLst>
                  <a:ext uri="{FF2B5EF4-FFF2-40B4-BE49-F238E27FC236}">
                    <a16:creationId xmlns:a16="http://schemas.microsoft.com/office/drawing/2014/main" id="{352640A2-D079-2B97-B623-D8C90BC3E6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EE780DE3-6137-BEF1-EBF7-7C711152C5E2}"/>
                </a:ext>
              </a:extLst>
            </p:cNvPr>
            <p:cNvGrpSpPr/>
            <p:nvPr/>
          </p:nvGrpSpPr>
          <p:grpSpPr>
            <a:xfrm>
              <a:off x="7610756" y="4654111"/>
              <a:ext cx="370502" cy="370502"/>
              <a:chOff x="3551571" y="1283110"/>
              <a:chExt cx="589936" cy="589936"/>
            </a:xfrm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B2ABDE2D-DD86-45FF-A27C-1CCC402248D5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Freeform 280">
                <a:extLst>
                  <a:ext uri="{FF2B5EF4-FFF2-40B4-BE49-F238E27FC236}">
                    <a16:creationId xmlns:a16="http://schemas.microsoft.com/office/drawing/2014/main" id="{2F644159-3C16-A2A9-0028-ED13558710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2D07220-276B-406D-10D7-C99C8E4695A3}"/>
                </a:ext>
              </a:extLst>
            </p:cNvPr>
            <p:cNvGrpSpPr/>
            <p:nvPr/>
          </p:nvGrpSpPr>
          <p:grpSpPr>
            <a:xfrm>
              <a:off x="4255770" y="4654111"/>
              <a:ext cx="370502" cy="370502"/>
              <a:chOff x="7577881" y="1283110"/>
              <a:chExt cx="589936" cy="589936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DC0A6169-6B51-3B92-6B3A-BBB1F4FC08EC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Freeform 281">
                <a:extLst>
                  <a:ext uri="{FF2B5EF4-FFF2-40B4-BE49-F238E27FC236}">
                    <a16:creationId xmlns:a16="http://schemas.microsoft.com/office/drawing/2014/main" id="{3898C27B-0481-78CF-7C20-C161304B24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8FC9F407-25FD-5345-946B-4CEB74AD1C10}"/>
                </a:ext>
              </a:extLst>
            </p:cNvPr>
            <p:cNvGrpSpPr/>
            <p:nvPr/>
          </p:nvGrpSpPr>
          <p:grpSpPr>
            <a:xfrm>
              <a:off x="5095116" y="1258786"/>
              <a:ext cx="2046797" cy="4504704"/>
              <a:chOff x="5095116" y="1258786"/>
              <a:chExt cx="2046797" cy="4504704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26B1F50-20EC-3BCC-74A3-D9DDDE3FC368}"/>
                  </a:ext>
                </a:extLst>
              </p:cNvPr>
              <p:cNvSpPr/>
              <p:nvPr/>
            </p:nvSpPr>
            <p:spPr>
              <a:xfrm>
                <a:off x="5095116" y="1258786"/>
                <a:ext cx="928468" cy="215444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accent1"/>
                    </a:solidFill>
                    <a:latin typeface="+mn-lt"/>
                  </a:rPr>
                  <a:t>Heading 2</a:t>
                </a:r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1CEF33BA-FD30-DF7E-701E-19CC80D91FE6}"/>
                  </a:ext>
                </a:extLst>
              </p:cNvPr>
              <p:cNvGrpSpPr/>
              <p:nvPr/>
            </p:nvGrpSpPr>
            <p:grpSpPr>
              <a:xfrm>
                <a:off x="5374099" y="1698595"/>
                <a:ext cx="370502" cy="370502"/>
                <a:chOff x="7577881" y="1283110"/>
                <a:chExt cx="589936" cy="589936"/>
              </a:xfrm>
            </p:grpSpPr>
            <p:sp>
              <p:nvSpPr>
                <p:cNvPr id="90" name="Oval 89">
                  <a:extLst>
                    <a:ext uri="{FF2B5EF4-FFF2-40B4-BE49-F238E27FC236}">
                      <a16:creationId xmlns:a16="http://schemas.microsoft.com/office/drawing/2014/main" id="{AA6A9F43-F9CC-D33E-CED4-FCBEF85CF8CB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1" name="Freeform 281">
                  <a:extLst>
                    <a:ext uri="{FF2B5EF4-FFF2-40B4-BE49-F238E27FC236}">
                      <a16:creationId xmlns:a16="http://schemas.microsoft.com/office/drawing/2014/main" id="{A99ADACF-732A-BA96-C6CF-28A69073B24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8C6C2E2E-E99B-A9A4-F42E-16A017049DAD}"/>
                  </a:ext>
                </a:extLst>
              </p:cNvPr>
              <p:cNvGrpSpPr/>
              <p:nvPr/>
            </p:nvGrpSpPr>
            <p:grpSpPr>
              <a:xfrm>
                <a:off x="5374099" y="2437474"/>
                <a:ext cx="370502" cy="370502"/>
                <a:chOff x="7577881" y="1283110"/>
                <a:chExt cx="589936" cy="589936"/>
              </a:xfrm>
            </p:grpSpPr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735453BD-1B5B-23E3-6A68-7EBDFF3ADEC2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3" name="Freeform 281">
                  <a:extLst>
                    <a:ext uri="{FF2B5EF4-FFF2-40B4-BE49-F238E27FC236}">
                      <a16:creationId xmlns:a16="http://schemas.microsoft.com/office/drawing/2014/main" id="{F74C1636-6280-83E7-ECF9-CBB7FFC1DD2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5FCA2048-AAF4-B203-061F-58B63F1C3448}"/>
                  </a:ext>
                </a:extLst>
              </p:cNvPr>
              <p:cNvGrpSpPr/>
              <p:nvPr/>
            </p:nvGrpSpPr>
            <p:grpSpPr>
              <a:xfrm>
                <a:off x="5374099" y="3176353"/>
                <a:ext cx="370502" cy="370502"/>
                <a:chOff x="3551571" y="1283110"/>
                <a:chExt cx="589936" cy="589936"/>
              </a:xfrm>
            </p:grpSpPr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B0133495-1AB2-D34F-382E-381FD208B043}"/>
                    </a:ext>
                  </a:extLst>
                </p:cNvPr>
                <p:cNvSpPr/>
                <p:nvPr/>
              </p:nvSpPr>
              <p:spPr>
                <a:xfrm>
                  <a:off x="3551571" y="1283110"/>
                  <a:ext cx="589936" cy="589936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3" name="Freeform 280">
                  <a:extLst>
                    <a:ext uri="{FF2B5EF4-FFF2-40B4-BE49-F238E27FC236}">
                      <a16:creationId xmlns:a16="http://schemas.microsoft.com/office/drawing/2014/main" id="{CE757EB8-DB2F-2B0F-8262-7CD2E51CD04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45782" y="1380088"/>
                  <a:ext cx="401514" cy="395981"/>
                </a:xfrm>
                <a:custGeom>
                  <a:avLst/>
                  <a:gdLst>
                    <a:gd name="T0" fmla="*/ 0 w 648"/>
                    <a:gd name="T1" fmla="*/ 131 h 618"/>
                    <a:gd name="T2" fmla="*/ 33 w 648"/>
                    <a:gd name="T3" fmla="*/ 112 h 618"/>
                    <a:gd name="T4" fmla="*/ 46 w 648"/>
                    <a:gd name="T5" fmla="*/ 119 h 618"/>
                    <a:gd name="T6" fmla="*/ 70 w 648"/>
                    <a:gd name="T7" fmla="*/ 158 h 618"/>
                    <a:gd name="T8" fmla="*/ 106 w 648"/>
                    <a:gd name="T9" fmla="*/ 110 h 618"/>
                    <a:gd name="T10" fmla="*/ 165 w 648"/>
                    <a:gd name="T11" fmla="*/ 52 h 618"/>
                    <a:gd name="T12" fmla="*/ 203 w 648"/>
                    <a:gd name="T13" fmla="*/ 21 h 618"/>
                    <a:gd name="T14" fmla="*/ 240 w 648"/>
                    <a:gd name="T15" fmla="*/ 0 h 618"/>
                    <a:gd name="T16" fmla="*/ 246 w 648"/>
                    <a:gd name="T17" fmla="*/ 9 h 618"/>
                    <a:gd name="T18" fmla="*/ 215 w 648"/>
                    <a:gd name="T19" fmla="*/ 34 h 618"/>
                    <a:gd name="T20" fmla="*/ 170 w 648"/>
                    <a:gd name="T21" fmla="*/ 80 h 618"/>
                    <a:gd name="T22" fmla="*/ 131 w 648"/>
                    <a:gd name="T23" fmla="*/ 126 h 618"/>
                    <a:gd name="T24" fmla="*/ 89 w 648"/>
                    <a:gd name="T25" fmla="*/ 194 h 618"/>
                    <a:gd name="T26" fmla="*/ 55 w 648"/>
                    <a:gd name="T27" fmla="*/ 216 h 618"/>
                    <a:gd name="T28" fmla="*/ 31 w 648"/>
                    <a:gd name="T29" fmla="*/ 163 h 618"/>
                    <a:gd name="T30" fmla="*/ 16 w 648"/>
                    <a:gd name="T31" fmla="*/ 141 h 618"/>
                    <a:gd name="T32" fmla="*/ 0 w 648"/>
                    <a:gd name="T33" fmla="*/ 131 h 6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B572E34D-6E7F-18EC-1590-8B2FABF390BF}"/>
                  </a:ext>
                </a:extLst>
              </p:cNvPr>
              <p:cNvGrpSpPr/>
              <p:nvPr/>
            </p:nvGrpSpPr>
            <p:grpSpPr>
              <a:xfrm>
                <a:off x="5374099" y="3915232"/>
                <a:ext cx="370502" cy="370502"/>
                <a:chOff x="7577881" y="1283110"/>
                <a:chExt cx="589936" cy="589936"/>
              </a:xfrm>
            </p:grpSpPr>
            <p:sp>
              <p:nvSpPr>
                <p:cNvPr id="68" name="Oval 67">
                  <a:extLst>
                    <a:ext uri="{FF2B5EF4-FFF2-40B4-BE49-F238E27FC236}">
                      <a16:creationId xmlns:a16="http://schemas.microsoft.com/office/drawing/2014/main" id="{94974DAC-E367-CCB7-B02E-1A4087F99729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9" name="Freeform 281">
                  <a:extLst>
                    <a:ext uri="{FF2B5EF4-FFF2-40B4-BE49-F238E27FC236}">
                      <a16:creationId xmlns:a16="http://schemas.microsoft.com/office/drawing/2014/main" id="{DD1EA5B4-5127-D390-98CE-9EA443CC36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CA393C7A-1791-5F74-AAF4-A6C0C894D08D}"/>
                  </a:ext>
                </a:extLst>
              </p:cNvPr>
              <p:cNvGrpSpPr/>
              <p:nvPr/>
            </p:nvGrpSpPr>
            <p:grpSpPr>
              <a:xfrm>
                <a:off x="5374099" y="4654111"/>
                <a:ext cx="370502" cy="370502"/>
                <a:chOff x="7577881" y="1283110"/>
                <a:chExt cx="589936" cy="589936"/>
              </a:xfrm>
            </p:grpSpPr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D8809D17-570D-A498-38D9-E5A7A5A0FD1C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1" name="Freeform 281">
                  <a:extLst>
                    <a:ext uri="{FF2B5EF4-FFF2-40B4-BE49-F238E27FC236}">
                      <a16:creationId xmlns:a16="http://schemas.microsoft.com/office/drawing/2014/main" id="{40AED3D4-1378-5A6A-902E-36B30574328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EB3C54E5-A2DF-0470-4984-F64CF4A9EB4B}"/>
                  </a:ext>
                </a:extLst>
              </p:cNvPr>
              <p:cNvGrpSpPr/>
              <p:nvPr/>
            </p:nvGrpSpPr>
            <p:grpSpPr>
              <a:xfrm>
                <a:off x="5374099" y="5392988"/>
                <a:ext cx="370502" cy="370502"/>
                <a:chOff x="7577881" y="1283110"/>
                <a:chExt cx="589936" cy="589936"/>
              </a:xfrm>
            </p:grpSpPr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5943BA00-365E-45E2-392B-D66004C62712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" name="Freeform 281">
                  <a:extLst>
                    <a:ext uri="{FF2B5EF4-FFF2-40B4-BE49-F238E27FC236}">
                      <a16:creationId xmlns:a16="http://schemas.microsoft.com/office/drawing/2014/main" id="{65184889-8C47-F4C3-9276-C1C6822A68C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A5BB3BF8-369B-71E5-E604-FFA076CB11C8}"/>
                  </a:ext>
                </a:extLst>
              </p:cNvPr>
              <p:cNvGrpSpPr/>
              <p:nvPr/>
            </p:nvGrpSpPr>
            <p:grpSpPr>
              <a:xfrm>
                <a:off x="6213445" y="1258786"/>
                <a:ext cx="928468" cy="4504704"/>
                <a:chOff x="6213445" y="1258786"/>
                <a:chExt cx="928468" cy="4504704"/>
              </a:xfrm>
            </p:grpSpPr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E0E1624D-6F8E-4EB6-7AC1-A105E66F223F}"/>
                    </a:ext>
                  </a:extLst>
                </p:cNvPr>
                <p:cNvSpPr/>
                <p:nvPr/>
              </p:nvSpPr>
              <p:spPr>
                <a:xfrm>
                  <a:off x="6213445" y="1258786"/>
                  <a:ext cx="928468" cy="215444"/>
                </a:xfrm>
                <a:prstGeom prst="rect">
                  <a:avLst/>
                </a:prstGeom>
                <a:noFill/>
                <a:ln w="12700" cap="rnd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accent1"/>
                      </a:solidFill>
                      <a:latin typeface="+mn-lt"/>
                    </a:rPr>
                    <a:t>Heading 3</a:t>
                  </a:r>
                </a:p>
              </p:txBody>
            </p:sp>
            <p:grpSp>
              <p:nvGrpSpPr>
                <p:cNvPr id="17" name="Group 16">
                  <a:extLst>
                    <a:ext uri="{FF2B5EF4-FFF2-40B4-BE49-F238E27FC236}">
                      <a16:creationId xmlns:a16="http://schemas.microsoft.com/office/drawing/2014/main" id="{A1E2C11E-B7E6-FCEC-938D-07092CB19BBD}"/>
                    </a:ext>
                  </a:extLst>
                </p:cNvPr>
                <p:cNvGrpSpPr/>
                <p:nvPr/>
              </p:nvGrpSpPr>
              <p:grpSpPr>
                <a:xfrm>
                  <a:off x="6492428" y="1698595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88" name="Oval 87">
                    <a:extLst>
                      <a:ext uri="{FF2B5EF4-FFF2-40B4-BE49-F238E27FC236}">
                        <a16:creationId xmlns:a16="http://schemas.microsoft.com/office/drawing/2014/main" id="{46D1791E-B136-AC8C-996B-FADDF601C16E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9" name="Freeform 281">
                    <a:extLst>
                      <a:ext uri="{FF2B5EF4-FFF2-40B4-BE49-F238E27FC236}">
                        <a16:creationId xmlns:a16="http://schemas.microsoft.com/office/drawing/2014/main" id="{14DE23CF-D545-07AA-E6CC-83BEF366000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1" name="Group 20">
                  <a:extLst>
                    <a:ext uri="{FF2B5EF4-FFF2-40B4-BE49-F238E27FC236}">
                      <a16:creationId xmlns:a16="http://schemas.microsoft.com/office/drawing/2014/main" id="{9CA5F993-D55D-70CC-8437-728B6CD7EAC3}"/>
                    </a:ext>
                  </a:extLst>
                </p:cNvPr>
                <p:cNvGrpSpPr/>
                <p:nvPr/>
              </p:nvGrpSpPr>
              <p:grpSpPr>
                <a:xfrm>
                  <a:off x="6492428" y="2437474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80" name="Oval 79">
                    <a:extLst>
                      <a:ext uri="{FF2B5EF4-FFF2-40B4-BE49-F238E27FC236}">
                        <a16:creationId xmlns:a16="http://schemas.microsoft.com/office/drawing/2014/main" id="{4A25072D-E146-4FD6-0441-4BFCB60F5810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1" name="Freeform 281">
                    <a:extLst>
                      <a:ext uri="{FF2B5EF4-FFF2-40B4-BE49-F238E27FC236}">
                        <a16:creationId xmlns:a16="http://schemas.microsoft.com/office/drawing/2014/main" id="{7A17D9FE-C8E2-A9D9-34C7-246A84C4130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6" name="Group 25">
                  <a:extLst>
                    <a:ext uri="{FF2B5EF4-FFF2-40B4-BE49-F238E27FC236}">
                      <a16:creationId xmlns:a16="http://schemas.microsoft.com/office/drawing/2014/main" id="{8E2B0422-8FEA-2A7C-9B6D-668BF3386346}"/>
                    </a:ext>
                  </a:extLst>
                </p:cNvPr>
                <p:cNvGrpSpPr/>
                <p:nvPr/>
              </p:nvGrpSpPr>
              <p:grpSpPr>
                <a:xfrm>
                  <a:off x="6492428" y="3176353"/>
                  <a:ext cx="370502" cy="370502"/>
                  <a:chOff x="3551571" y="1283110"/>
                  <a:chExt cx="589936" cy="589936"/>
                </a:xfrm>
              </p:grpSpPr>
              <p:sp>
                <p:nvSpPr>
                  <p:cNvPr id="70" name="Oval 69">
                    <a:extLst>
                      <a:ext uri="{FF2B5EF4-FFF2-40B4-BE49-F238E27FC236}">
                        <a16:creationId xmlns:a16="http://schemas.microsoft.com/office/drawing/2014/main" id="{19E68C7C-7871-AD50-3E71-3A4F666AA86B}"/>
                      </a:ext>
                    </a:extLst>
                  </p:cNvPr>
                  <p:cNvSpPr/>
                  <p:nvPr/>
                </p:nvSpPr>
                <p:spPr>
                  <a:xfrm>
                    <a:off x="3551571" y="1283110"/>
                    <a:ext cx="589936" cy="589936"/>
                  </a:xfrm>
                  <a:prstGeom prst="ellipse">
                    <a:avLst/>
                  </a:prstGeom>
                  <a:solidFill>
                    <a:srgbClr val="FF000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1" name="Freeform 280">
                    <a:extLst>
                      <a:ext uri="{FF2B5EF4-FFF2-40B4-BE49-F238E27FC236}">
                        <a16:creationId xmlns:a16="http://schemas.microsoft.com/office/drawing/2014/main" id="{39C0E2EB-4E2B-F130-B9B1-A32EEB62419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3645782" y="1380088"/>
                    <a:ext cx="401514" cy="395981"/>
                  </a:xfrm>
                  <a:custGeom>
                    <a:avLst/>
                    <a:gdLst>
                      <a:gd name="T0" fmla="*/ 0 w 648"/>
                      <a:gd name="T1" fmla="*/ 131 h 618"/>
                      <a:gd name="T2" fmla="*/ 33 w 648"/>
                      <a:gd name="T3" fmla="*/ 112 h 618"/>
                      <a:gd name="T4" fmla="*/ 46 w 648"/>
                      <a:gd name="T5" fmla="*/ 119 h 618"/>
                      <a:gd name="T6" fmla="*/ 70 w 648"/>
                      <a:gd name="T7" fmla="*/ 158 h 618"/>
                      <a:gd name="T8" fmla="*/ 106 w 648"/>
                      <a:gd name="T9" fmla="*/ 110 h 618"/>
                      <a:gd name="T10" fmla="*/ 165 w 648"/>
                      <a:gd name="T11" fmla="*/ 52 h 618"/>
                      <a:gd name="T12" fmla="*/ 203 w 648"/>
                      <a:gd name="T13" fmla="*/ 21 h 618"/>
                      <a:gd name="T14" fmla="*/ 240 w 648"/>
                      <a:gd name="T15" fmla="*/ 0 h 618"/>
                      <a:gd name="T16" fmla="*/ 246 w 648"/>
                      <a:gd name="T17" fmla="*/ 9 h 618"/>
                      <a:gd name="T18" fmla="*/ 215 w 648"/>
                      <a:gd name="T19" fmla="*/ 34 h 618"/>
                      <a:gd name="T20" fmla="*/ 170 w 648"/>
                      <a:gd name="T21" fmla="*/ 80 h 618"/>
                      <a:gd name="T22" fmla="*/ 131 w 648"/>
                      <a:gd name="T23" fmla="*/ 126 h 618"/>
                      <a:gd name="T24" fmla="*/ 89 w 648"/>
                      <a:gd name="T25" fmla="*/ 194 h 618"/>
                      <a:gd name="T26" fmla="*/ 55 w 648"/>
                      <a:gd name="T27" fmla="*/ 216 h 618"/>
                      <a:gd name="T28" fmla="*/ 31 w 648"/>
                      <a:gd name="T29" fmla="*/ 163 h 618"/>
                      <a:gd name="T30" fmla="*/ 16 w 648"/>
                      <a:gd name="T31" fmla="*/ 141 h 618"/>
                      <a:gd name="T32" fmla="*/ 0 w 648"/>
                      <a:gd name="T33" fmla="*/ 131 h 618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0" t="0" r="r" b="b"/>
                    <a:pathLst>
                      <a:path w="648" h="618">
                        <a:moveTo>
                          <a:pt x="0" y="374"/>
                        </a:moveTo>
                        <a:lnTo>
                          <a:pt x="88" y="320"/>
                        </a:lnTo>
                        <a:lnTo>
                          <a:pt x="122" y="340"/>
                        </a:lnTo>
                        <a:lnTo>
                          <a:pt x="184" y="452"/>
                        </a:lnTo>
                        <a:lnTo>
                          <a:pt x="278" y="316"/>
                        </a:lnTo>
                        <a:lnTo>
                          <a:pt x="434" y="148"/>
                        </a:lnTo>
                        <a:lnTo>
                          <a:pt x="534" y="60"/>
                        </a:lnTo>
                        <a:lnTo>
                          <a:pt x="632" y="0"/>
                        </a:lnTo>
                        <a:lnTo>
                          <a:pt x="648" y="26"/>
                        </a:lnTo>
                        <a:lnTo>
                          <a:pt x="566" y="98"/>
                        </a:lnTo>
                        <a:lnTo>
                          <a:pt x="448" y="230"/>
                        </a:lnTo>
                        <a:lnTo>
                          <a:pt x="346" y="360"/>
                        </a:lnTo>
                        <a:lnTo>
                          <a:pt x="234" y="554"/>
                        </a:lnTo>
                        <a:lnTo>
                          <a:pt x="144" y="618"/>
                        </a:lnTo>
                        <a:lnTo>
                          <a:pt x="82" y="466"/>
                        </a:lnTo>
                        <a:lnTo>
                          <a:pt x="42" y="404"/>
                        </a:lnTo>
                        <a:lnTo>
                          <a:pt x="0" y="3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4" name="Group 33">
                  <a:extLst>
                    <a:ext uri="{FF2B5EF4-FFF2-40B4-BE49-F238E27FC236}">
                      <a16:creationId xmlns:a16="http://schemas.microsoft.com/office/drawing/2014/main" id="{6CCA2164-62FF-67F3-8EFF-31EF5AA791E2}"/>
                    </a:ext>
                  </a:extLst>
                </p:cNvPr>
                <p:cNvGrpSpPr/>
                <p:nvPr/>
              </p:nvGrpSpPr>
              <p:grpSpPr>
                <a:xfrm>
                  <a:off x="6492428" y="3915232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66" name="Oval 65">
                    <a:extLst>
                      <a:ext uri="{FF2B5EF4-FFF2-40B4-BE49-F238E27FC236}">
                        <a16:creationId xmlns:a16="http://schemas.microsoft.com/office/drawing/2014/main" id="{6BFC3F43-3F4F-2433-ABF4-C25C27989B4D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7" name="Freeform 281">
                    <a:extLst>
                      <a:ext uri="{FF2B5EF4-FFF2-40B4-BE49-F238E27FC236}">
                        <a16:creationId xmlns:a16="http://schemas.microsoft.com/office/drawing/2014/main" id="{727CD332-EE6F-EBC1-582D-32AFE1FC166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954AA4B9-2988-9AAE-A11E-7BF04305D811}"/>
                    </a:ext>
                  </a:extLst>
                </p:cNvPr>
                <p:cNvGrpSpPr/>
                <p:nvPr/>
              </p:nvGrpSpPr>
              <p:grpSpPr>
                <a:xfrm>
                  <a:off x="6492428" y="4654111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58" name="Oval 57">
                    <a:extLst>
                      <a:ext uri="{FF2B5EF4-FFF2-40B4-BE49-F238E27FC236}">
                        <a16:creationId xmlns:a16="http://schemas.microsoft.com/office/drawing/2014/main" id="{D3B4C01A-2D8E-F162-61A7-2E73C4F3843C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" name="Freeform 281">
                    <a:extLst>
                      <a:ext uri="{FF2B5EF4-FFF2-40B4-BE49-F238E27FC236}">
                        <a16:creationId xmlns:a16="http://schemas.microsoft.com/office/drawing/2014/main" id="{3D82F586-68E8-195D-A4F4-A8A0381495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2" name="Group 41">
                  <a:extLst>
                    <a:ext uri="{FF2B5EF4-FFF2-40B4-BE49-F238E27FC236}">
                      <a16:creationId xmlns:a16="http://schemas.microsoft.com/office/drawing/2014/main" id="{4B2E3047-6427-9D03-0990-FA94E1651BD9}"/>
                    </a:ext>
                  </a:extLst>
                </p:cNvPr>
                <p:cNvGrpSpPr/>
                <p:nvPr/>
              </p:nvGrpSpPr>
              <p:grpSpPr>
                <a:xfrm>
                  <a:off x="6492428" y="5392988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49" name="Oval 48">
                    <a:extLst>
                      <a:ext uri="{FF2B5EF4-FFF2-40B4-BE49-F238E27FC236}">
                        <a16:creationId xmlns:a16="http://schemas.microsoft.com/office/drawing/2014/main" id="{ACFB6634-A0FF-8938-5B12-486A2BC29944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" name="Freeform 281">
                    <a:extLst>
                      <a:ext uri="{FF2B5EF4-FFF2-40B4-BE49-F238E27FC236}">
                        <a16:creationId xmlns:a16="http://schemas.microsoft.com/office/drawing/2014/main" id="{D9705B5C-1A45-9C21-7909-46ADD649D64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0533788-CE29-69D6-50D9-F42C043B4655}"/>
                </a:ext>
              </a:extLst>
            </p:cNvPr>
            <p:cNvGrpSpPr/>
            <p:nvPr/>
          </p:nvGrpSpPr>
          <p:grpSpPr>
            <a:xfrm>
              <a:off x="7610756" y="5392988"/>
              <a:ext cx="370502" cy="370502"/>
              <a:chOff x="3551571" y="1283110"/>
              <a:chExt cx="589936" cy="589936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D3CE3EB1-1D71-0E67-CD1B-9CFDEA0825C9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Freeform 280">
                <a:extLst>
                  <a:ext uri="{FF2B5EF4-FFF2-40B4-BE49-F238E27FC236}">
                    <a16:creationId xmlns:a16="http://schemas.microsoft.com/office/drawing/2014/main" id="{C42CFD82-36CD-3B1E-B3FA-BA3EEA40F9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B86E662-87EB-BD51-D63B-ECC4C1461A52}"/>
                </a:ext>
              </a:extLst>
            </p:cNvPr>
            <p:cNvGrpSpPr/>
            <p:nvPr/>
          </p:nvGrpSpPr>
          <p:grpSpPr>
            <a:xfrm>
              <a:off x="4255770" y="5392988"/>
              <a:ext cx="370502" cy="370502"/>
              <a:chOff x="7577881" y="1283110"/>
              <a:chExt cx="589936" cy="589936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6217A130-608B-C458-1DF6-BD02BE030AE9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Freeform 281">
                <a:extLst>
                  <a:ext uri="{FF2B5EF4-FFF2-40B4-BE49-F238E27FC236}">
                    <a16:creationId xmlns:a16="http://schemas.microsoft.com/office/drawing/2014/main" id="{5858CE33-64D1-242E-1168-604B4E98BB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1C113A4-C860-67B5-9F00-3B02F1339691}"/>
                </a:ext>
              </a:extLst>
            </p:cNvPr>
            <p:cNvSpPr/>
            <p:nvPr/>
          </p:nvSpPr>
          <p:spPr>
            <a:xfrm>
              <a:off x="8543257" y="1258786"/>
              <a:ext cx="928468" cy="215444"/>
            </a:xfrm>
            <a:prstGeom prst="rect">
              <a:avLst/>
            </a:prstGeom>
            <a:noFill/>
            <a:ln w="127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  <a:latin typeface="+mn-lt"/>
                </a:rPr>
                <a:t>Heading 5</a:t>
              </a:r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810C285-304C-4D3E-370E-275FCA8EF08E}"/>
                </a:ext>
              </a:extLst>
            </p:cNvPr>
            <p:cNvGrpSpPr/>
            <p:nvPr/>
          </p:nvGrpSpPr>
          <p:grpSpPr>
            <a:xfrm>
              <a:off x="8822240" y="1698595"/>
              <a:ext cx="370502" cy="370502"/>
              <a:chOff x="7577881" y="1283110"/>
              <a:chExt cx="589936" cy="589936"/>
            </a:xfrm>
          </p:grpSpPr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C7B2B8C1-C7A4-B205-1194-98CDDF2BF29B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Freeform 281">
                <a:extLst>
                  <a:ext uri="{FF2B5EF4-FFF2-40B4-BE49-F238E27FC236}">
                    <a16:creationId xmlns:a16="http://schemas.microsoft.com/office/drawing/2014/main" id="{87AC6CEB-8DF3-F31F-81B4-9B0D4F8DDA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450EFEC1-53B2-589B-2141-8DA4DDEEFD0D}"/>
                </a:ext>
              </a:extLst>
            </p:cNvPr>
            <p:cNvGrpSpPr/>
            <p:nvPr/>
          </p:nvGrpSpPr>
          <p:grpSpPr>
            <a:xfrm>
              <a:off x="8822240" y="2437474"/>
              <a:ext cx="370502" cy="370502"/>
              <a:chOff x="7577881" y="1283110"/>
              <a:chExt cx="589936" cy="589936"/>
            </a:xfrm>
          </p:grpSpPr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7B968E92-5626-C63C-A068-6A491543C0D3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Freeform 281">
                <a:extLst>
                  <a:ext uri="{FF2B5EF4-FFF2-40B4-BE49-F238E27FC236}">
                    <a16:creationId xmlns:a16="http://schemas.microsoft.com/office/drawing/2014/main" id="{4CEC5BE1-D061-B5DF-759B-2981C62AF9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2297D7DF-F43F-32DB-90C1-67F419D591E1}"/>
                </a:ext>
              </a:extLst>
            </p:cNvPr>
            <p:cNvGrpSpPr/>
            <p:nvPr/>
          </p:nvGrpSpPr>
          <p:grpSpPr>
            <a:xfrm>
              <a:off x="8822240" y="3176353"/>
              <a:ext cx="370502" cy="370502"/>
              <a:chOff x="3551571" y="1283110"/>
              <a:chExt cx="589936" cy="589936"/>
            </a:xfrm>
          </p:grpSpPr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FC8296B6-CD15-9C41-FE7C-B7B832BB3021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Freeform 280">
                <a:extLst>
                  <a:ext uri="{FF2B5EF4-FFF2-40B4-BE49-F238E27FC236}">
                    <a16:creationId xmlns:a16="http://schemas.microsoft.com/office/drawing/2014/main" id="{F59F5171-7FF5-CE0D-9663-0741E78FE5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40770F1B-DB06-56F4-F207-915D5B8E7828}"/>
                </a:ext>
              </a:extLst>
            </p:cNvPr>
            <p:cNvGrpSpPr/>
            <p:nvPr/>
          </p:nvGrpSpPr>
          <p:grpSpPr>
            <a:xfrm>
              <a:off x="8822240" y="3915232"/>
              <a:ext cx="370502" cy="370502"/>
              <a:chOff x="7577881" y="1283110"/>
              <a:chExt cx="589936" cy="589936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D5CB708D-A0A5-1B8B-847E-025CB2029C37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9" name="Freeform 281">
                <a:extLst>
                  <a:ext uri="{FF2B5EF4-FFF2-40B4-BE49-F238E27FC236}">
                    <a16:creationId xmlns:a16="http://schemas.microsoft.com/office/drawing/2014/main" id="{FE21707F-DC4A-6317-E59F-FFE191A4C7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D5C75D20-8ACF-C8C8-1E5B-00AC91E517A1}"/>
                </a:ext>
              </a:extLst>
            </p:cNvPr>
            <p:cNvGrpSpPr/>
            <p:nvPr/>
          </p:nvGrpSpPr>
          <p:grpSpPr>
            <a:xfrm>
              <a:off x="8822240" y="4654111"/>
              <a:ext cx="370502" cy="370502"/>
              <a:chOff x="7577881" y="1283110"/>
              <a:chExt cx="589936" cy="589936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D86E860A-416E-10FB-19D5-9BD6706C19D1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7" name="Freeform 281">
                <a:extLst>
                  <a:ext uri="{FF2B5EF4-FFF2-40B4-BE49-F238E27FC236}">
                    <a16:creationId xmlns:a16="http://schemas.microsoft.com/office/drawing/2014/main" id="{22202FCE-320F-742C-B572-F111335CFC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CA1FA585-7F95-707F-A7E5-C26E405F70AB}"/>
                </a:ext>
              </a:extLst>
            </p:cNvPr>
            <p:cNvGrpSpPr/>
            <p:nvPr/>
          </p:nvGrpSpPr>
          <p:grpSpPr>
            <a:xfrm>
              <a:off x="8822240" y="5392988"/>
              <a:ext cx="370502" cy="370502"/>
              <a:chOff x="7577881" y="1283110"/>
              <a:chExt cx="589936" cy="589936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9FFF6277-02B6-0246-2041-86B9178BB150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Freeform 281">
                <a:extLst>
                  <a:ext uri="{FF2B5EF4-FFF2-40B4-BE49-F238E27FC236}">
                    <a16:creationId xmlns:a16="http://schemas.microsoft.com/office/drawing/2014/main" id="{1B6E808C-2668-2D73-ED2F-809C16CA0D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1C9E5309-B687-6B84-FC8D-71F2DEA96D01}"/>
                </a:ext>
              </a:extLst>
            </p:cNvPr>
            <p:cNvGrpSpPr/>
            <p:nvPr/>
          </p:nvGrpSpPr>
          <p:grpSpPr>
            <a:xfrm>
              <a:off x="9661586" y="1258786"/>
              <a:ext cx="928468" cy="4504704"/>
              <a:chOff x="6213445" y="1258786"/>
              <a:chExt cx="928468" cy="4504704"/>
            </a:xfrm>
          </p:grpSpPr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D0F8CC41-E1DF-D9F0-F9E9-7D02A85B5595}"/>
                  </a:ext>
                </a:extLst>
              </p:cNvPr>
              <p:cNvSpPr/>
              <p:nvPr/>
            </p:nvSpPr>
            <p:spPr>
              <a:xfrm>
                <a:off x="6213445" y="1258786"/>
                <a:ext cx="928468" cy="215444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accent1"/>
                    </a:solidFill>
                    <a:latin typeface="+mn-lt"/>
                  </a:rPr>
                  <a:t>Heading 6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7AB4FC34-945C-B6FA-94F6-CE40FDF5A879}"/>
                  </a:ext>
                </a:extLst>
              </p:cNvPr>
              <p:cNvGrpSpPr/>
              <p:nvPr/>
            </p:nvGrpSpPr>
            <p:grpSpPr>
              <a:xfrm>
                <a:off x="6492428" y="1698595"/>
                <a:ext cx="370502" cy="370502"/>
                <a:chOff x="7577881" y="1283110"/>
                <a:chExt cx="589936" cy="589936"/>
              </a:xfrm>
            </p:grpSpPr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C53B8277-2530-79E8-C0E9-050B27D0A613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3" name="Freeform 281">
                  <a:extLst>
                    <a:ext uri="{FF2B5EF4-FFF2-40B4-BE49-F238E27FC236}">
                      <a16:creationId xmlns:a16="http://schemas.microsoft.com/office/drawing/2014/main" id="{E5F5A468-3B79-EF7E-39EC-32A9206F6BE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49B24CBB-5F9F-9E21-5DA1-45AD6EF4BA95}"/>
                  </a:ext>
                </a:extLst>
              </p:cNvPr>
              <p:cNvGrpSpPr/>
              <p:nvPr/>
            </p:nvGrpSpPr>
            <p:grpSpPr>
              <a:xfrm>
                <a:off x="6492428" y="2437474"/>
                <a:ext cx="370502" cy="370502"/>
                <a:chOff x="7577881" y="1283110"/>
                <a:chExt cx="589936" cy="589936"/>
              </a:xfrm>
            </p:grpSpPr>
            <p:sp>
              <p:nvSpPr>
                <p:cNvPr id="120" name="Oval 119">
                  <a:extLst>
                    <a:ext uri="{FF2B5EF4-FFF2-40B4-BE49-F238E27FC236}">
                      <a16:creationId xmlns:a16="http://schemas.microsoft.com/office/drawing/2014/main" id="{EAD7576C-EEE9-9823-B6FD-2D3478CC9EF9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1" name="Freeform 281">
                  <a:extLst>
                    <a:ext uri="{FF2B5EF4-FFF2-40B4-BE49-F238E27FC236}">
                      <a16:creationId xmlns:a16="http://schemas.microsoft.com/office/drawing/2014/main" id="{96791465-3122-451E-7EE5-3E42BD6DDD9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430CA6AE-2B3F-A7C4-AE33-ACE2A10A86C8}"/>
                  </a:ext>
                </a:extLst>
              </p:cNvPr>
              <p:cNvGrpSpPr/>
              <p:nvPr/>
            </p:nvGrpSpPr>
            <p:grpSpPr>
              <a:xfrm>
                <a:off x="6492428" y="3176353"/>
                <a:ext cx="370502" cy="370502"/>
                <a:chOff x="3551571" y="1283110"/>
                <a:chExt cx="589936" cy="589936"/>
              </a:xfrm>
            </p:grpSpPr>
            <p:sp>
              <p:nvSpPr>
                <p:cNvPr id="118" name="Oval 117">
                  <a:extLst>
                    <a:ext uri="{FF2B5EF4-FFF2-40B4-BE49-F238E27FC236}">
                      <a16:creationId xmlns:a16="http://schemas.microsoft.com/office/drawing/2014/main" id="{48202EBE-61C3-67E4-6AF2-8F6D26B7715F}"/>
                    </a:ext>
                  </a:extLst>
                </p:cNvPr>
                <p:cNvSpPr/>
                <p:nvPr/>
              </p:nvSpPr>
              <p:spPr>
                <a:xfrm>
                  <a:off x="3551571" y="1283110"/>
                  <a:ext cx="589936" cy="589936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9" name="Freeform 280">
                  <a:extLst>
                    <a:ext uri="{FF2B5EF4-FFF2-40B4-BE49-F238E27FC236}">
                      <a16:creationId xmlns:a16="http://schemas.microsoft.com/office/drawing/2014/main" id="{D0A53578-5D7B-CBAC-C823-E602C666DF8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45782" y="1380088"/>
                  <a:ext cx="401514" cy="395981"/>
                </a:xfrm>
                <a:custGeom>
                  <a:avLst/>
                  <a:gdLst>
                    <a:gd name="T0" fmla="*/ 0 w 648"/>
                    <a:gd name="T1" fmla="*/ 131 h 618"/>
                    <a:gd name="T2" fmla="*/ 33 w 648"/>
                    <a:gd name="T3" fmla="*/ 112 h 618"/>
                    <a:gd name="T4" fmla="*/ 46 w 648"/>
                    <a:gd name="T5" fmla="*/ 119 h 618"/>
                    <a:gd name="T6" fmla="*/ 70 w 648"/>
                    <a:gd name="T7" fmla="*/ 158 h 618"/>
                    <a:gd name="T8" fmla="*/ 106 w 648"/>
                    <a:gd name="T9" fmla="*/ 110 h 618"/>
                    <a:gd name="T10" fmla="*/ 165 w 648"/>
                    <a:gd name="T11" fmla="*/ 52 h 618"/>
                    <a:gd name="T12" fmla="*/ 203 w 648"/>
                    <a:gd name="T13" fmla="*/ 21 h 618"/>
                    <a:gd name="T14" fmla="*/ 240 w 648"/>
                    <a:gd name="T15" fmla="*/ 0 h 618"/>
                    <a:gd name="T16" fmla="*/ 246 w 648"/>
                    <a:gd name="T17" fmla="*/ 9 h 618"/>
                    <a:gd name="T18" fmla="*/ 215 w 648"/>
                    <a:gd name="T19" fmla="*/ 34 h 618"/>
                    <a:gd name="T20" fmla="*/ 170 w 648"/>
                    <a:gd name="T21" fmla="*/ 80 h 618"/>
                    <a:gd name="T22" fmla="*/ 131 w 648"/>
                    <a:gd name="T23" fmla="*/ 126 h 618"/>
                    <a:gd name="T24" fmla="*/ 89 w 648"/>
                    <a:gd name="T25" fmla="*/ 194 h 618"/>
                    <a:gd name="T26" fmla="*/ 55 w 648"/>
                    <a:gd name="T27" fmla="*/ 216 h 618"/>
                    <a:gd name="T28" fmla="*/ 31 w 648"/>
                    <a:gd name="T29" fmla="*/ 163 h 618"/>
                    <a:gd name="T30" fmla="*/ 16 w 648"/>
                    <a:gd name="T31" fmla="*/ 141 h 618"/>
                    <a:gd name="T32" fmla="*/ 0 w 648"/>
                    <a:gd name="T33" fmla="*/ 131 h 6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EF335FFC-FCEE-284D-6CA1-2FA86E65C8B3}"/>
                  </a:ext>
                </a:extLst>
              </p:cNvPr>
              <p:cNvGrpSpPr/>
              <p:nvPr/>
            </p:nvGrpSpPr>
            <p:grpSpPr>
              <a:xfrm>
                <a:off x="6492428" y="3915232"/>
                <a:ext cx="370502" cy="370502"/>
                <a:chOff x="7577881" y="1283110"/>
                <a:chExt cx="589936" cy="589936"/>
              </a:xfrm>
            </p:grpSpPr>
            <p:sp>
              <p:nvSpPr>
                <p:cNvPr id="116" name="Oval 115">
                  <a:extLst>
                    <a:ext uri="{FF2B5EF4-FFF2-40B4-BE49-F238E27FC236}">
                      <a16:creationId xmlns:a16="http://schemas.microsoft.com/office/drawing/2014/main" id="{8CB24EAC-E5CB-9388-C29D-D3CC82B797DB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7" name="Freeform 281">
                  <a:extLst>
                    <a:ext uri="{FF2B5EF4-FFF2-40B4-BE49-F238E27FC236}">
                      <a16:creationId xmlns:a16="http://schemas.microsoft.com/office/drawing/2014/main" id="{8A9F2A25-05BA-F21F-4AF1-20C813F487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5D0F01B4-AF7F-3EFF-DD01-E6EBAD1F71D7}"/>
                  </a:ext>
                </a:extLst>
              </p:cNvPr>
              <p:cNvGrpSpPr/>
              <p:nvPr/>
            </p:nvGrpSpPr>
            <p:grpSpPr>
              <a:xfrm>
                <a:off x="6492428" y="4654111"/>
                <a:ext cx="370502" cy="370502"/>
                <a:chOff x="7577881" y="1283110"/>
                <a:chExt cx="589936" cy="589936"/>
              </a:xfrm>
            </p:grpSpPr>
            <p:sp>
              <p:nvSpPr>
                <p:cNvPr id="114" name="Oval 113">
                  <a:extLst>
                    <a:ext uri="{FF2B5EF4-FFF2-40B4-BE49-F238E27FC236}">
                      <a16:creationId xmlns:a16="http://schemas.microsoft.com/office/drawing/2014/main" id="{9BAD8328-4138-F8F8-FB95-95A4B13E25E8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5" name="Freeform 281">
                  <a:extLst>
                    <a:ext uri="{FF2B5EF4-FFF2-40B4-BE49-F238E27FC236}">
                      <a16:creationId xmlns:a16="http://schemas.microsoft.com/office/drawing/2014/main" id="{30B3D59C-6268-42C6-20EF-2CAC4C6B213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A02D448C-FAA1-D3B4-5A41-5AF76728900D}"/>
                  </a:ext>
                </a:extLst>
              </p:cNvPr>
              <p:cNvGrpSpPr/>
              <p:nvPr/>
            </p:nvGrpSpPr>
            <p:grpSpPr>
              <a:xfrm>
                <a:off x="6492428" y="5392988"/>
                <a:ext cx="370502" cy="370502"/>
                <a:chOff x="7577881" y="1283110"/>
                <a:chExt cx="589936" cy="589936"/>
              </a:xfrm>
            </p:grpSpPr>
            <p:sp>
              <p:nvSpPr>
                <p:cNvPr id="112" name="Oval 111">
                  <a:extLst>
                    <a:ext uri="{FF2B5EF4-FFF2-40B4-BE49-F238E27FC236}">
                      <a16:creationId xmlns:a16="http://schemas.microsoft.com/office/drawing/2014/main" id="{2340A3B1-E241-5DC0-56D4-5D1A43C21190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3" name="Freeform 281">
                  <a:extLst>
                    <a:ext uri="{FF2B5EF4-FFF2-40B4-BE49-F238E27FC236}">
                      <a16:creationId xmlns:a16="http://schemas.microsoft.com/office/drawing/2014/main" id="{95C4B03C-F397-791C-003D-820C790A881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0054332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91587C-C7B8-B40D-4355-57C2B9C86E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236F354-89CA-23B2-B2AE-ECED5B6322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36F354-89CA-23B2-B2AE-ECED5B6322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8BF2A7-F0E1-3FD0-63CB-59820407D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7605EF2-4281-26F7-391A-DA78BD09F126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B254DBA5-E976-FD38-F2F1-E0B75922AB23}"/>
              </a:ext>
            </a:extLst>
          </p:cNvPr>
          <p:cNvSpPr txBox="1">
            <a:spLocks/>
          </p:cNvSpPr>
          <p:nvPr/>
        </p:nvSpPr>
        <p:spPr>
          <a:xfrm>
            <a:off x="884694" y="1447558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D0F91F3-863A-8CE1-80B0-C0FF3F7B0000}"/>
              </a:ext>
            </a:extLst>
          </p:cNvPr>
          <p:cNvSpPr txBox="1">
            <a:spLocks/>
          </p:cNvSpPr>
          <p:nvPr/>
        </p:nvSpPr>
        <p:spPr>
          <a:xfrm>
            <a:off x="884694" y="2417600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5099166-8BCB-78E2-230C-C1F01C0E8859}"/>
              </a:ext>
            </a:extLst>
          </p:cNvPr>
          <p:cNvSpPr txBox="1">
            <a:spLocks/>
          </p:cNvSpPr>
          <p:nvPr/>
        </p:nvSpPr>
        <p:spPr>
          <a:xfrm>
            <a:off x="884694" y="3387641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4C2C973-7E29-EBEA-1F81-B12B05A54E0E}"/>
              </a:ext>
            </a:extLst>
          </p:cNvPr>
          <p:cNvSpPr txBox="1">
            <a:spLocks/>
          </p:cNvSpPr>
          <p:nvPr/>
        </p:nvSpPr>
        <p:spPr>
          <a:xfrm>
            <a:off x="884694" y="4357683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30EA4D-95E6-0DB6-3BAB-B57C62FC84B7}"/>
              </a:ext>
            </a:extLst>
          </p:cNvPr>
          <p:cNvSpPr txBox="1">
            <a:spLocks/>
          </p:cNvSpPr>
          <p:nvPr/>
        </p:nvSpPr>
        <p:spPr>
          <a:xfrm>
            <a:off x="884694" y="5327722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grpSp>
        <p:nvGrpSpPr>
          <p:cNvPr id="10" name="Group 17">
            <a:extLst>
              <a:ext uri="{FF2B5EF4-FFF2-40B4-BE49-F238E27FC236}">
                <a16:creationId xmlns:a16="http://schemas.microsoft.com/office/drawing/2014/main" id="{152CCB99-3428-02A5-68FB-2ADED36F47CF}"/>
              </a:ext>
            </a:extLst>
          </p:cNvPr>
          <p:cNvGrpSpPr/>
          <p:nvPr/>
        </p:nvGrpSpPr>
        <p:grpSpPr>
          <a:xfrm>
            <a:off x="4529657" y="980757"/>
            <a:ext cx="2089958" cy="301806"/>
            <a:chOff x="3062515" y="1537636"/>
            <a:chExt cx="1188000" cy="247343"/>
          </a:xfrm>
        </p:grpSpPr>
        <p:sp>
          <p:nvSpPr>
            <p:cNvPr id="36" name="Subtitle 2">
              <a:extLst>
                <a:ext uri="{FF2B5EF4-FFF2-40B4-BE49-F238E27FC236}">
                  <a16:creationId xmlns:a16="http://schemas.microsoft.com/office/drawing/2014/main" id="{8BE80E1A-C048-13BA-E4CC-CCC1896EC892}"/>
                </a:ext>
              </a:extLst>
            </p:cNvPr>
            <p:cNvSpPr txBox="1">
              <a:spLocks/>
            </p:cNvSpPr>
            <p:nvPr/>
          </p:nvSpPr>
          <p:spPr>
            <a:xfrm>
              <a:off x="3062515" y="1537636"/>
              <a:ext cx="1187449" cy="20178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ea typeface="Tahoma" pitchFamily="34" charset="0"/>
                  <a:cs typeface="Tahoma" pitchFamily="34" charset="0"/>
                </a:rPr>
                <a:t>Past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C7EB8918-C52F-8BBD-131D-07A90D89A1FA}"/>
                </a:ext>
              </a:extLst>
            </p:cNvPr>
            <p:cNvCxnSpPr/>
            <p:nvPr/>
          </p:nvCxnSpPr>
          <p:spPr>
            <a:xfrm>
              <a:off x="3062515" y="1784979"/>
              <a:ext cx="11880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8">
            <a:extLst>
              <a:ext uri="{FF2B5EF4-FFF2-40B4-BE49-F238E27FC236}">
                <a16:creationId xmlns:a16="http://schemas.microsoft.com/office/drawing/2014/main" id="{337209F4-150C-5FB4-1DD6-A771C57FF961}"/>
              </a:ext>
            </a:extLst>
          </p:cNvPr>
          <p:cNvGrpSpPr/>
          <p:nvPr/>
        </p:nvGrpSpPr>
        <p:grpSpPr>
          <a:xfrm>
            <a:off x="6873018" y="980757"/>
            <a:ext cx="2089958" cy="301806"/>
            <a:chOff x="4394557" y="1537636"/>
            <a:chExt cx="1188000" cy="247343"/>
          </a:xfrm>
        </p:grpSpPr>
        <p:sp>
          <p:nvSpPr>
            <p:cNvPr id="34" name="Subtitle 2">
              <a:extLst>
                <a:ext uri="{FF2B5EF4-FFF2-40B4-BE49-F238E27FC236}">
                  <a16:creationId xmlns:a16="http://schemas.microsoft.com/office/drawing/2014/main" id="{E7FB4317-48F4-A6B0-9210-4426BFEE05D5}"/>
                </a:ext>
              </a:extLst>
            </p:cNvPr>
            <p:cNvSpPr txBox="1">
              <a:spLocks/>
            </p:cNvSpPr>
            <p:nvPr/>
          </p:nvSpPr>
          <p:spPr>
            <a:xfrm>
              <a:off x="4395108" y="1537636"/>
              <a:ext cx="1187449" cy="20178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ea typeface="Tahoma" pitchFamily="34" charset="0"/>
                  <a:cs typeface="Tahoma" pitchFamily="34" charset="0"/>
                </a:rPr>
                <a:t>Present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D836233-B072-1066-295A-CEA952AA1983}"/>
                </a:ext>
              </a:extLst>
            </p:cNvPr>
            <p:cNvCxnSpPr/>
            <p:nvPr/>
          </p:nvCxnSpPr>
          <p:spPr>
            <a:xfrm>
              <a:off x="4394557" y="1784979"/>
              <a:ext cx="11880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9">
            <a:extLst>
              <a:ext uri="{FF2B5EF4-FFF2-40B4-BE49-F238E27FC236}">
                <a16:creationId xmlns:a16="http://schemas.microsoft.com/office/drawing/2014/main" id="{984C286F-9922-3600-09C7-FA845A65DA55}"/>
              </a:ext>
            </a:extLst>
          </p:cNvPr>
          <p:cNvGrpSpPr/>
          <p:nvPr/>
        </p:nvGrpSpPr>
        <p:grpSpPr>
          <a:xfrm>
            <a:off x="9217348" y="980757"/>
            <a:ext cx="2089958" cy="301806"/>
            <a:chOff x="5727150" y="1537636"/>
            <a:chExt cx="1188000" cy="247343"/>
          </a:xfrm>
        </p:grpSpPr>
        <p:sp>
          <p:nvSpPr>
            <p:cNvPr id="32" name="Subtitle 2">
              <a:extLst>
                <a:ext uri="{FF2B5EF4-FFF2-40B4-BE49-F238E27FC236}">
                  <a16:creationId xmlns:a16="http://schemas.microsoft.com/office/drawing/2014/main" id="{CE01F941-7B3F-4B02-8DD7-3CD9FAFA5F55}"/>
                </a:ext>
              </a:extLst>
            </p:cNvPr>
            <p:cNvSpPr txBox="1">
              <a:spLocks/>
            </p:cNvSpPr>
            <p:nvPr/>
          </p:nvSpPr>
          <p:spPr>
            <a:xfrm>
              <a:off x="5727701" y="1537636"/>
              <a:ext cx="1187449" cy="20178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ea typeface="Tahoma" pitchFamily="34" charset="0"/>
                  <a:cs typeface="Tahoma" pitchFamily="34" charset="0"/>
                </a:rPr>
                <a:t>Future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6BB992B9-B736-E3A8-5499-467A41FA095A}"/>
                </a:ext>
              </a:extLst>
            </p:cNvPr>
            <p:cNvCxnSpPr/>
            <p:nvPr/>
          </p:nvCxnSpPr>
          <p:spPr>
            <a:xfrm>
              <a:off x="5727150" y="1784979"/>
              <a:ext cx="11880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11C1451-5BBC-4EEE-8EA5-12B01EC98288}"/>
              </a:ext>
            </a:extLst>
          </p:cNvPr>
          <p:cNvCxnSpPr/>
          <p:nvPr/>
        </p:nvCxnSpPr>
        <p:spPr>
          <a:xfrm>
            <a:off x="4529657" y="2299938"/>
            <a:ext cx="67765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EDABC7-B491-4E79-8FA0-7EE9DB6B2043}"/>
              </a:ext>
            </a:extLst>
          </p:cNvPr>
          <p:cNvCxnSpPr/>
          <p:nvPr/>
        </p:nvCxnSpPr>
        <p:spPr>
          <a:xfrm>
            <a:off x="4529657" y="3269979"/>
            <a:ext cx="67765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D9FE2E0-336E-7AD1-4C9A-C518CE16DD10}"/>
              </a:ext>
            </a:extLst>
          </p:cNvPr>
          <p:cNvCxnSpPr/>
          <p:nvPr/>
        </p:nvCxnSpPr>
        <p:spPr>
          <a:xfrm>
            <a:off x="4529657" y="4240021"/>
            <a:ext cx="67765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A7D8C7E-DB7A-229C-2E5C-FD380DE22E3C}"/>
              </a:ext>
            </a:extLst>
          </p:cNvPr>
          <p:cNvCxnSpPr/>
          <p:nvPr/>
        </p:nvCxnSpPr>
        <p:spPr>
          <a:xfrm>
            <a:off x="4529657" y="5210063"/>
            <a:ext cx="67765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7F339F47-D32E-00B9-4937-E57231BAA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20724" y="1708470"/>
            <a:ext cx="307824" cy="212893"/>
          </a:xfrm>
          <a:prstGeom prst="rect">
            <a:avLst/>
          </a:prstGeom>
          <a:noFill/>
        </p:spPr>
      </p:pic>
      <p:pic>
        <p:nvPicPr>
          <p:cNvPr id="18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969C0836-E7FF-BD46-4304-A148D6217A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4084" y="1708470"/>
            <a:ext cx="307824" cy="212893"/>
          </a:xfrm>
          <a:prstGeom prst="rect">
            <a:avLst/>
          </a:prstGeom>
          <a:noFill/>
        </p:spPr>
      </p:pic>
      <p:pic>
        <p:nvPicPr>
          <p:cNvPr id="19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CF96EB8F-E88D-CBC4-C3A8-DB18AED717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4084" y="2678512"/>
            <a:ext cx="307824" cy="212893"/>
          </a:xfrm>
          <a:prstGeom prst="rect">
            <a:avLst/>
          </a:prstGeom>
          <a:noFill/>
        </p:spPr>
      </p:pic>
      <p:pic>
        <p:nvPicPr>
          <p:cNvPr id="20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CDD2BAF5-3C5E-A6FB-3B85-8C9E92164B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108414" y="2678512"/>
            <a:ext cx="307824" cy="212893"/>
          </a:xfrm>
          <a:prstGeom prst="rect">
            <a:avLst/>
          </a:prstGeom>
          <a:noFill/>
        </p:spPr>
      </p:pic>
      <p:pic>
        <p:nvPicPr>
          <p:cNvPr id="21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C365B852-251B-D47D-0BA8-25A794C7E6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108414" y="3648554"/>
            <a:ext cx="307824" cy="212893"/>
          </a:xfrm>
          <a:prstGeom prst="rect">
            <a:avLst/>
          </a:prstGeom>
          <a:noFill/>
        </p:spPr>
      </p:pic>
      <p:pic>
        <p:nvPicPr>
          <p:cNvPr id="22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1A3D2BB4-A690-6A1D-0E17-9CCABE5599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108414" y="4618595"/>
            <a:ext cx="307824" cy="212893"/>
          </a:xfrm>
          <a:prstGeom prst="rect">
            <a:avLst/>
          </a:prstGeom>
          <a:noFill/>
        </p:spPr>
      </p:pic>
      <p:pic>
        <p:nvPicPr>
          <p:cNvPr id="23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A1F57A42-976E-4DDA-F4CD-EB21D22F6A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4084" y="4618595"/>
            <a:ext cx="307824" cy="212893"/>
          </a:xfrm>
          <a:prstGeom prst="rect">
            <a:avLst/>
          </a:prstGeom>
          <a:noFill/>
        </p:spPr>
      </p:pic>
      <p:pic>
        <p:nvPicPr>
          <p:cNvPr id="24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7901324B-64F7-2CD3-F48B-068C87954D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20724" y="4618595"/>
            <a:ext cx="307824" cy="212893"/>
          </a:xfrm>
          <a:prstGeom prst="rect">
            <a:avLst/>
          </a:prstGeom>
          <a:noFill/>
        </p:spPr>
      </p:pic>
      <p:pic>
        <p:nvPicPr>
          <p:cNvPr id="25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000971BD-FE80-9D15-DE4D-227D92949C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20724" y="5588634"/>
            <a:ext cx="307824" cy="212893"/>
          </a:xfrm>
          <a:prstGeom prst="rect">
            <a:avLst/>
          </a:prstGeom>
          <a:noFill/>
        </p:spPr>
      </p:pic>
      <p:pic>
        <p:nvPicPr>
          <p:cNvPr id="26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8C1C6258-155E-3E3D-55F5-87BAD0C76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51948" y="2699862"/>
            <a:ext cx="245377" cy="170193"/>
          </a:xfrm>
          <a:prstGeom prst="rect">
            <a:avLst/>
          </a:prstGeom>
          <a:noFill/>
        </p:spPr>
      </p:pic>
      <p:pic>
        <p:nvPicPr>
          <p:cNvPr id="27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2C103691-71FD-233C-6AC8-151FAE5C7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51948" y="3669904"/>
            <a:ext cx="245377" cy="170193"/>
          </a:xfrm>
          <a:prstGeom prst="rect">
            <a:avLst/>
          </a:prstGeom>
          <a:noFill/>
        </p:spPr>
      </p:pic>
      <p:pic>
        <p:nvPicPr>
          <p:cNvPr id="28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3F8FD846-BBB4-14C0-181A-46838F45E1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795308" y="3669904"/>
            <a:ext cx="245377" cy="170193"/>
          </a:xfrm>
          <a:prstGeom prst="rect">
            <a:avLst/>
          </a:prstGeom>
          <a:noFill/>
        </p:spPr>
      </p:pic>
      <p:pic>
        <p:nvPicPr>
          <p:cNvPr id="29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0C8A7247-FB34-6D7A-4FD1-9D429E0DC4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795308" y="5609985"/>
            <a:ext cx="245377" cy="170193"/>
          </a:xfrm>
          <a:prstGeom prst="rect">
            <a:avLst/>
          </a:prstGeom>
          <a:noFill/>
        </p:spPr>
      </p:pic>
      <p:pic>
        <p:nvPicPr>
          <p:cNvPr id="30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62A26AA0-5790-0E91-E756-839AEB707A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139638" y="5609985"/>
            <a:ext cx="245377" cy="170193"/>
          </a:xfrm>
          <a:prstGeom prst="rect">
            <a:avLst/>
          </a:prstGeom>
          <a:noFill/>
        </p:spPr>
      </p:pic>
      <p:pic>
        <p:nvPicPr>
          <p:cNvPr id="31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A03F3965-E78F-C137-DD03-7FCD47AF61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139638" y="1729821"/>
            <a:ext cx="245377" cy="1701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030881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2E74A3-19B4-BD3E-C5C2-54C34A256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09A0717-829E-B0EC-4D90-4767B8D06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9A0717-829E-B0EC-4D90-4767B8D06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AB56AF4-057E-83A5-0027-378DD512962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FDED7CA-9F05-2299-4E15-88909CBB4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DA2223A-C607-7A1E-C58E-7921B884F1D5}"/>
              </a:ext>
            </a:extLst>
          </p:cNvPr>
          <p:cNvGrpSpPr/>
          <p:nvPr/>
        </p:nvGrpSpPr>
        <p:grpSpPr>
          <a:xfrm>
            <a:off x="839683" y="1066799"/>
            <a:ext cx="10667999" cy="4998333"/>
            <a:chOff x="839683" y="1066800"/>
            <a:chExt cx="10667999" cy="4362026"/>
          </a:xfrm>
        </p:grpSpPr>
        <p:sp>
          <p:nvSpPr>
            <p:cNvPr id="2" name="Shape0_20220721_110914">
              <a:extLst>
                <a:ext uri="{FF2B5EF4-FFF2-40B4-BE49-F238E27FC236}">
                  <a16:creationId xmlns:a16="http://schemas.microsoft.com/office/drawing/2014/main" id="{39FDFF03-6618-093C-04DD-D4DA6721F7AB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" name="Google Shape;3712;p66">
              <a:extLst>
                <a:ext uri="{FF2B5EF4-FFF2-40B4-BE49-F238E27FC236}">
                  <a16:creationId xmlns:a16="http://schemas.microsoft.com/office/drawing/2014/main" id="{BD8B6675-7A27-D5AF-D6AE-D1BB78242AFB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8;p66">
              <a:extLst>
                <a:ext uri="{FF2B5EF4-FFF2-40B4-BE49-F238E27FC236}">
                  <a16:creationId xmlns:a16="http://schemas.microsoft.com/office/drawing/2014/main" id="{0D3A749D-F861-08AE-CA4C-3FF7F41D4C01}"/>
                </a:ext>
              </a:extLst>
            </p:cNvPr>
            <p:cNvSpPr txBox="1"/>
            <p:nvPr/>
          </p:nvSpPr>
          <p:spPr>
            <a:xfrm>
              <a:off x="1030584" y="383370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9;p66">
              <a:extLst>
                <a:ext uri="{FF2B5EF4-FFF2-40B4-BE49-F238E27FC236}">
                  <a16:creationId xmlns:a16="http://schemas.microsoft.com/office/drawing/2014/main" id="{27F58C85-7CFF-5988-C060-41E9835A7433}"/>
                </a:ext>
              </a:extLst>
            </p:cNvPr>
            <p:cNvSpPr txBox="1"/>
            <p:nvPr/>
          </p:nvSpPr>
          <p:spPr>
            <a:xfrm>
              <a:off x="1030584" y="4193902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20;p66">
              <a:extLst>
                <a:ext uri="{FF2B5EF4-FFF2-40B4-BE49-F238E27FC236}">
                  <a16:creationId xmlns:a16="http://schemas.microsoft.com/office/drawing/2014/main" id="{7D330DD4-FA9D-BCB3-77C1-624E7054EC89}"/>
                </a:ext>
              </a:extLst>
            </p:cNvPr>
            <p:cNvSpPr txBox="1"/>
            <p:nvPr/>
          </p:nvSpPr>
          <p:spPr>
            <a:xfrm>
              <a:off x="1030584" y="455409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13;p66">
              <a:extLst>
                <a:ext uri="{FF2B5EF4-FFF2-40B4-BE49-F238E27FC236}">
                  <a16:creationId xmlns:a16="http://schemas.microsoft.com/office/drawing/2014/main" id="{1A6C0A9C-1784-DE82-9DC9-5CBA705AD779}"/>
                </a:ext>
              </a:extLst>
            </p:cNvPr>
            <p:cNvSpPr txBox="1"/>
            <p:nvPr/>
          </p:nvSpPr>
          <p:spPr>
            <a:xfrm>
              <a:off x="1030584" y="203272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4;p66">
              <a:extLst>
                <a:ext uri="{FF2B5EF4-FFF2-40B4-BE49-F238E27FC236}">
                  <a16:creationId xmlns:a16="http://schemas.microsoft.com/office/drawing/2014/main" id="{FBF53B67-D46E-2CBC-6819-F0D02300E4B4}"/>
                </a:ext>
              </a:extLst>
            </p:cNvPr>
            <p:cNvSpPr txBox="1"/>
            <p:nvPr/>
          </p:nvSpPr>
          <p:spPr>
            <a:xfrm>
              <a:off x="1030584" y="239292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5;p66">
              <a:extLst>
                <a:ext uri="{FF2B5EF4-FFF2-40B4-BE49-F238E27FC236}">
                  <a16:creationId xmlns:a16="http://schemas.microsoft.com/office/drawing/2014/main" id="{64DF71B3-4DCF-8EE7-CFE6-059B7A0133EB}"/>
                </a:ext>
              </a:extLst>
            </p:cNvPr>
            <p:cNvSpPr txBox="1"/>
            <p:nvPr/>
          </p:nvSpPr>
          <p:spPr>
            <a:xfrm>
              <a:off x="1030584" y="2753118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6;p66">
              <a:extLst>
                <a:ext uri="{FF2B5EF4-FFF2-40B4-BE49-F238E27FC236}">
                  <a16:creationId xmlns:a16="http://schemas.microsoft.com/office/drawing/2014/main" id="{4D46A073-A973-09DD-5D2F-6B4B77274F38}"/>
                </a:ext>
              </a:extLst>
            </p:cNvPr>
            <p:cNvSpPr txBox="1"/>
            <p:nvPr/>
          </p:nvSpPr>
          <p:spPr>
            <a:xfrm>
              <a:off x="1030584" y="311331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7A61DCF6-3F9C-6BEB-9B44-EDDFBBB60B67}"/>
                </a:ext>
              </a:extLst>
            </p:cNvPr>
            <p:cNvSpPr txBox="1"/>
            <p:nvPr/>
          </p:nvSpPr>
          <p:spPr>
            <a:xfrm>
              <a:off x="1030584" y="3473509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72B8D36A-4684-758D-54A3-A97CCC50C2CA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C3841AED-F75E-F5E2-E1AB-79D1F6805CD9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32D3E8AB-676B-60C0-F6DC-C5E88ED78D06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CAF8E72D-7294-3D0B-91F9-E36F86C9B99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53D6D5F7-0D13-AB09-76D2-43B57E34FD31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98E622FE-BE7E-FBD9-A8C9-D3F73425B3D0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6EE7F6BD-0487-212E-D66A-6F0E912629D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4A9EF1B7-7DA2-3234-3FBA-B61A60E1C9D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3_20220721_110914">
              <a:extLst>
                <a:ext uri="{FF2B5EF4-FFF2-40B4-BE49-F238E27FC236}">
                  <a16:creationId xmlns:a16="http://schemas.microsoft.com/office/drawing/2014/main" id="{670013BE-AFDD-93C4-C5BB-806B4EB3A955}"/>
                </a:ext>
              </a:extLst>
            </p:cNvPr>
            <p:cNvSpPr/>
            <p:nvPr/>
          </p:nvSpPr>
          <p:spPr>
            <a:xfrm>
              <a:off x="9335358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1_20220721_110914">
              <a:extLst>
                <a:ext uri="{FF2B5EF4-FFF2-40B4-BE49-F238E27FC236}">
                  <a16:creationId xmlns:a16="http://schemas.microsoft.com/office/drawing/2014/main" id="{1085EC71-DDF1-2318-3739-AF626D89E611}"/>
                </a:ext>
              </a:extLst>
            </p:cNvPr>
            <p:cNvSpPr/>
            <p:nvPr/>
          </p:nvSpPr>
          <p:spPr>
            <a:xfrm>
              <a:off x="4947101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C74DF7A4-E79A-9655-AFFD-5A54B5D14CB2}"/>
                </a:ext>
              </a:extLst>
            </p:cNvPr>
            <p:cNvSpPr/>
            <p:nvPr/>
          </p:nvSpPr>
          <p:spPr>
            <a:xfrm>
              <a:off x="5044169" y="1123919"/>
              <a:ext cx="1998539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BABFC1B3-A918-E569-B60A-E21908903DF6}"/>
                </a:ext>
              </a:extLst>
            </p:cNvPr>
            <p:cNvSpPr/>
            <p:nvPr/>
          </p:nvSpPr>
          <p:spPr>
            <a:xfrm>
              <a:off x="5053251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109EA72D-F96E-8BA1-AC50-209014B98C6D}"/>
                </a:ext>
              </a:extLst>
            </p:cNvPr>
            <p:cNvSpPr txBox="1"/>
            <p:nvPr/>
          </p:nvSpPr>
          <p:spPr>
            <a:xfrm>
              <a:off x="5271050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91D51684-4255-C399-B95E-6E5054A61832}"/>
                </a:ext>
              </a:extLst>
            </p:cNvPr>
            <p:cNvSpPr txBox="1"/>
            <p:nvPr/>
          </p:nvSpPr>
          <p:spPr>
            <a:xfrm>
              <a:off x="5384634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0929_150446">
              <a:extLst>
                <a:ext uri="{FF2B5EF4-FFF2-40B4-BE49-F238E27FC236}">
                  <a16:creationId xmlns:a16="http://schemas.microsoft.com/office/drawing/2014/main" id="{155DC01B-D7D4-06B2-493B-DC5E41D835B1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0929_150446">
              <a:extLst>
                <a:ext uri="{FF2B5EF4-FFF2-40B4-BE49-F238E27FC236}">
                  <a16:creationId xmlns:a16="http://schemas.microsoft.com/office/drawing/2014/main" id="{2219040C-EF6B-DE9A-8BFC-6F0F54A32B6A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0929_150446">
              <a:extLst>
                <a:ext uri="{FF2B5EF4-FFF2-40B4-BE49-F238E27FC236}">
                  <a16:creationId xmlns:a16="http://schemas.microsoft.com/office/drawing/2014/main" id="{427EEFF3-FC7E-98AE-270E-C76D429F41CA}"/>
                </a:ext>
              </a:extLst>
            </p:cNvPr>
            <p:cNvSpPr/>
            <p:nvPr/>
          </p:nvSpPr>
          <p:spPr>
            <a:xfrm>
              <a:off x="5994710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446">
              <a:extLst>
                <a:ext uri="{FF2B5EF4-FFF2-40B4-BE49-F238E27FC236}">
                  <a16:creationId xmlns:a16="http://schemas.microsoft.com/office/drawing/2014/main" id="{3C18F25A-FC14-9886-615A-D2CBECA4ADB4}"/>
                </a:ext>
              </a:extLst>
            </p:cNvPr>
            <p:cNvSpPr/>
            <p:nvPr/>
          </p:nvSpPr>
          <p:spPr>
            <a:xfrm>
              <a:off x="5994710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446">
              <a:extLst>
                <a:ext uri="{FF2B5EF4-FFF2-40B4-BE49-F238E27FC236}">
                  <a16:creationId xmlns:a16="http://schemas.microsoft.com/office/drawing/2014/main" id="{1AC2DF67-76F9-E48C-41C4-830FA602303D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0929_150446">
              <a:extLst>
                <a:ext uri="{FF2B5EF4-FFF2-40B4-BE49-F238E27FC236}">
                  <a16:creationId xmlns:a16="http://schemas.microsoft.com/office/drawing/2014/main" id="{6408CB5B-A6AF-0C31-0093-D1BECFEB82E5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2_20220721_110914">
              <a:extLst>
                <a:ext uri="{FF2B5EF4-FFF2-40B4-BE49-F238E27FC236}">
                  <a16:creationId xmlns:a16="http://schemas.microsoft.com/office/drawing/2014/main" id="{1D87F85C-44B3-EA5F-FC7E-0557D2E63E75}"/>
                </a:ext>
              </a:extLst>
            </p:cNvPr>
            <p:cNvSpPr/>
            <p:nvPr/>
          </p:nvSpPr>
          <p:spPr>
            <a:xfrm>
              <a:off x="7141230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326AADC2-2ECA-875E-8231-C616B35E390E}"/>
                </a:ext>
              </a:extLst>
            </p:cNvPr>
            <p:cNvSpPr/>
            <p:nvPr/>
          </p:nvSpPr>
          <p:spPr>
            <a:xfrm>
              <a:off x="7254937" y="1123919"/>
              <a:ext cx="1955092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4CD2D56D-A77F-8747-31C2-8C2A72CE30D2}"/>
                </a:ext>
              </a:extLst>
            </p:cNvPr>
            <p:cNvSpPr/>
            <p:nvPr/>
          </p:nvSpPr>
          <p:spPr>
            <a:xfrm>
              <a:off x="7237750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2F246740-07E1-7CC2-306B-3A96AB92D77C}"/>
                </a:ext>
              </a:extLst>
            </p:cNvPr>
            <p:cNvSpPr txBox="1"/>
            <p:nvPr/>
          </p:nvSpPr>
          <p:spPr>
            <a:xfrm>
              <a:off x="7460093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13494C82-4949-CC92-B7DA-859AF6AD9FD9}"/>
                </a:ext>
              </a:extLst>
            </p:cNvPr>
            <p:cNvSpPr txBox="1"/>
            <p:nvPr/>
          </p:nvSpPr>
          <p:spPr>
            <a:xfrm>
              <a:off x="7573679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0929_150341">
              <a:extLst>
                <a:ext uri="{FF2B5EF4-FFF2-40B4-BE49-F238E27FC236}">
                  <a16:creationId xmlns:a16="http://schemas.microsoft.com/office/drawing/2014/main" id="{D8CDD800-1313-36E5-942F-4583F329BED6}"/>
                </a:ext>
              </a:extLst>
            </p:cNvPr>
            <p:cNvSpPr/>
            <p:nvPr/>
          </p:nvSpPr>
          <p:spPr>
            <a:xfrm>
              <a:off x="8140529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446">
              <a:extLst>
                <a:ext uri="{FF2B5EF4-FFF2-40B4-BE49-F238E27FC236}">
                  <a16:creationId xmlns:a16="http://schemas.microsoft.com/office/drawing/2014/main" id="{E8217790-A88F-B2F1-9875-401BD5B64728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446">
              <a:extLst>
                <a:ext uri="{FF2B5EF4-FFF2-40B4-BE49-F238E27FC236}">
                  <a16:creationId xmlns:a16="http://schemas.microsoft.com/office/drawing/2014/main" id="{FB93D612-74E7-BC20-BB01-125D3AF565D9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446">
              <a:extLst>
                <a:ext uri="{FF2B5EF4-FFF2-40B4-BE49-F238E27FC236}">
                  <a16:creationId xmlns:a16="http://schemas.microsoft.com/office/drawing/2014/main" id="{33362877-8DB6-5425-BFDD-C37F6E85108E}"/>
                </a:ext>
              </a:extLst>
            </p:cNvPr>
            <p:cNvSpPr/>
            <p:nvPr/>
          </p:nvSpPr>
          <p:spPr>
            <a:xfrm>
              <a:off x="8179212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0929_150446">
              <a:extLst>
                <a:ext uri="{FF2B5EF4-FFF2-40B4-BE49-F238E27FC236}">
                  <a16:creationId xmlns:a16="http://schemas.microsoft.com/office/drawing/2014/main" id="{7D99A459-E07B-C886-AAAE-8AB2A1A3BF7A}"/>
                </a:ext>
              </a:extLst>
            </p:cNvPr>
            <p:cNvSpPr/>
            <p:nvPr/>
          </p:nvSpPr>
          <p:spPr>
            <a:xfrm>
              <a:off x="8179212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3A44B63A-C629-1D31-D9A3-A34D3EDB94D6}"/>
                </a:ext>
              </a:extLst>
            </p:cNvPr>
            <p:cNvSpPr/>
            <p:nvPr/>
          </p:nvSpPr>
          <p:spPr>
            <a:xfrm>
              <a:off x="9422253" y="1123919"/>
              <a:ext cx="1998539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332F8061-DAF5-B863-266A-9070D7325F64}"/>
                </a:ext>
              </a:extLst>
            </p:cNvPr>
            <p:cNvSpPr/>
            <p:nvPr/>
          </p:nvSpPr>
          <p:spPr>
            <a:xfrm>
              <a:off x="9422253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F49C5778-C0FC-A263-0DD5-A27228F2E9C2}"/>
                </a:ext>
              </a:extLst>
            </p:cNvPr>
            <p:cNvSpPr txBox="1"/>
            <p:nvPr/>
          </p:nvSpPr>
          <p:spPr>
            <a:xfrm>
              <a:off x="9649136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1346DCBB-FE34-1592-6B19-F91054165257}"/>
                </a:ext>
              </a:extLst>
            </p:cNvPr>
            <p:cNvSpPr txBox="1"/>
            <p:nvPr/>
          </p:nvSpPr>
          <p:spPr>
            <a:xfrm>
              <a:off x="9762720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0929_150341">
              <a:extLst>
                <a:ext uri="{FF2B5EF4-FFF2-40B4-BE49-F238E27FC236}">
                  <a16:creationId xmlns:a16="http://schemas.microsoft.com/office/drawing/2014/main" id="{AA1F71D8-E096-F2D8-21A6-CEE9059CD724}"/>
                </a:ext>
              </a:extLst>
            </p:cNvPr>
            <p:cNvSpPr/>
            <p:nvPr/>
          </p:nvSpPr>
          <p:spPr>
            <a:xfrm>
              <a:off x="10325032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0929_150341">
              <a:extLst>
                <a:ext uri="{FF2B5EF4-FFF2-40B4-BE49-F238E27FC236}">
                  <a16:creationId xmlns:a16="http://schemas.microsoft.com/office/drawing/2014/main" id="{A1DDF56C-8080-CB95-267C-59C2C7EA499C}"/>
                </a:ext>
              </a:extLst>
            </p:cNvPr>
            <p:cNvSpPr/>
            <p:nvPr/>
          </p:nvSpPr>
          <p:spPr>
            <a:xfrm>
              <a:off x="10325032" y="420936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0929_150341">
              <a:extLst>
                <a:ext uri="{FF2B5EF4-FFF2-40B4-BE49-F238E27FC236}">
                  <a16:creationId xmlns:a16="http://schemas.microsoft.com/office/drawing/2014/main" id="{11588B86-A74F-712A-1228-995659B99AD8}"/>
                </a:ext>
              </a:extLst>
            </p:cNvPr>
            <p:cNvSpPr/>
            <p:nvPr/>
          </p:nvSpPr>
          <p:spPr>
            <a:xfrm>
              <a:off x="10325032" y="4598745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5_20220929_150341">
              <a:extLst>
                <a:ext uri="{FF2B5EF4-FFF2-40B4-BE49-F238E27FC236}">
                  <a16:creationId xmlns:a16="http://schemas.microsoft.com/office/drawing/2014/main" id="{7FF201D2-1E8D-8A94-93FE-69F8B031EBCA}"/>
                </a:ext>
              </a:extLst>
            </p:cNvPr>
            <p:cNvSpPr/>
            <p:nvPr/>
          </p:nvSpPr>
          <p:spPr>
            <a:xfrm>
              <a:off x="59560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929_150341">
              <a:extLst>
                <a:ext uri="{FF2B5EF4-FFF2-40B4-BE49-F238E27FC236}">
                  <a16:creationId xmlns:a16="http://schemas.microsoft.com/office/drawing/2014/main" id="{594788C8-FA2D-B95A-7773-96AE343FCA0D}"/>
                </a:ext>
              </a:extLst>
            </p:cNvPr>
            <p:cNvSpPr/>
            <p:nvPr/>
          </p:nvSpPr>
          <p:spPr>
            <a:xfrm>
              <a:off x="81405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6_20220929_150341">
              <a:extLst>
                <a:ext uri="{FF2B5EF4-FFF2-40B4-BE49-F238E27FC236}">
                  <a16:creationId xmlns:a16="http://schemas.microsoft.com/office/drawing/2014/main" id="{548725A6-5AA7-B8BF-2C83-796C1C302F22}"/>
                </a:ext>
              </a:extLst>
            </p:cNvPr>
            <p:cNvSpPr/>
            <p:nvPr/>
          </p:nvSpPr>
          <p:spPr>
            <a:xfrm>
              <a:off x="10325032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4" name="Shape7_20220929_150341">
              <a:extLst>
                <a:ext uri="{FF2B5EF4-FFF2-40B4-BE49-F238E27FC236}">
                  <a16:creationId xmlns:a16="http://schemas.microsoft.com/office/drawing/2014/main" id="{33845FC4-5AA5-88AF-C875-5A29CAF3C8FA}"/>
                </a:ext>
              </a:extLst>
            </p:cNvPr>
            <p:cNvSpPr/>
            <p:nvPr/>
          </p:nvSpPr>
          <p:spPr>
            <a:xfrm>
              <a:off x="59560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Shape8_20220929_150341">
              <a:extLst>
                <a:ext uri="{FF2B5EF4-FFF2-40B4-BE49-F238E27FC236}">
                  <a16:creationId xmlns:a16="http://schemas.microsoft.com/office/drawing/2014/main" id="{6D5BC4DB-45D6-F2FD-3749-DEEF4AE2C4BB}"/>
                </a:ext>
              </a:extLst>
            </p:cNvPr>
            <p:cNvSpPr/>
            <p:nvPr/>
          </p:nvSpPr>
          <p:spPr>
            <a:xfrm>
              <a:off x="81405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9_20220929_150341">
              <a:extLst>
                <a:ext uri="{FF2B5EF4-FFF2-40B4-BE49-F238E27FC236}">
                  <a16:creationId xmlns:a16="http://schemas.microsoft.com/office/drawing/2014/main" id="{E6BFA3E4-5D5B-DA25-5D64-132306EEF0E0}"/>
                </a:ext>
              </a:extLst>
            </p:cNvPr>
            <p:cNvSpPr/>
            <p:nvPr/>
          </p:nvSpPr>
          <p:spPr>
            <a:xfrm>
              <a:off x="10325032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3490D30D-4DF2-C821-55FC-121E810B2A5A}"/>
                </a:ext>
              </a:extLst>
            </p:cNvPr>
            <p:cNvGrpSpPr/>
            <p:nvPr/>
          </p:nvGrpSpPr>
          <p:grpSpPr>
            <a:xfrm>
              <a:off x="5994710" y="2802347"/>
              <a:ext cx="115617" cy="99071"/>
              <a:chOff x="5914609" y="3274525"/>
              <a:chExt cx="122060" cy="104023"/>
            </a:xfrm>
          </p:grpSpPr>
          <p:sp>
            <p:nvSpPr>
              <p:cNvPr id="59" name="Google Shape;3752;p66">
                <a:extLst>
                  <a:ext uri="{FF2B5EF4-FFF2-40B4-BE49-F238E27FC236}">
                    <a16:creationId xmlns:a16="http://schemas.microsoft.com/office/drawing/2014/main" id="{2636FF83-3931-1F10-6D65-9E597BACC031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0" name="Google Shape;3753;p66">
                <a:extLst>
                  <a:ext uri="{FF2B5EF4-FFF2-40B4-BE49-F238E27FC236}">
                    <a16:creationId xmlns:a16="http://schemas.microsoft.com/office/drawing/2014/main" id="{D5E8125A-8F06-BF3E-7A14-77884362996D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1" name="Shape10_20220929_150341">
              <a:extLst>
                <a:ext uri="{FF2B5EF4-FFF2-40B4-BE49-F238E27FC236}">
                  <a16:creationId xmlns:a16="http://schemas.microsoft.com/office/drawing/2014/main" id="{B5493CFC-2273-AD87-D540-500373FF2E31}"/>
                </a:ext>
              </a:extLst>
            </p:cNvPr>
            <p:cNvSpPr/>
            <p:nvPr/>
          </p:nvSpPr>
          <p:spPr>
            <a:xfrm>
              <a:off x="8140529" y="279776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1_20220929_150341">
              <a:extLst>
                <a:ext uri="{FF2B5EF4-FFF2-40B4-BE49-F238E27FC236}">
                  <a16:creationId xmlns:a16="http://schemas.microsoft.com/office/drawing/2014/main" id="{66112923-9638-8B53-8A9C-598BC1F6E6B3}"/>
                </a:ext>
              </a:extLst>
            </p:cNvPr>
            <p:cNvSpPr/>
            <p:nvPr/>
          </p:nvSpPr>
          <p:spPr>
            <a:xfrm>
              <a:off x="10325032" y="2782901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9B0D3FD-6AED-FA16-EC72-C9073D2F8807}"/>
                </a:ext>
              </a:extLst>
            </p:cNvPr>
            <p:cNvGrpSpPr/>
            <p:nvPr/>
          </p:nvGrpSpPr>
          <p:grpSpPr>
            <a:xfrm>
              <a:off x="5994710" y="3162543"/>
              <a:ext cx="115617" cy="99071"/>
              <a:chOff x="5914609" y="3652727"/>
              <a:chExt cx="122060" cy="104023"/>
            </a:xfrm>
          </p:grpSpPr>
          <p:sp>
            <p:nvSpPr>
              <p:cNvPr id="64" name="Google Shape;3749;p66">
                <a:extLst>
                  <a:ext uri="{FF2B5EF4-FFF2-40B4-BE49-F238E27FC236}">
                    <a16:creationId xmlns:a16="http://schemas.microsoft.com/office/drawing/2014/main" id="{C707F69C-B20A-B979-E5E8-959829FB05FD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5" name="Google Shape;3750;p66">
                <a:extLst>
                  <a:ext uri="{FF2B5EF4-FFF2-40B4-BE49-F238E27FC236}">
                    <a16:creationId xmlns:a16="http://schemas.microsoft.com/office/drawing/2014/main" id="{590D5880-A970-3A5A-5700-643782F3CB7E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6" name="Shape12_20220929_150341">
              <a:extLst>
                <a:ext uri="{FF2B5EF4-FFF2-40B4-BE49-F238E27FC236}">
                  <a16:creationId xmlns:a16="http://schemas.microsoft.com/office/drawing/2014/main" id="{EF6B2EDD-20A6-2365-2155-C086C766451D}"/>
                </a:ext>
              </a:extLst>
            </p:cNvPr>
            <p:cNvSpPr/>
            <p:nvPr/>
          </p:nvSpPr>
          <p:spPr>
            <a:xfrm>
              <a:off x="8140529" y="3157963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13_20220929_150341">
              <a:extLst>
                <a:ext uri="{FF2B5EF4-FFF2-40B4-BE49-F238E27FC236}">
                  <a16:creationId xmlns:a16="http://schemas.microsoft.com/office/drawing/2014/main" id="{CB4FC17B-79FC-8CEE-85C5-82AB48151656}"/>
                </a:ext>
              </a:extLst>
            </p:cNvPr>
            <p:cNvSpPr/>
            <p:nvPr/>
          </p:nvSpPr>
          <p:spPr>
            <a:xfrm>
              <a:off x="10325032" y="313951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69504100-7DE2-5420-00B2-8B5370D9B15A}"/>
                </a:ext>
              </a:extLst>
            </p:cNvPr>
            <p:cNvGrpSpPr/>
            <p:nvPr/>
          </p:nvGrpSpPr>
          <p:grpSpPr>
            <a:xfrm>
              <a:off x="5994710" y="3522724"/>
              <a:ext cx="115617" cy="99071"/>
              <a:chOff x="5914609" y="4030911"/>
              <a:chExt cx="122060" cy="104023"/>
            </a:xfrm>
          </p:grpSpPr>
          <p:sp>
            <p:nvSpPr>
              <p:cNvPr id="69" name="Google Shape;3746;p66">
                <a:extLst>
                  <a:ext uri="{FF2B5EF4-FFF2-40B4-BE49-F238E27FC236}">
                    <a16:creationId xmlns:a16="http://schemas.microsoft.com/office/drawing/2014/main" id="{149935A6-96A9-F5CF-7BEA-17BF64BD4736}"/>
                  </a:ext>
                </a:extLst>
              </p:cNvPr>
              <p:cNvSpPr/>
              <p:nvPr/>
            </p:nvSpPr>
            <p:spPr>
              <a:xfrm>
                <a:off x="5914609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0" name="Google Shape;3747;p66">
                <a:extLst>
                  <a:ext uri="{FF2B5EF4-FFF2-40B4-BE49-F238E27FC236}">
                    <a16:creationId xmlns:a16="http://schemas.microsoft.com/office/drawing/2014/main" id="{5718771A-F9E8-F38A-D71F-D815528B2ABB}"/>
                  </a:ext>
                </a:extLst>
              </p:cNvPr>
              <p:cNvSpPr/>
              <p:nvPr/>
            </p:nvSpPr>
            <p:spPr>
              <a:xfrm>
                <a:off x="5914609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671FDDBB-23EF-C4C0-086E-FD8E420EC1DB}"/>
                </a:ext>
              </a:extLst>
            </p:cNvPr>
            <p:cNvGrpSpPr/>
            <p:nvPr/>
          </p:nvGrpSpPr>
          <p:grpSpPr>
            <a:xfrm>
              <a:off x="8179212" y="3522724"/>
              <a:ext cx="115617" cy="99071"/>
              <a:chOff x="8220842" y="4030911"/>
              <a:chExt cx="122060" cy="104023"/>
            </a:xfrm>
          </p:grpSpPr>
          <p:sp>
            <p:nvSpPr>
              <p:cNvPr id="72" name="Google Shape;3780;p66">
                <a:extLst>
                  <a:ext uri="{FF2B5EF4-FFF2-40B4-BE49-F238E27FC236}">
                    <a16:creationId xmlns:a16="http://schemas.microsoft.com/office/drawing/2014/main" id="{0C8743D1-5BCB-06B7-4CBF-A3C911845794}"/>
                  </a:ext>
                </a:extLst>
              </p:cNvPr>
              <p:cNvSpPr/>
              <p:nvPr/>
            </p:nvSpPr>
            <p:spPr>
              <a:xfrm>
                <a:off x="8220842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3" name="Google Shape;3781;p66">
                <a:extLst>
                  <a:ext uri="{FF2B5EF4-FFF2-40B4-BE49-F238E27FC236}">
                    <a16:creationId xmlns:a16="http://schemas.microsoft.com/office/drawing/2014/main" id="{368C2802-31B7-1A75-6A36-8F25557D4644}"/>
                  </a:ext>
                </a:extLst>
              </p:cNvPr>
              <p:cNvSpPr/>
              <p:nvPr/>
            </p:nvSpPr>
            <p:spPr>
              <a:xfrm>
                <a:off x="8220842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74" name="Shape14_20220929_150341">
              <a:extLst>
                <a:ext uri="{FF2B5EF4-FFF2-40B4-BE49-F238E27FC236}">
                  <a16:creationId xmlns:a16="http://schemas.microsoft.com/office/drawing/2014/main" id="{BE650781-3909-95C7-63CE-887DEF866886}"/>
                </a:ext>
              </a:extLst>
            </p:cNvPr>
            <p:cNvSpPr/>
            <p:nvPr/>
          </p:nvSpPr>
          <p:spPr>
            <a:xfrm>
              <a:off x="10325032" y="349613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75" name="Google Shape;3754;p66">
              <a:extLst>
                <a:ext uri="{FF2B5EF4-FFF2-40B4-BE49-F238E27FC236}">
                  <a16:creationId xmlns:a16="http://schemas.microsoft.com/office/drawing/2014/main" id="{3F7D440D-5965-976E-CE47-F21DFF131411}"/>
                </a:ext>
              </a:extLst>
            </p:cNvPr>
            <p:cNvCxnSpPr>
              <a:cxnSpLocks/>
            </p:cNvCxnSpPr>
            <p:nvPr/>
          </p:nvCxnSpPr>
          <p:spPr>
            <a:xfrm>
              <a:off x="5092244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6" name="Google Shape;3782;p66">
              <a:extLst>
                <a:ext uri="{FF2B5EF4-FFF2-40B4-BE49-F238E27FC236}">
                  <a16:creationId xmlns:a16="http://schemas.microsoft.com/office/drawing/2014/main" id="{3A542E14-07A5-4B53-5367-37278CD6CC35}"/>
                </a:ext>
              </a:extLst>
            </p:cNvPr>
            <p:cNvCxnSpPr>
              <a:cxnSpLocks/>
            </p:cNvCxnSpPr>
            <p:nvPr/>
          </p:nvCxnSpPr>
          <p:spPr>
            <a:xfrm>
              <a:off x="7276746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7" name="Google Shape;3804;p66">
              <a:extLst>
                <a:ext uri="{FF2B5EF4-FFF2-40B4-BE49-F238E27FC236}">
                  <a16:creationId xmlns:a16="http://schemas.microsoft.com/office/drawing/2014/main" id="{6F503BC8-A3B8-1478-2978-A43F321A2952}"/>
                </a:ext>
              </a:extLst>
            </p:cNvPr>
            <p:cNvCxnSpPr>
              <a:cxnSpLocks/>
            </p:cNvCxnSpPr>
            <p:nvPr/>
          </p:nvCxnSpPr>
          <p:spPr>
            <a:xfrm>
              <a:off x="9461247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8" name="Google Shape;3755;p66">
              <a:extLst>
                <a:ext uri="{FF2B5EF4-FFF2-40B4-BE49-F238E27FC236}">
                  <a16:creationId xmlns:a16="http://schemas.microsoft.com/office/drawing/2014/main" id="{B8760BF9-D4BE-8A0D-7EBF-703AEC2EAD4D}"/>
                </a:ext>
              </a:extLst>
            </p:cNvPr>
            <p:cNvCxnSpPr/>
            <p:nvPr/>
          </p:nvCxnSpPr>
          <p:spPr>
            <a:xfrm>
              <a:off x="5092244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9" name="Google Shape;3783;p66">
              <a:extLst>
                <a:ext uri="{FF2B5EF4-FFF2-40B4-BE49-F238E27FC236}">
                  <a16:creationId xmlns:a16="http://schemas.microsoft.com/office/drawing/2014/main" id="{4D126E69-245C-E5E8-6E74-AB8C2CD41101}"/>
                </a:ext>
              </a:extLst>
            </p:cNvPr>
            <p:cNvCxnSpPr/>
            <p:nvPr/>
          </p:nvCxnSpPr>
          <p:spPr>
            <a:xfrm>
              <a:off x="7276746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0" name="Google Shape;3805;p66">
              <a:extLst>
                <a:ext uri="{FF2B5EF4-FFF2-40B4-BE49-F238E27FC236}">
                  <a16:creationId xmlns:a16="http://schemas.microsoft.com/office/drawing/2014/main" id="{55622025-6B64-03BB-089D-5879FFAAF820}"/>
                </a:ext>
              </a:extLst>
            </p:cNvPr>
            <p:cNvCxnSpPr/>
            <p:nvPr/>
          </p:nvCxnSpPr>
          <p:spPr>
            <a:xfrm>
              <a:off x="9461247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1" name="Google Shape;3756;p66">
              <a:extLst>
                <a:ext uri="{FF2B5EF4-FFF2-40B4-BE49-F238E27FC236}">
                  <a16:creationId xmlns:a16="http://schemas.microsoft.com/office/drawing/2014/main" id="{1CFA28A7-E033-DC22-B277-5CEDD71C7E9C}"/>
                </a:ext>
              </a:extLst>
            </p:cNvPr>
            <p:cNvCxnSpPr/>
            <p:nvPr/>
          </p:nvCxnSpPr>
          <p:spPr>
            <a:xfrm>
              <a:off x="5092244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2" name="Google Shape;3784;p66">
              <a:extLst>
                <a:ext uri="{FF2B5EF4-FFF2-40B4-BE49-F238E27FC236}">
                  <a16:creationId xmlns:a16="http://schemas.microsoft.com/office/drawing/2014/main" id="{03925140-2E60-020F-EAFB-EEF297CE96DF}"/>
                </a:ext>
              </a:extLst>
            </p:cNvPr>
            <p:cNvCxnSpPr/>
            <p:nvPr/>
          </p:nvCxnSpPr>
          <p:spPr>
            <a:xfrm>
              <a:off x="7276746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3" name="Google Shape;3806;p66">
              <a:extLst>
                <a:ext uri="{FF2B5EF4-FFF2-40B4-BE49-F238E27FC236}">
                  <a16:creationId xmlns:a16="http://schemas.microsoft.com/office/drawing/2014/main" id="{7BDCE730-73A3-7999-FAD7-FF5317A942B9}"/>
                </a:ext>
              </a:extLst>
            </p:cNvPr>
            <p:cNvCxnSpPr/>
            <p:nvPr/>
          </p:nvCxnSpPr>
          <p:spPr>
            <a:xfrm>
              <a:off x="9461247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4" name="Google Shape;3757;p66">
              <a:extLst>
                <a:ext uri="{FF2B5EF4-FFF2-40B4-BE49-F238E27FC236}">
                  <a16:creationId xmlns:a16="http://schemas.microsoft.com/office/drawing/2014/main" id="{4677BF9A-47A6-3002-6EA9-DDCCBB49125A}"/>
                </a:ext>
              </a:extLst>
            </p:cNvPr>
            <p:cNvCxnSpPr/>
            <p:nvPr/>
          </p:nvCxnSpPr>
          <p:spPr>
            <a:xfrm>
              <a:off x="5092244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5" name="Google Shape;3785;p66">
              <a:extLst>
                <a:ext uri="{FF2B5EF4-FFF2-40B4-BE49-F238E27FC236}">
                  <a16:creationId xmlns:a16="http://schemas.microsoft.com/office/drawing/2014/main" id="{047F9512-1FCE-AC1B-BC7A-220CF1ED8AC5}"/>
                </a:ext>
              </a:extLst>
            </p:cNvPr>
            <p:cNvCxnSpPr/>
            <p:nvPr/>
          </p:nvCxnSpPr>
          <p:spPr>
            <a:xfrm>
              <a:off x="7276746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6" name="Google Shape;3807;p66">
              <a:extLst>
                <a:ext uri="{FF2B5EF4-FFF2-40B4-BE49-F238E27FC236}">
                  <a16:creationId xmlns:a16="http://schemas.microsoft.com/office/drawing/2014/main" id="{7AF47DC4-0CA5-6753-1523-D47697D14504}"/>
                </a:ext>
              </a:extLst>
            </p:cNvPr>
            <p:cNvCxnSpPr/>
            <p:nvPr/>
          </p:nvCxnSpPr>
          <p:spPr>
            <a:xfrm>
              <a:off x="9461247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7" name="Google Shape;3758;p66">
              <a:extLst>
                <a:ext uri="{FF2B5EF4-FFF2-40B4-BE49-F238E27FC236}">
                  <a16:creationId xmlns:a16="http://schemas.microsoft.com/office/drawing/2014/main" id="{067ED448-304D-3FB5-E21C-C49072D67CFA}"/>
                </a:ext>
              </a:extLst>
            </p:cNvPr>
            <p:cNvCxnSpPr/>
            <p:nvPr/>
          </p:nvCxnSpPr>
          <p:spPr>
            <a:xfrm>
              <a:off x="5092244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8" name="Google Shape;3786;p66">
              <a:extLst>
                <a:ext uri="{FF2B5EF4-FFF2-40B4-BE49-F238E27FC236}">
                  <a16:creationId xmlns:a16="http://schemas.microsoft.com/office/drawing/2014/main" id="{92F25735-FBDC-5569-45EC-87F51695F434}"/>
                </a:ext>
              </a:extLst>
            </p:cNvPr>
            <p:cNvCxnSpPr/>
            <p:nvPr/>
          </p:nvCxnSpPr>
          <p:spPr>
            <a:xfrm>
              <a:off x="7276746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9" name="Google Shape;3808;p66">
              <a:extLst>
                <a:ext uri="{FF2B5EF4-FFF2-40B4-BE49-F238E27FC236}">
                  <a16:creationId xmlns:a16="http://schemas.microsoft.com/office/drawing/2014/main" id="{C96D7044-540F-05BB-65AB-2080A35B1075}"/>
                </a:ext>
              </a:extLst>
            </p:cNvPr>
            <p:cNvCxnSpPr/>
            <p:nvPr/>
          </p:nvCxnSpPr>
          <p:spPr>
            <a:xfrm>
              <a:off x="9461247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0" name="Google Shape;3759;p66">
              <a:extLst>
                <a:ext uri="{FF2B5EF4-FFF2-40B4-BE49-F238E27FC236}">
                  <a16:creationId xmlns:a16="http://schemas.microsoft.com/office/drawing/2014/main" id="{6D2481D5-4648-8645-77F3-3055A8EFB485}"/>
                </a:ext>
              </a:extLst>
            </p:cNvPr>
            <p:cNvCxnSpPr/>
            <p:nvPr/>
          </p:nvCxnSpPr>
          <p:spPr>
            <a:xfrm>
              <a:off x="5092244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1" name="Google Shape;3787;p66">
              <a:extLst>
                <a:ext uri="{FF2B5EF4-FFF2-40B4-BE49-F238E27FC236}">
                  <a16:creationId xmlns:a16="http://schemas.microsoft.com/office/drawing/2014/main" id="{A7A71EA3-1047-04C1-8E86-7422C109CEB5}"/>
                </a:ext>
              </a:extLst>
            </p:cNvPr>
            <p:cNvCxnSpPr/>
            <p:nvPr/>
          </p:nvCxnSpPr>
          <p:spPr>
            <a:xfrm>
              <a:off x="7276746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2" name="Google Shape;3809;p66">
              <a:extLst>
                <a:ext uri="{FF2B5EF4-FFF2-40B4-BE49-F238E27FC236}">
                  <a16:creationId xmlns:a16="http://schemas.microsoft.com/office/drawing/2014/main" id="{41D3D87D-AF79-C2C8-C53B-7A90ECFBA91A}"/>
                </a:ext>
              </a:extLst>
            </p:cNvPr>
            <p:cNvCxnSpPr/>
            <p:nvPr/>
          </p:nvCxnSpPr>
          <p:spPr>
            <a:xfrm>
              <a:off x="9461247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3" name="Google Shape;3760;p66">
              <a:extLst>
                <a:ext uri="{FF2B5EF4-FFF2-40B4-BE49-F238E27FC236}">
                  <a16:creationId xmlns:a16="http://schemas.microsoft.com/office/drawing/2014/main" id="{A84BCA37-AAE4-5F51-41B2-E364C30026BA}"/>
                </a:ext>
              </a:extLst>
            </p:cNvPr>
            <p:cNvCxnSpPr/>
            <p:nvPr/>
          </p:nvCxnSpPr>
          <p:spPr>
            <a:xfrm>
              <a:off x="5092244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4" name="Google Shape;3788;p66">
              <a:extLst>
                <a:ext uri="{FF2B5EF4-FFF2-40B4-BE49-F238E27FC236}">
                  <a16:creationId xmlns:a16="http://schemas.microsoft.com/office/drawing/2014/main" id="{C92A225C-3273-85D7-C278-C7B64DC559D9}"/>
                </a:ext>
              </a:extLst>
            </p:cNvPr>
            <p:cNvCxnSpPr/>
            <p:nvPr/>
          </p:nvCxnSpPr>
          <p:spPr>
            <a:xfrm>
              <a:off x="7276746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5" name="Google Shape;3810;p66">
              <a:extLst>
                <a:ext uri="{FF2B5EF4-FFF2-40B4-BE49-F238E27FC236}">
                  <a16:creationId xmlns:a16="http://schemas.microsoft.com/office/drawing/2014/main" id="{B54093FF-23E4-8B97-86F0-D846942D4636}"/>
                </a:ext>
              </a:extLst>
            </p:cNvPr>
            <p:cNvCxnSpPr/>
            <p:nvPr/>
          </p:nvCxnSpPr>
          <p:spPr>
            <a:xfrm>
              <a:off x="9461247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6" name="Google Shape;3761;p66">
              <a:extLst>
                <a:ext uri="{FF2B5EF4-FFF2-40B4-BE49-F238E27FC236}">
                  <a16:creationId xmlns:a16="http://schemas.microsoft.com/office/drawing/2014/main" id="{9BBCA0CB-F6A5-C6E4-AEF8-6B9323352F29}"/>
                </a:ext>
              </a:extLst>
            </p:cNvPr>
            <p:cNvCxnSpPr/>
            <p:nvPr/>
          </p:nvCxnSpPr>
          <p:spPr>
            <a:xfrm>
              <a:off x="5092244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7" name="Google Shape;3789;p66">
              <a:extLst>
                <a:ext uri="{FF2B5EF4-FFF2-40B4-BE49-F238E27FC236}">
                  <a16:creationId xmlns:a16="http://schemas.microsoft.com/office/drawing/2014/main" id="{5B44CA5D-23F5-6395-B0FB-CC480F52386E}"/>
                </a:ext>
              </a:extLst>
            </p:cNvPr>
            <p:cNvCxnSpPr/>
            <p:nvPr/>
          </p:nvCxnSpPr>
          <p:spPr>
            <a:xfrm>
              <a:off x="7276746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8" name="Google Shape;3811;p66">
              <a:extLst>
                <a:ext uri="{FF2B5EF4-FFF2-40B4-BE49-F238E27FC236}">
                  <a16:creationId xmlns:a16="http://schemas.microsoft.com/office/drawing/2014/main" id="{88A34111-CE0E-1B4B-28C4-F1267397DC2C}"/>
                </a:ext>
              </a:extLst>
            </p:cNvPr>
            <p:cNvCxnSpPr/>
            <p:nvPr/>
          </p:nvCxnSpPr>
          <p:spPr>
            <a:xfrm>
              <a:off x="9461247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16462451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D455BA-BE94-CE7F-940A-8376D81512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F25C47BB-1A49-D6FA-AE38-754152520C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5C47BB-1A49-D6FA-AE38-754152520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5F0759A-326A-FC4B-AB90-3F33E9E57B8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93839B6-ABB7-E640-E21D-1DBC5652D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26B2E0D-9CC0-E02D-B363-9990843D0332}"/>
              </a:ext>
            </a:extLst>
          </p:cNvPr>
          <p:cNvGrpSpPr/>
          <p:nvPr/>
        </p:nvGrpSpPr>
        <p:grpSpPr>
          <a:xfrm>
            <a:off x="839683" y="1066799"/>
            <a:ext cx="10668000" cy="4998333"/>
            <a:chOff x="839683" y="1066800"/>
            <a:chExt cx="10668000" cy="4362026"/>
          </a:xfrm>
        </p:grpSpPr>
        <p:sp>
          <p:nvSpPr>
            <p:cNvPr id="2" name="Shape0_20220721_110914">
              <a:extLst>
                <a:ext uri="{FF2B5EF4-FFF2-40B4-BE49-F238E27FC236}">
                  <a16:creationId xmlns:a16="http://schemas.microsoft.com/office/drawing/2014/main" id="{6F1B9198-57E8-A10F-5959-6B7D54C40C05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" name="Google Shape;3712;p66">
              <a:extLst>
                <a:ext uri="{FF2B5EF4-FFF2-40B4-BE49-F238E27FC236}">
                  <a16:creationId xmlns:a16="http://schemas.microsoft.com/office/drawing/2014/main" id="{833C6791-994A-8143-6F51-45431035B230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8;p66">
              <a:extLst>
                <a:ext uri="{FF2B5EF4-FFF2-40B4-BE49-F238E27FC236}">
                  <a16:creationId xmlns:a16="http://schemas.microsoft.com/office/drawing/2014/main" id="{2DA2D89E-F441-E850-A563-B5DCA1DDEE04}"/>
                </a:ext>
              </a:extLst>
            </p:cNvPr>
            <p:cNvSpPr txBox="1"/>
            <p:nvPr/>
          </p:nvSpPr>
          <p:spPr>
            <a:xfrm>
              <a:off x="1030584" y="383370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19;p66">
              <a:extLst>
                <a:ext uri="{FF2B5EF4-FFF2-40B4-BE49-F238E27FC236}">
                  <a16:creationId xmlns:a16="http://schemas.microsoft.com/office/drawing/2014/main" id="{36903CC1-1BE0-6AC6-1A16-91832D83B743}"/>
                </a:ext>
              </a:extLst>
            </p:cNvPr>
            <p:cNvSpPr txBox="1"/>
            <p:nvPr/>
          </p:nvSpPr>
          <p:spPr>
            <a:xfrm>
              <a:off x="1030584" y="4193902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20;p66">
              <a:extLst>
                <a:ext uri="{FF2B5EF4-FFF2-40B4-BE49-F238E27FC236}">
                  <a16:creationId xmlns:a16="http://schemas.microsoft.com/office/drawing/2014/main" id="{161BCE97-2A0C-BEF6-4988-59A2C88F97C7}"/>
                </a:ext>
              </a:extLst>
            </p:cNvPr>
            <p:cNvSpPr txBox="1"/>
            <p:nvPr/>
          </p:nvSpPr>
          <p:spPr>
            <a:xfrm>
              <a:off x="1030584" y="455409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3;p66">
              <a:extLst>
                <a:ext uri="{FF2B5EF4-FFF2-40B4-BE49-F238E27FC236}">
                  <a16:creationId xmlns:a16="http://schemas.microsoft.com/office/drawing/2014/main" id="{BB6A242D-3107-1CBD-8E2D-74E6EE1935C6}"/>
                </a:ext>
              </a:extLst>
            </p:cNvPr>
            <p:cNvSpPr txBox="1"/>
            <p:nvPr/>
          </p:nvSpPr>
          <p:spPr>
            <a:xfrm>
              <a:off x="1030584" y="203272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4;p66">
              <a:extLst>
                <a:ext uri="{FF2B5EF4-FFF2-40B4-BE49-F238E27FC236}">
                  <a16:creationId xmlns:a16="http://schemas.microsoft.com/office/drawing/2014/main" id="{0BC086D7-2D11-A6D2-B665-714FC7DBE38F}"/>
                </a:ext>
              </a:extLst>
            </p:cNvPr>
            <p:cNvSpPr txBox="1"/>
            <p:nvPr/>
          </p:nvSpPr>
          <p:spPr>
            <a:xfrm>
              <a:off x="1030584" y="239292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5;p66">
              <a:extLst>
                <a:ext uri="{FF2B5EF4-FFF2-40B4-BE49-F238E27FC236}">
                  <a16:creationId xmlns:a16="http://schemas.microsoft.com/office/drawing/2014/main" id="{B9CA6016-42F8-53CD-4C81-8F967D924738}"/>
                </a:ext>
              </a:extLst>
            </p:cNvPr>
            <p:cNvSpPr txBox="1"/>
            <p:nvPr/>
          </p:nvSpPr>
          <p:spPr>
            <a:xfrm>
              <a:off x="1030584" y="2753118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" name="Google Shape;3716;p66">
              <a:extLst>
                <a:ext uri="{FF2B5EF4-FFF2-40B4-BE49-F238E27FC236}">
                  <a16:creationId xmlns:a16="http://schemas.microsoft.com/office/drawing/2014/main" id="{3BCCAAAB-E73C-69C9-B1E7-08A6E9A77C5A}"/>
                </a:ext>
              </a:extLst>
            </p:cNvPr>
            <p:cNvSpPr txBox="1"/>
            <p:nvPr/>
          </p:nvSpPr>
          <p:spPr>
            <a:xfrm>
              <a:off x="1030584" y="311331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03D7A7B7-F877-D040-E366-975673B9A836}"/>
                </a:ext>
              </a:extLst>
            </p:cNvPr>
            <p:cNvSpPr txBox="1"/>
            <p:nvPr/>
          </p:nvSpPr>
          <p:spPr>
            <a:xfrm>
              <a:off x="1030584" y="3473509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94DE03FF-F0FD-964D-B849-6F69F191F3EA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ED72B6A6-37E7-D1BB-E1CE-E4470E89AB4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BF03E712-F62F-B679-A0B6-D34525BE0B88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17727D66-67B2-BB21-CCE6-2B3F1191387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6DCA5F53-27DE-8EBE-0776-5FE313483693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0BC52E37-96C8-5C79-8FCD-257F278A857E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F56738A8-A99F-9E55-936D-4E86CBF00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D01333C7-F3A8-1FD9-5A4F-3444BB7FE75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1_20220721_110914">
              <a:extLst>
                <a:ext uri="{FF2B5EF4-FFF2-40B4-BE49-F238E27FC236}">
                  <a16:creationId xmlns:a16="http://schemas.microsoft.com/office/drawing/2014/main" id="{8DE9FBE0-A2F4-3DFE-C730-9DD02B097DE1}"/>
                </a:ext>
              </a:extLst>
            </p:cNvPr>
            <p:cNvSpPr/>
            <p:nvPr/>
          </p:nvSpPr>
          <p:spPr>
            <a:xfrm>
              <a:off x="4947101" y="1066800"/>
              <a:ext cx="3263909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Google Shape;3730;p66">
              <a:extLst>
                <a:ext uri="{FF2B5EF4-FFF2-40B4-BE49-F238E27FC236}">
                  <a16:creationId xmlns:a16="http://schemas.microsoft.com/office/drawing/2014/main" id="{281E1F0C-1646-C29D-765C-E89A385DB0F5}"/>
                </a:ext>
              </a:extLst>
            </p:cNvPr>
            <p:cNvSpPr/>
            <p:nvPr/>
          </p:nvSpPr>
          <p:spPr>
            <a:xfrm>
              <a:off x="5092946" y="1123919"/>
              <a:ext cx="3002800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1;p66">
              <a:extLst>
                <a:ext uri="{FF2B5EF4-FFF2-40B4-BE49-F238E27FC236}">
                  <a16:creationId xmlns:a16="http://schemas.microsoft.com/office/drawing/2014/main" id="{2FB9E215-0CBC-002D-F62C-6C7102F89350}"/>
                </a:ext>
              </a:extLst>
            </p:cNvPr>
            <p:cNvSpPr/>
            <p:nvPr/>
          </p:nvSpPr>
          <p:spPr>
            <a:xfrm>
              <a:off x="5106591" y="4933092"/>
              <a:ext cx="3002800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5" name="Google Shape;3732;p66">
              <a:extLst>
                <a:ext uri="{FF2B5EF4-FFF2-40B4-BE49-F238E27FC236}">
                  <a16:creationId xmlns:a16="http://schemas.microsoft.com/office/drawing/2014/main" id="{B54D4BF2-ED90-3784-9F4F-D7E668C38E0F}"/>
                </a:ext>
              </a:extLst>
            </p:cNvPr>
            <p:cNvSpPr txBox="1"/>
            <p:nvPr/>
          </p:nvSpPr>
          <p:spPr>
            <a:xfrm>
              <a:off x="5433832" y="1210814"/>
              <a:ext cx="2321023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6" name="Google Shape;3733;p66">
              <a:extLst>
                <a:ext uri="{FF2B5EF4-FFF2-40B4-BE49-F238E27FC236}">
                  <a16:creationId xmlns:a16="http://schemas.microsoft.com/office/drawing/2014/main" id="{2AC9D266-0586-269F-F2E6-3B1EDE1809B5}"/>
                </a:ext>
              </a:extLst>
            </p:cNvPr>
            <p:cNvSpPr txBox="1"/>
            <p:nvPr/>
          </p:nvSpPr>
          <p:spPr>
            <a:xfrm>
              <a:off x="5604493" y="1548360"/>
              <a:ext cx="197970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Shape1_20220929_150613">
              <a:extLst>
                <a:ext uri="{FF2B5EF4-FFF2-40B4-BE49-F238E27FC236}">
                  <a16:creationId xmlns:a16="http://schemas.microsoft.com/office/drawing/2014/main" id="{9442BCB3-0EE2-83C9-5963-680AA5E4DF80}"/>
                </a:ext>
              </a:extLst>
            </p:cNvPr>
            <p:cNvSpPr/>
            <p:nvPr/>
          </p:nvSpPr>
          <p:spPr>
            <a:xfrm>
              <a:off x="6485570" y="4603324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2_20220929_150613">
              <a:extLst>
                <a:ext uri="{FF2B5EF4-FFF2-40B4-BE49-F238E27FC236}">
                  <a16:creationId xmlns:a16="http://schemas.microsoft.com/office/drawing/2014/main" id="{3F37C8EB-1C9D-B4EE-9FB4-1C0C65B65CBB}"/>
                </a:ext>
              </a:extLst>
            </p:cNvPr>
            <p:cNvSpPr/>
            <p:nvPr/>
          </p:nvSpPr>
          <p:spPr>
            <a:xfrm>
              <a:off x="6485570" y="4603324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3_20220929_150613">
              <a:extLst>
                <a:ext uri="{FF2B5EF4-FFF2-40B4-BE49-F238E27FC236}">
                  <a16:creationId xmlns:a16="http://schemas.microsoft.com/office/drawing/2014/main" id="{953CA1B2-2D75-78B3-6E66-A59F131F7B56}"/>
                </a:ext>
              </a:extLst>
            </p:cNvPr>
            <p:cNvSpPr/>
            <p:nvPr/>
          </p:nvSpPr>
          <p:spPr>
            <a:xfrm>
              <a:off x="6485570" y="4243146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0_20220929_150613">
              <a:extLst>
                <a:ext uri="{FF2B5EF4-FFF2-40B4-BE49-F238E27FC236}">
                  <a16:creationId xmlns:a16="http://schemas.microsoft.com/office/drawing/2014/main" id="{771DC6E0-D62D-88FC-66A0-2F3C904648CC}"/>
                </a:ext>
              </a:extLst>
            </p:cNvPr>
            <p:cNvSpPr/>
            <p:nvPr/>
          </p:nvSpPr>
          <p:spPr>
            <a:xfrm>
              <a:off x="6485570" y="4243113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613">
              <a:extLst>
                <a:ext uri="{FF2B5EF4-FFF2-40B4-BE49-F238E27FC236}">
                  <a16:creationId xmlns:a16="http://schemas.microsoft.com/office/drawing/2014/main" id="{422A578A-AE83-A606-29DC-18E203E1F939}"/>
                </a:ext>
              </a:extLst>
            </p:cNvPr>
            <p:cNvSpPr/>
            <p:nvPr/>
          </p:nvSpPr>
          <p:spPr>
            <a:xfrm>
              <a:off x="6485570" y="3882935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613">
              <a:extLst>
                <a:ext uri="{FF2B5EF4-FFF2-40B4-BE49-F238E27FC236}">
                  <a16:creationId xmlns:a16="http://schemas.microsoft.com/office/drawing/2014/main" id="{A7197D87-D641-0105-277A-B22EDEBF9F2F}"/>
                </a:ext>
              </a:extLst>
            </p:cNvPr>
            <p:cNvSpPr/>
            <p:nvPr/>
          </p:nvSpPr>
          <p:spPr>
            <a:xfrm>
              <a:off x="6485570" y="3882935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2_20220721_110914">
              <a:extLst>
                <a:ext uri="{FF2B5EF4-FFF2-40B4-BE49-F238E27FC236}">
                  <a16:creationId xmlns:a16="http://schemas.microsoft.com/office/drawing/2014/main" id="{9F80F816-69C6-137E-24D9-CED397F5783D}"/>
                </a:ext>
              </a:extLst>
            </p:cNvPr>
            <p:cNvSpPr/>
            <p:nvPr/>
          </p:nvSpPr>
          <p:spPr>
            <a:xfrm>
              <a:off x="8243774" y="1066800"/>
              <a:ext cx="3263909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0_20220721_110731">
              <a:extLst>
                <a:ext uri="{FF2B5EF4-FFF2-40B4-BE49-F238E27FC236}">
                  <a16:creationId xmlns:a16="http://schemas.microsoft.com/office/drawing/2014/main" id="{D213CC24-81EA-9EB0-2AAE-C369FD693CB6}"/>
                </a:ext>
              </a:extLst>
            </p:cNvPr>
            <p:cNvSpPr/>
            <p:nvPr/>
          </p:nvSpPr>
          <p:spPr>
            <a:xfrm>
              <a:off x="8414616" y="1123919"/>
              <a:ext cx="2937521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1_20220721_110731">
              <a:extLst>
                <a:ext uri="{FF2B5EF4-FFF2-40B4-BE49-F238E27FC236}">
                  <a16:creationId xmlns:a16="http://schemas.microsoft.com/office/drawing/2014/main" id="{55184109-B316-226E-598C-3B04AA547EC6}"/>
                </a:ext>
              </a:extLst>
            </p:cNvPr>
            <p:cNvSpPr/>
            <p:nvPr/>
          </p:nvSpPr>
          <p:spPr>
            <a:xfrm>
              <a:off x="8388794" y="4933092"/>
              <a:ext cx="3002800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6" name="Google Shape;3766;p66">
              <a:extLst>
                <a:ext uri="{FF2B5EF4-FFF2-40B4-BE49-F238E27FC236}">
                  <a16:creationId xmlns:a16="http://schemas.microsoft.com/office/drawing/2014/main" id="{8BA9C286-9E64-19FA-0C66-196D37388ABC}"/>
                </a:ext>
              </a:extLst>
            </p:cNvPr>
            <p:cNvSpPr txBox="1"/>
            <p:nvPr/>
          </p:nvSpPr>
          <p:spPr>
            <a:xfrm>
              <a:off x="8722862" y="1210814"/>
              <a:ext cx="2321023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7" name="Google Shape;3767;p66">
              <a:extLst>
                <a:ext uri="{FF2B5EF4-FFF2-40B4-BE49-F238E27FC236}">
                  <a16:creationId xmlns:a16="http://schemas.microsoft.com/office/drawing/2014/main" id="{1DAE6843-9434-9A29-2790-BB88B9A82CF9}"/>
                </a:ext>
              </a:extLst>
            </p:cNvPr>
            <p:cNvSpPr txBox="1"/>
            <p:nvPr/>
          </p:nvSpPr>
          <p:spPr>
            <a:xfrm>
              <a:off x="8893526" y="1548360"/>
              <a:ext cx="197970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Shape1_20220929_150606">
              <a:extLst>
                <a:ext uri="{FF2B5EF4-FFF2-40B4-BE49-F238E27FC236}">
                  <a16:creationId xmlns:a16="http://schemas.microsoft.com/office/drawing/2014/main" id="{F921BFD0-8958-1954-31F6-5FE5B3E2876F}"/>
                </a:ext>
              </a:extLst>
            </p:cNvPr>
            <p:cNvSpPr/>
            <p:nvPr/>
          </p:nvSpPr>
          <p:spPr>
            <a:xfrm>
              <a:off x="9745216" y="3852745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6_20220929_150613">
              <a:extLst>
                <a:ext uri="{FF2B5EF4-FFF2-40B4-BE49-F238E27FC236}">
                  <a16:creationId xmlns:a16="http://schemas.microsoft.com/office/drawing/2014/main" id="{87A26692-7F8D-D047-7955-4E1665F42BF0}"/>
                </a:ext>
              </a:extLst>
            </p:cNvPr>
            <p:cNvSpPr/>
            <p:nvPr/>
          </p:nvSpPr>
          <p:spPr>
            <a:xfrm>
              <a:off x="9776670" y="4603324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613">
              <a:extLst>
                <a:ext uri="{FF2B5EF4-FFF2-40B4-BE49-F238E27FC236}">
                  <a16:creationId xmlns:a16="http://schemas.microsoft.com/office/drawing/2014/main" id="{59274338-6566-1B6D-6C78-3D49FE6B3271}"/>
                </a:ext>
              </a:extLst>
            </p:cNvPr>
            <p:cNvSpPr/>
            <p:nvPr/>
          </p:nvSpPr>
          <p:spPr>
            <a:xfrm>
              <a:off x="9776670" y="4603324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613">
              <a:extLst>
                <a:ext uri="{FF2B5EF4-FFF2-40B4-BE49-F238E27FC236}">
                  <a16:creationId xmlns:a16="http://schemas.microsoft.com/office/drawing/2014/main" id="{B452EE10-1BE5-238B-6C17-C5B330C2CFA0}"/>
                </a:ext>
              </a:extLst>
            </p:cNvPr>
            <p:cNvSpPr/>
            <p:nvPr/>
          </p:nvSpPr>
          <p:spPr>
            <a:xfrm>
              <a:off x="9776670" y="4243146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613">
              <a:extLst>
                <a:ext uri="{FF2B5EF4-FFF2-40B4-BE49-F238E27FC236}">
                  <a16:creationId xmlns:a16="http://schemas.microsoft.com/office/drawing/2014/main" id="{B3051A5D-4684-6203-BF85-7C01E2ACF82C}"/>
                </a:ext>
              </a:extLst>
            </p:cNvPr>
            <p:cNvSpPr/>
            <p:nvPr/>
          </p:nvSpPr>
          <p:spPr>
            <a:xfrm>
              <a:off x="9776670" y="4243113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0_20220929_150606">
              <a:extLst>
                <a:ext uri="{FF2B5EF4-FFF2-40B4-BE49-F238E27FC236}">
                  <a16:creationId xmlns:a16="http://schemas.microsoft.com/office/drawing/2014/main" id="{2A3DFEB8-54F8-5EF6-B9D1-410F63CD548A}"/>
                </a:ext>
              </a:extLst>
            </p:cNvPr>
            <p:cNvSpPr/>
            <p:nvPr/>
          </p:nvSpPr>
          <p:spPr>
            <a:xfrm>
              <a:off x="6463012" y="2077376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2_20220929_150606">
              <a:extLst>
                <a:ext uri="{FF2B5EF4-FFF2-40B4-BE49-F238E27FC236}">
                  <a16:creationId xmlns:a16="http://schemas.microsoft.com/office/drawing/2014/main" id="{D1E5BA7B-D1D6-004B-0777-56853693D50D}"/>
                </a:ext>
              </a:extLst>
            </p:cNvPr>
            <p:cNvSpPr/>
            <p:nvPr/>
          </p:nvSpPr>
          <p:spPr>
            <a:xfrm>
              <a:off x="9745216" y="2077376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3_20220929_150606">
              <a:extLst>
                <a:ext uri="{FF2B5EF4-FFF2-40B4-BE49-F238E27FC236}">
                  <a16:creationId xmlns:a16="http://schemas.microsoft.com/office/drawing/2014/main" id="{E393491D-E637-38E7-2633-ADBDD7081131}"/>
                </a:ext>
              </a:extLst>
            </p:cNvPr>
            <p:cNvSpPr/>
            <p:nvPr/>
          </p:nvSpPr>
          <p:spPr>
            <a:xfrm>
              <a:off x="6463012" y="2437571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6" name="Shape4_20220929_150606">
              <a:extLst>
                <a:ext uri="{FF2B5EF4-FFF2-40B4-BE49-F238E27FC236}">
                  <a16:creationId xmlns:a16="http://schemas.microsoft.com/office/drawing/2014/main" id="{5B408D6E-22B3-9707-E7C4-C80A9FAD493D}"/>
                </a:ext>
              </a:extLst>
            </p:cNvPr>
            <p:cNvSpPr/>
            <p:nvPr/>
          </p:nvSpPr>
          <p:spPr>
            <a:xfrm>
              <a:off x="9745216" y="2437571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FFBE5BC1-A3DD-38FF-D86B-FA945486A3F0}"/>
                </a:ext>
              </a:extLst>
            </p:cNvPr>
            <p:cNvGrpSpPr/>
            <p:nvPr/>
          </p:nvGrpSpPr>
          <p:grpSpPr>
            <a:xfrm>
              <a:off x="6485570" y="2802345"/>
              <a:ext cx="128016" cy="128016"/>
              <a:chOff x="6470363" y="3274525"/>
              <a:chExt cx="183396" cy="104023"/>
            </a:xfrm>
          </p:grpSpPr>
          <p:sp>
            <p:nvSpPr>
              <p:cNvPr id="48" name="Google Shape;3752;p66">
                <a:extLst>
                  <a:ext uri="{FF2B5EF4-FFF2-40B4-BE49-F238E27FC236}">
                    <a16:creationId xmlns:a16="http://schemas.microsoft.com/office/drawing/2014/main" id="{AA76C963-C798-331D-6689-2989019A2072}"/>
                  </a:ext>
                </a:extLst>
              </p:cNvPr>
              <p:cNvSpPr/>
              <p:nvPr/>
            </p:nvSpPr>
            <p:spPr>
              <a:xfrm>
                <a:off x="6470363" y="3274525"/>
                <a:ext cx="183396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49" name="Google Shape;3753;p66">
                <a:extLst>
                  <a:ext uri="{FF2B5EF4-FFF2-40B4-BE49-F238E27FC236}">
                    <a16:creationId xmlns:a16="http://schemas.microsoft.com/office/drawing/2014/main" id="{1BE0AC99-604C-AFEE-F193-E914BB409E59}"/>
                  </a:ext>
                </a:extLst>
              </p:cNvPr>
              <p:cNvSpPr/>
              <p:nvPr/>
            </p:nvSpPr>
            <p:spPr>
              <a:xfrm>
                <a:off x="6470363" y="3274525"/>
                <a:ext cx="183396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50" name="Shape5_20220929_150606">
              <a:extLst>
                <a:ext uri="{FF2B5EF4-FFF2-40B4-BE49-F238E27FC236}">
                  <a16:creationId xmlns:a16="http://schemas.microsoft.com/office/drawing/2014/main" id="{8384A424-1416-B9A8-D5F9-E682CEC63A8E}"/>
                </a:ext>
              </a:extLst>
            </p:cNvPr>
            <p:cNvSpPr/>
            <p:nvPr/>
          </p:nvSpPr>
          <p:spPr>
            <a:xfrm>
              <a:off x="9745216" y="2797768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5739C11-4A78-A961-5BBE-C025426C0D69}"/>
                </a:ext>
              </a:extLst>
            </p:cNvPr>
            <p:cNvGrpSpPr/>
            <p:nvPr/>
          </p:nvGrpSpPr>
          <p:grpSpPr>
            <a:xfrm>
              <a:off x="6485570" y="3162543"/>
              <a:ext cx="128016" cy="128016"/>
              <a:chOff x="6470363" y="3652727"/>
              <a:chExt cx="183396" cy="104023"/>
            </a:xfrm>
          </p:grpSpPr>
          <p:sp>
            <p:nvSpPr>
              <p:cNvPr id="52" name="Google Shape;3749;p66">
                <a:extLst>
                  <a:ext uri="{FF2B5EF4-FFF2-40B4-BE49-F238E27FC236}">
                    <a16:creationId xmlns:a16="http://schemas.microsoft.com/office/drawing/2014/main" id="{336F6396-E4BF-AEEC-3168-4E478F516F27}"/>
                  </a:ext>
                </a:extLst>
              </p:cNvPr>
              <p:cNvSpPr/>
              <p:nvPr/>
            </p:nvSpPr>
            <p:spPr>
              <a:xfrm>
                <a:off x="6470363" y="3652727"/>
                <a:ext cx="183396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53" name="Google Shape;3750;p66">
                <a:extLst>
                  <a:ext uri="{FF2B5EF4-FFF2-40B4-BE49-F238E27FC236}">
                    <a16:creationId xmlns:a16="http://schemas.microsoft.com/office/drawing/2014/main" id="{01733669-0F07-BD9F-3036-E7DB16CF1081}"/>
                  </a:ext>
                </a:extLst>
              </p:cNvPr>
              <p:cNvSpPr/>
              <p:nvPr/>
            </p:nvSpPr>
            <p:spPr>
              <a:xfrm>
                <a:off x="6470363" y="3652727"/>
                <a:ext cx="183396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54" name="Shape6_20220929_150606">
              <a:extLst>
                <a:ext uri="{FF2B5EF4-FFF2-40B4-BE49-F238E27FC236}">
                  <a16:creationId xmlns:a16="http://schemas.microsoft.com/office/drawing/2014/main" id="{6FEE0E03-B4B9-239D-297D-4A623D5C80ED}"/>
                </a:ext>
              </a:extLst>
            </p:cNvPr>
            <p:cNvSpPr/>
            <p:nvPr/>
          </p:nvSpPr>
          <p:spPr>
            <a:xfrm>
              <a:off x="9745216" y="3157963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597C477-DF81-22B1-0444-0BF31D20D753}"/>
                </a:ext>
              </a:extLst>
            </p:cNvPr>
            <p:cNvGrpSpPr/>
            <p:nvPr/>
          </p:nvGrpSpPr>
          <p:grpSpPr>
            <a:xfrm>
              <a:off x="6485570" y="3522722"/>
              <a:ext cx="128016" cy="128016"/>
              <a:chOff x="6470363" y="4030911"/>
              <a:chExt cx="183396" cy="104023"/>
            </a:xfrm>
          </p:grpSpPr>
          <p:sp>
            <p:nvSpPr>
              <p:cNvPr id="57" name="Google Shape;3746;p66">
                <a:extLst>
                  <a:ext uri="{FF2B5EF4-FFF2-40B4-BE49-F238E27FC236}">
                    <a16:creationId xmlns:a16="http://schemas.microsoft.com/office/drawing/2014/main" id="{23F3DE68-5068-E91A-0C75-6178C43A1268}"/>
                  </a:ext>
                </a:extLst>
              </p:cNvPr>
              <p:cNvSpPr/>
              <p:nvPr/>
            </p:nvSpPr>
            <p:spPr>
              <a:xfrm>
                <a:off x="6470363" y="4030945"/>
                <a:ext cx="183396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58" name="Google Shape;3747;p66">
                <a:extLst>
                  <a:ext uri="{FF2B5EF4-FFF2-40B4-BE49-F238E27FC236}">
                    <a16:creationId xmlns:a16="http://schemas.microsoft.com/office/drawing/2014/main" id="{9ABBC83A-8D04-848A-2BF7-BEF80A940F13}"/>
                  </a:ext>
                </a:extLst>
              </p:cNvPr>
              <p:cNvSpPr/>
              <p:nvPr/>
            </p:nvSpPr>
            <p:spPr>
              <a:xfrm>
                <a:off x="6470363" y="4030911"/>
                <a:ext cx="183396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A65FEEA-1D64-A5AE-EB85-BFCEB2598E62}"/>
                </a:ext>
              </a:extLst>
            </p:cNvPr>
            <p:cNvGrpSpPr/>
            <p:nvPr/>
          </p:nvGrpSpPr>
          <p:grpSpPr>
            <a:xfrm>
              <a:off x="9776670" y="3522722"/>
              <a:ext cx="128016" cy="128016"/>
              <a:chOff x="9935474" y="4030911"/>
              <a:chExt cx="183396" cy="104023"/>
            </a:xfrm>
          </p:grpSpPr>
          <p:sp>
            <p:nvSpPr>
              <p:cNvPr id="60" name="Google Shape;3780;p66">
                <a:extLst>
                  <a:ext uri="{FF2B5EF4-FFF2-40B4-BE49-F238E27FC236}">
                    <a16:creationId xmlns:a16="http://schemas.microsoft.com/office/drawing/2014/main" id="{394E4F80-FA57-8C4F-0781-8E26207296D3}"/>
                  </a:ext>
                </a:extLst>
              </p:cNvPr>
              <p:cNvSpPr/>
              <p:nvPr/>
            </p:nvSpPr>
            <p:spPr>
              <a:xfrm>
                <a:off x="9935474" y="4030945"/>
                <a:ext cx="183396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1" name="Google Shape;3781;p66">
                <a:extLst>
                  <a:ext uri="{FF2B5EF4-FFF2-40B4-BE49-F238E27FC236}">
                    <a16:creationId xmlns:a16="http://schemas.microsoft.com/office/drawing/2014/main" id="{4FD537CF-481C-B639-EC14-91BA66FA83D2}"/>
                  </a:ext>
                </a:extLst>
              </p:cNvPr>
              <p:cNvSpPr/>
              <p:nvPr/>
            </p:nvSpPr>
            <p:spPr>
              <a:xfrm>
                <a:off x="9935474" y="4030911"/>
                <a:ext cx="183396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cxnSp>
          <p:nvCxnSpPr>
            <p:cNvPr id="62" name="Google Shape;3754;p66">
              <a:extLst>
                <a:ext uri="{FF2B5EF4-FFF2-40B4-BE49-F238E27FC236}">
                  <a16:creationId xmlns:a16="http://schemas.microsoft.com/office/drawing/2014/main" id="{7F61E0E6-8D99-97BC-D4ED-4C880B513F3E}"/>
                </a:ext>
              </a:extLst>
            </p:cNvPr>
            <p:cNvCxnSpPr>
              <a:cxnSpLocks/>
            </p:cNvCxnSpPr>
            <p:nvPr/>
          </p:nvCxnSpPr>
          <p:spPr>
            <a:xfrm>
              <a:off x="5165179" y="2311589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3" name="Google Shape;3782;p66">
              <a:extLst>
                <a:ext uri="{FF2B5EF4-FFF2-40B4-BE49-F238E27FC236}">
                  <a16:creationId xmlns:a16="http://schemas.microsoft.com/office/drawing/2014/main" id="{A167DBCC-BE76-7FA3-9DC0-F989607D26FF}"/>
                </a:ext>
              </a:extLst>
            </p:cNvPr>
            <p:cNvCxnSpPr>
              <a:cxnSpLocks/>
            </p:cNvCxnSpPr>
            <p:nvPr/>
          </p:nvCxnSpPr>
          <p:spPr>
            <a:xfrm>
              <a:off x="8447384" y="2311589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4" name="Google Shape;3755;p66">
              <a:extLst>
                <a:ext uri="{FF2B5EF4-FFF2-40B4-BE49-F238E27FC236}">
                  <a16:creationId xmlns:a16="http://schemas.microsoft.com/office/drawing/2014/main" id="{ED253AF6-6E13-C82E-5ACB-C645D8E19D7E}"/>
                </a:ext>
              </a:extLst>
            </p:cNvPr>
            <p:cNvCxnSpPr/>
            <p:nvPr/>
          </p:nvCxnSpPr>
          <p:spPr>
            <a:xfrm>
              <a:off x="5165179" y="2671784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5" name="Google Shape;3783;p66">
              <a:extLst>
                <a:ext uri="{FF2B5EF4-FFF2-40B4-BE49-F238E27FC236}">
                  <a16:creationId xmlns:a16="http://schemas.microsoft.com/office/drawing/2014/main" id="{47630220-81A9-F8BB-BECB-2D94EAC1B004}"/>
                </a:ext>
              </a:extLst>
            </p:cNvPr>
            <p:cNvCxnSpPr/>
            <p:nvPr/>
          </p:nvCxnSpPr>
          <p:spPr>
            <a:xfrm>
              <a:off x="8447384" y="2671784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6" name="Google Shape;3756;p66">
              <a:extLst>
                <a:ext uri="{FF2B5EF4-FFF2-40B4-BE49-F238E27FC236}">
                  <a16:creationId xmlns:a16="http://schemas.microsoft.com/office/drawing/2014/main" id="{07573981-18D3-BCCA-6818-4C46DFFEB1BE}"/>
                </a:ext>
              </a:extLst>
            </p:cNvPr>
            <p:cNvCxnSpPr/>
            <p:nvPr/>
          </p:nvCxnSpPr>
          <p:spPr>
            <a:xfrm>
              <a:off x="5165179" y="3031979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7" name="Google Shape;3784;p66">
              <a:extLst>
                <a:ext uri="{FF2B5EF4-FFF2-40B4-BE49-F238E27FC236}">
                  <a16:creationId xmlns:a16="http://schemas.microsoft.com/office/drawing/2014/main" id="{F09F9E95-68B1-26AA-E340-59AC685DDD87}"/>
                </a:ext>
              </a:extLst>
            </p:cNvPr>
            <p:cNvCxnSpPr/>
            <p:nvPr/>
          </p:nvCxnSpPr>
          <p:spPr>
            <a:xfrm>
              <a:off x="8447384" y="3031979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8" name="Google Shape;3757;p66">
              <a:extLst>
                <a:ext uri="{FF2B5EF4-FFF2-40B4-BE49-F238E27FC236}">
                  <a16:creationId xmlns:a16="http://schemas.microsoft.com/office/drawing/2014/main" id="{D394BD57-0490-F8B4-0C7E-E8BC07C294D8}"/>
                </a:ext>
              </a:extLst>
            </p:cNvPr>
            <p:cNvCxnSpPr/>
            <p:nvPr/>
          </p:nvCxnSpPr>
          <p:spPr>
            <a:xfrm>
              <a:off x="5165179" y="3392177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9" name="Google Shape;3785;p66">
              <a:extLst>
                <a:ext uri="{FF2B5EF4-FFF2-40B4-BE49-F238E27FC236}">
                  <a16:creationId xmlns:a16="http://schemas.microsoft.com/office/drawing/2014/main" id="{70790143-3EE7-CB4E-87AF-272534A8E1AA}"/>
                </a:ext>
              </a:extLst>
            </p:cNvPr>
            <p:cNvCxnSpPr/>
            <p:nvPr/>
          </p:nvCxnSpPr>
          <p:spPr>
            <a:xfrm>
              <a:off x="8447384" y="3392177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0" name="Google Shape;3758;p66">
              <a:extLst>
                <a:ext uri="{FF2B5EF4-FFF2-40B4-BE49-F238E27FC236}">
                  <a16:creationId xmlns:a16="http://schemas.microsoft.com/office/drawing/2014/main" id="{C35D007F-ADDD-7E5E-A6BB-F457983DBF77}"/>
                </a:ext>
              </a:extLst>
            </p:cNvPr>
            <p:cNvCxnSpPr/>
            <p:nvPr/>
          </p:nvCxnSpPr>
          <p:spPr>
            <a:xfrm>
              <a:off x="5165179" y="3752371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1" name="Google Shape;3786;p66">
              <a:extLst>
                <a:ext uri="{FF2B5EF4-FFF2-40B4-BE49-F238E27FC236}">
                  <a16:creationId xmlns:a16="http://schemas.microsoft.com/office/drawing/2014/main" id="{44F7FD42-A302-C29E-CFD4-40FFF734E39A}"/>
                </a:ext>
              </a:extLst>
            </p:cNvPr>
            <p:cNvCxnSpPr/>
            <p:nvPr/>
          </p:nvCxnSpPr>
          <p:spPr>
            <a:xfrm>
              <a:off x="8447384" y="3752371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2" name="Google Shape;3759;p66">
              <a:extLst>
                <a:ext uri="{FF2B5EF4-FFF2-40B4-BE49-F238E27FC236}">
                  <a16:creationId xmlns:a16="http://schemas.microsoft.com/office/drawing/2014/main" id="{365ED861-0CCA-E400-2FE3-6CE78363D970}"/>
                </a:ext>
              </a:extLst>
            </p:cNvPr>
            <p:cNvCxnSpPr/>
            <p:nvPr/>
          </p:nvCxnSpPr>
          <p:spPr>
            <a:xfrm>
              <a:off x="5165179" y="4112566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3" name="Google Shape;3787;p66">
              <a:extLst>
                <a:ext uri="{FF2B5EF4-FFF2-40B4-BE49-F238E27FC236}">
                  <a16:creationId xmlns:a16="http://schemas.microsoft.com/office/drawing/2014/main" id="{EDCC4C07-7E31-DF6D-89A1-025028417860}"/>
                </a:ext>
              </a:extLst>
            </p:cNvPr>
            <p:cNvCxnSpPr/>
            <p:nvPr/>
          </p:nvCxnSpPr>
          <p:spPr>
            <a:xfrm>
              <a:off x="8447384" y="4112566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4" name="Google Shape;3760;p66">
              <a:extLst>
                <a:ext uri="{FF2B5EF4-FFF2-40B4-BE49-F238E27FC236}">
                  <a16:creationId xmlns:a16="http://schemas.microsoft.com/office/drawing/2014/main" id="{EFFD4908-D47D-145B-EA94-22FFF584D00F}"/>
                </a:ext>
              </a:extLst>
            </p:cNvPr>
            <p:cNvCxnSpPr/>
            <p:nvPr/>
          </p:nvCxnSpPr>
          <p:spPr>
            <a:xfrm>
              <a:off x="5165179" y="4472762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5" name="Google Shape;3788;p66">
              <a:extLst>
                <a:ext uri="{FF2B5EF4-FFF2-40B4-BE49-F238E27FC236}">
                  <a16:creationId xmlns:a16="http://schemas.microsoft.com/office/drawing/2014/main" id="{1A39D013-FE1F-1D96-7059-8CAD5AB52106}"/>
                </a:ext>
              </a:extLst>
            </p:cNvPr>
            <p:cNvCxnSpPr/>
            <p:nvPr/>
          </p:nvCxnSpPr>
          <p:spPr>
            <a:xfrm>
              <a:off x="8447384" y="4472762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6" name="Google Shape;3761;p66">
              <a:extLst>
                <a:ext uri="{FF2B5EF4-FFF2-40B4-BE49-F238E27FC236}">
                  <a16:creationId xmlns:a16="http://schemas.microsoft.com/office/drawing/2014/main" id="{44C1E5C9-E373-0603-F2F7-C1C2C60E2A3B}"/>
                </a:ext>
              </a:extLst>
            </p:cNvPr>
            <p:cNvCxnSpPr/>
            <p:nvPr/>
          </p:nvCxnSpPr>
          <p:spPr>
            <a:xfrm>
              <a:off x="5165179" y="4832958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7" name="Google Shape;3789;p66">
              <a:extLst>
                <a:ext uri="{FF2B5EF4-FFF2-40B4-BE49-F238E27FC236}">
                  <a16:creationId xmlns:a16="http://schemas.microsoft.com/office/drawing/2014/main" id="{A525059F-CE64-998E-32DF-CA1644B8BDEE}"/>
                </a:ext>
              </a:extLst>
            </p:cNvPr>
            <p:cNvCxnSpPr/>
            <p:nvPr/>
          </p:nvCxnSpPr>
          <p:spPr>
            <a:xfrm>
              <a:off x="8447384" y="4832958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36995382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0C4012-8AB5-6938-AAE5-17D4EEFAC5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4938AC2-0A14-AFED-F938-36B53988D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938AC2-0A14-AFED-F938-36B53988D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E47E5F-C48B-9158-4DC3-683F8858E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1B8034F-ACF6-EFE9-E2D1-10E2E72B4D4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8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D43DF595-9B3B-8FEE-F8BD-1FDF9EE93A2A}"/>
              </a:ext>
            </a:extLst>
          </p:cNvPr>
          <p:cNvGrpSpPr/>
          <p:nvPr/>
        </p:nvGrpSpPr>
        <p:grpSpPr>
          <a:xfrm>
            <a:off x="839683" y="1066799"/>
            <a:ext cx="10667999" cy="4998333"/>
            <a:chOff x="839683" y="1066800"/>
            <a:chExt cx="10667999" cy="4362026"/>
          </a:xfrm>
        </p:grpSpPr>
        <p:sp>
          <p:nvSpPr>
            <p:cNvPr id="3" name="Shape0_20220721_110914">
              <a:extLst>
                <a:ext uri="{FF2B5EF4-FFF2-40B4-BE49-F238E27FC236}">
                  <a16:creationId xmlns:a16="http://schemas.microsoft.com/office/drawing/2014/main" id="{BF1C1F38-F553-499B-6D36-CDE4C1C7E086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2;p66">
              <a:extLst>
                <a:ext uri="{FF2B5EF4-FFF2-40B4-BE49-F238E27FC236}">
                  <a16:creationId xmlns:a16="http://schemas.microsoft.com/office/drawing/2014/main" id="{873F61D1-AA09-6A37-31C1-44FD22F0E2B2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8;p66">
              <a:extLst>
                <a:ext uri="{FF2B5EF4-FFF2-40B4-BE49-F238E27FC236}">
                  <a16:creationId xmlns:a16="http://schemas.microsoft.com/office/drawing/2014/main" id="{8ABBDF53-11D9-1B27-614E-3181FB0F09A1}"/>
                </a:ext>
              </a:extLst>
            </p:cNvPr>
            <p:cNvSpPr txBox="1"/>
            <p:nvPr/>
          </p:nvSpPr>
          <p:spPr>
            <a:xfrm>
              <a:off x="1030584" y="383370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19;p66">
              <a:extLst>
                <a:ext uri="{FF2B5EF4-FFF2-40B4-BE49-F238E27FC236}">
                  <a16:creationId xmlns:a16="http://schemas.microsoft.com/office/drawing/2014/main" id="{C4C3F507-5235-7B64-D1B4-EAD9BBD40887}"/>
                </a:ext>
              </a:extLst>
            </p:cNvPr>
            <p:cNvSpPr txBox="1"/>
            <p:nvPr/>
          </p:nvSpPr>
          <p:spPr>
            <a:xfrm>
              <a:off x="1030584" y="4193902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20;p66">
              <a:extLst>
                <a:ext uri="{FF2B5EF4-FFF2-40B4-BE49-F238E27FC236}">
                  <a16:creationId xmlns:a16="http://schemas.microsoft.com/office/drawing/2014/main" id="{928F6C9E-C1B3-8215-4536-500DA645801F}"/>
                </a:ext>
              </a:extLst>
            </p:cNvPr>
            <p:cNvSpPr txBox="1"/>
            <p:nvPr/>
          </p:nvSpPr>
          <p:spPr>
            <a:xfrm>
              <a:off x="1030584" y="455409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3;p66">
              <a:extLst>
                <a:ext uri="{FF2B5EF4-FFF2-40B4-BE49-F238E27FC236}">
                  <a16:creationId xmlns:a16="http://schemas.microsoft.com/office/drawing/2014/main" id="{1E0E1D37-E410-DE18-9DD8-56E6CEAEBEE5}"/>
                </a:ext>
              </a:extLst>
            </p:cNvPr>
            <p:cNvSpPr txBox="1"/>
            <p:nvPr/>
          </p:nvSpPr>
          <p:spPr>
            <a:xfrm>
              <a:off x="1030584" y="203272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4;p66">
              <a:extLst>
                <a:ext uri="{FF2B5EF4-FFF2-40B4-BE49-F238E27FC236}">
                  <a16:creationId xmlns:a16="http://schemas.microsoft.com/office/drawing/2014/main" id="{714D04E7-001D-8199-FF88-DA1AE3E31884}"/>
                </a:ext>
              </a:extLst>
            </p:cNvPr>
            <p:cNvSpPr txBox="1"/>
            <p:nvPr/>
          </p:nvSpPr>
          <p:spPr>
            <a:xfrm>
              <a:off x="1030584" y="239292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5;p66">
              <a:extLst>
                <a:ext uri="{FF2B5EF4-FFF2-40B4-BE49-F238E27FC236}">
                  <a16:creationId xmlns:a16="http://schemas.microsoft.com/office/drawing/2014/main" id="{21D55E6B-7C27-E38C-6A0E-521577CD656D}"/>
                </a:ext>
              </a:extLst>
            </p:cNvPr>
            <p:cNvSpPr txBox="1"/>
            <p:nvPr/>
          </p:nvSpPr>
          <p:spPr>
            <a:xfrm>
              <a:off x="1030584" y="2753118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" name="Google Shape;3716;p66">
              <a:extLst>
                <a:ext uri="{FF2B5EF4-FFF2-40B4-BE49-F238E27FC236}">
                  <a16:creationId xmlns:a16="http://schemas.microsoft.com/office/drawing/2014/main" id="{DD99E51F-13C6-E221-F559-E5E56EF29249}"/>
                </a:ext>
              </a:extLst>
            </p:cNvPr>
            <p:cNvSpPr txBox="1"/>
            <p:nvPr/>
          </p:nvSpPr>
          <p:spPr>
            <a:xfrm>
              <a:off x="1030584" y="311331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19BC79FB-B9C9-51E2-FCCF-60F4592AA5FF}"/>
                </a:ext>
              </a:extLst>
            </p:cNvPr>
            <p:cNvSpPr txBox="1"/>
            <p:nvPr/>
          </p:nvSpPr>
          <p:spPr>
            <a:xfrm>
              <a:off x="1030584" y="3473509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7C5B725D-467C-B090-DE59-4C82C29019B4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765B1D72-BF3F-724E-2D0A-BC400C1F9C50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1B8CA2F8-21A5-245E-F4C5-18792507621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30FC5CE9-E1A7-F68C-82EB-3778A0EBC1E2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EE5080D8-3773-8DB6-E973-C1F2478AFE94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CB4CB73F-E92F-F5B1-0AA7-75E2ADFCBD42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3749B928-2DAD-F120-14E9-41B49BD232B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7CDEE392-503A-0F51-600D-39A09BE7762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3_20220721_110914">
              <a:extLst>
                <a:ext uri="{FF2B5EF4-FFF2-40B4-BE49-F238E27FC236}">
                  <a16:creationId xmlns:a16="http://schemas.microsoft.com/office/drawing/2014/main" id="{921B0BD2-9E85-ACE1-4C56-79E5636EB26E}"/>
                </a:ext>
              </a:extLst>
            </p:cNvPr>
            <p:cNvSpPr/>
            <p:nvPr/>
          </p:nvSpPr>
          <p:spPr>
            <a:xfrm>
              <a:off x="8235563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1_20220721_110914">
              <a:extLst>
                <a:ext uri="{FF2B5EF4-FFF2-40B4-BE49-F238E27FC236}">
                  <a16:creationId xmlns:a16="http://schemas.microsoft.com/office/drawing/2014/main" id="{2FA171AD-5D1F-320C-E942-2551CBBA8195}"/>
                </a:ext>
              </a:extLst>
            </p:cNvPr>
            <p:cNvSpPr/>
            <p:nvPr/>
          </p:nvSpPr>
          <p:spPr>
            <a:xfrm>
              <a:off x="4947101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AA233D18-C380-3AB5-FBDC-9D46AB245906}"/>
                </a:ext>
              </a:extLst>
            </p:cNvPr>
            <p:cNvSpPr/>
            <p:nvPr/>
          </p:nvSpPr>
          <p:spPr>
            <a:xfrm>
              <a:off x="5019842" y="1123919"/>
              <a:ext cx="1497661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81611473-5D54-F39B-E361-366EFE60BA12}"/>
                </a:ext>
              </a:extLst>
            </p:cNvPr>
            <p:cNvSpPr/>
            <p:nvPr/>
          </p:nvSpPr>
          <p:spPr>
            <a:xfrm>
              <a:off x="5026647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F41F0A23-C782-A274-37DE-F3D5427C47A7}"/>
                </a:ext>
              </a:extLst>
            </p:cNvPr>
            <p:cNvSpPr txBox="1"/>
            <p:nvPr/>
          </p:nvSpPr>
          <p:spPr>
            <a:xfrm>
              <a:off x="5189861" y="1210814"/>
              <a:ext cx="1157622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749C345E-BEC1-D21F-449C-57951D0813AC}"/>
                </a:ext>
              </a:extLst>
            </p:cNvPr>
            <p:cNvSpPr txBox="1"/>
            <p:nvPr/>
          </p:nvSpPr>
          <p:spPr>
            <a:xfrm>
              <a:off x="5274979" y="1548360"/>
              <a:ext cx="987387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0929_150630">
              <a:extLst>
                <a:ext uri="{FF2B5EF4-FFF2-40B4-BE49-F238E27FC236}">
                  <a16:creationId xmlns:a16="http://schemas.microsoft.com/office/drawing/2014/main" id="{AFE85487-E968-1D79-AFE5-0E83462EBEE1}"/>
                </a:ext>
              </a:extLst>
            </p:cNvPr>
            <p:cNvSpPr/>
            <p:nvPr/>
          </p:nvSpPr>
          <p:spPr>
            <a:xfrm>
              <a:off x="5732156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0929_150630">
              <a:extLst>
                <a:ext uri="{FF2B5EF4-FFF2-40B4-BE49-F238E27FC236}">
                  <a16:creationId xmlns:a16="http://schemas.microsoft.com/office/drawing/2014/main" id="{7D587125-EF68-B1B7-A190-B423490D1F3C}"/>
                </a:ext>
              </a:extLst>
            </p:cNvPr>
            <p:cNvSpPr/>
            <p:nvPr/>
          </p:nvSpPr>
          <p:spPr>
            <a:xfrm>
              <a:off x="5732156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0929_150630">
              <a:extLst>
                <a:ext uri="{FF2B5EF4-FFF2-40B4-BE49-F238E27FC236}">
                  <a16:creationId xmlns:a16="http://schemas.microsoft.com/office/drawing/2014/main" id="{1D9A0C68-4E1D-EE90-E10A-7B5647435E05}"/>
                </a:ext>
              </a:extLst>
            </p:cNvPr>
            <p:cNvSpPr/>
            <p:nvPr/>
          </p:nvSpPr>
          <p:spPr>
            <a:xfrm>
              <a:off x="5732156" y="4243146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630">
              <a:extLst>
                <a:ext uri="{FF2B5EF4-FFF2-40B4-BE49-F238E27FC236}">
                  <a16:creationId xmlns:a16="http://schemas.microsoft.com/office/drawing/2014/main" id="{9E46E210-D355-C6BC-5A21-49FB0E629A83}"/>
                </a:ext>
              </a:extLst>
            </p:cNvPr>
            <p:cNvSpPr/>
            <p:nvPr/>
          </p:nvSpPr>
          <p:spPr>
            <a:xfrm>
              <a:off x="5732156" y="4243113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630">
              <a:extLst>
                <a:ext uri="{FF2B5EF4-FFF2-40B4-BE49-F238E27FC236}">
                  <a16:creationId xmlns:a16="http://schemas.microsoft.com/office/drawing/2014/main" id="{A915DBBB-FF3C-B813-796E-2BCF285A185F}"/>
                </a:ext>
              </a:extLst>
            </p:cNvPr>
            <p:cNvSpPr/>
            <p:nvPr/>
          </p:nvSpPr>
          <p:spPr>
            <a:xfrm>
              <a:off x="5732156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0929_150630">
              <a:extLst>
                <a:ext uri="{FF2B5EF4-FFF2-40B4-BE49-F238E27FC236}">
                  <a16:creationId xmlns:a16="http://schemas.microsoft.com/office/drawing/2014/main" id="{03DC3DAA-9A85-441F-896D-178949442534}"/>
                </a:ext>
              </a:extLst>
            </p:cNvPr>
            <p:cNvSpPr/>
            <p:nvPr/>
          </p:nvSpPr>
          <p:spPr>
            <a:xfrm>
              <a:off x="5732156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2_20220721_110914">
              <a:extLst>
                <a:ext uri="{FF2B5EF4-FFF2-40B4-BE49-F238E27FC236}">
                  <a16:creationId xmlns:a16="http://schemas.microsoft.com/office/drawing/2014/main" id="{5C79CA58-E50A-54F1-0586-F34B431818BC}"/>
                </a:ext>
              </a:extLst>
            </p:cNvPr>
            <p:cNvSpPr/>
            <p:nvPr/>
          </p:nvSpPr>
          <p:spPr>
            <a:xfrm>
              <a:off x="6591332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6912A5B6-F144-5107-50B4-33415A5DDD35}"/>
                </a:ext>
              </a:extLst>
            </p:cNvPr>
            <p:cNvSpPr/>
            <p:nvPr/>
          </p:nvSpPr>
          <p:spPr>
            <a:xfrm>
              <a:off x="6676540" y="1123919"/>
              <a:ext cx="1465102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59F5DFC9-D418-B83A-2EB1-6A325E8886CD}"/>
                </a:ext>
              </a:extLst>
            </p:cNvPr>
            <p:cNvSpPr/>
            <p:nvPr/>
          </p:nvSpPr>
          <p:spPr>
            <a:xfrm>
              <a:off x="6663661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DE2C6017-B6C2-0604-936B-E14E794FD902}"/>
                </a:ext>
              </a:extLst>
            </p:cNvPr>
            <p:cNvSpPr txBox="1"/>
            <p:nvPr/>
          </p:nvSpPr>
          <p:spPr>
            <a:xfrm>
              <a:off x="6830281" y="1210814"/>
              <a:ext cx="1157622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19CBBF3D-07DE-D3C7-1581-15A0C87F6FF3}"/>
                </a:ext>
              </a:extLst>
            </p:cNvPr>
            <p:cNvSpPr txBox="1"/>
            <p:nvPr/>
          </p:nvSpPr>
          <p:spPr>
            <a:xfrm>
              <a:off x="6915401" y="1548360"/>
              <a:ext cx="987387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0929_150622">
              <a:extLst>
                <a:ext uri="{FF2B5EF4-FFF2-40B4-BE49-F238E27FC236}">
                  <a16:creationId xmlns:a16="http://schemas.microsoft.com/office/drawing/2014/main" id="{3A4C6A1D-A999-CCFF-4417-E11EC027A087}"/>
                </a:ext>
              </a:extLst>
            </p:cNvPr>
            <p:cNvSpPr/>
            <p:nvPr/>
          </p:nvSpPr>
          <p:spPr>
            <a:xfrm>
              <a:off x="7340182" y="3852746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630">
              <a:extLst>
                <a:ext uri="{FF2B5EF4-FFF2-40B4-BE49-F238E27FC236}">
                  <a16:creationId xmlns:a16="http://schemas.microsoft.com/office/drawing/2014/main" id="{8CB3A160-0E01-59EC-F3BB-014BD97DBC87}"/>
                </a:ext>
              </a:extLst>
            </p:cNvPr>
            <p:cNvSpPr/>
            <p:nvPr/>
          </p:nvSpPr>
          <p:spPr>
            <a:xfrm>
              <a:off x="7369174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630">
              <a:extLst>
                <a:ext uri="{FF2B5EF4-FFF2-40B4-BE49-F238E27FC236}">
                  <a16:creationId xmlns:a16="http://schemas.microsoft.com/office/drawing/2014/main" id="{7522BC76-8CB3-AAA7-8649-4082368E6469}"/>
                </a:ext>
              </a:extLst>
            </p:cNvPr>
            <p:cNvSpPr/>
            <p:nvPr/>
          </p:nvSpPr>
          <p:spPr>
            <a:xfrm>
              <a:off x="7369174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630">
              <a:extLst>
                <a:ext uri="{FF2B5EF4-FFF2-40B4-BE49-F238E27FC236}">
                  <a16:creationId xmlns:a16="http://schemas.microsoft.com/office/drawing/2014/main" id="{9DBF67EF-5F79-20C9-96A1-4AEEDEBC850D}"/>
                </a:ext>
              </a:extLst>
            </p:cNvPr>
            <p:cNvSpPr/>
            <p:nvPr/>
          </p:nvSpPr>
          <p:spPr>
            <a:xfrm>
              <a:off x="7369174" y="4243146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0929_150630">
              <a:extLst>
                <a:ext uri="{FF2B5EF4-FFF2-40B4-BE49-F238E27FC236}">
                  <a16:creationId xmlns:a16="http://schemas.microsoft.com/office/drawing/2014/main" id="{06FCD8D6-3D79-B99C-CC22-97A05AC88C0C}"/>
                </a:ext>
              </a:extLst>
            </p:cNvPr>
            <p:cNvSpPr/>
            <p:nvPr/>
          </p:nvSpPr>
          <p:spPr>
            <a:xfrm>
              <a:off x="7369174" y="4243113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444696F8-7EE2-2BDF-12C4-84AE0233F930}"/>
                </a:ext>
              </a:extLst>
            </p:cNvPr>
            <p:cNvSpPr/>
            <p:nvPr/>
          </p:nvSpPr>
          <p:spPr>
            <a:xfrm>
              <a:off x="8300681" y="1123919"/>
              <a:ext cx="1497661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70BBC17F-F487-9263-B325-CF7718768EE5}"/>
                </a:ext>
              </a:extLst>
            </p:cNvPr>
            <p:cNvSpPr/>
            <p:nvPr/>
          </p:nvSpPr>
          <p:spPr>
            <a:xfrm>
              <a:off x="8300681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9DAF4275-076C-B49E-C674-43E326AC648A}"/>
                </a:ext>
              </a:extLst>
            </p:cNvPr>
            <p:cNvSpPr txBox="1"/>
            <p:nvPr/>
          </p:nvSpPr>
          <p:spPr>
            <a:xfrm>
              <a:off x="8470699" y="1210814"/>
              <a:ext cx="1157622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6925571C-242D-8CF3-37BE-BD26E6225B05}"/>
                </a:ext>
              </a:extLst>
            </p:cNvPr>
            <p:cNvSpPr txBox="1"/>
            <p:nvPr/>
          </p:nvSpPr>
          <p:spPr>
            <a:xfrm>
              <a:off x="8555819" y="1548360"/>
              <a:ext cx="987387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0929_150622">
              <a:extLst>
                <a:ext uri="{FF2B5EF4-FFF2-40B4-BE49-F238E27FC236}">
                  <a16:creationId xmlns:a16="http://schemas.microsoft.com/office/drawing/2014/main" id="{1501DFD5-07CB-CD48-9BAE-362B931D82BE}"/>
                </a:ext>
              </a:extLst>
            </p:cNvPr>
            <p:cNvSpPr/>
            <p:nvPr/>
          </p:nvSpPr>
          <p:spPr>
            <a:xfrm>
              <a:off x="8977201" y="3852746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0929_150622">
              <a:extLst>
                <a:ext uri="{FF2B5EF4-FFF2-40B4-BE49-F238E27FC236}">
                  <a16:creationId xmlns:a16="http://schemas.microsoft.com/office/drawing/2014/main" id="{3AC6D401-65AA-3165-F64F-E1183935E32F}"/>
                </a:ext>
              </a:extLst>
            </p:cNvPr>
            <p:cNvSpPr/>
            <p:nvPr/>
          </p:nvSpPr>
          <p:spPr>
            <a:xfrm>
              <a:off x="8977201" y="420936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0929_150622">
              <a:extLst>
                <a:ext uri="{FF2B5EF4-FFF2-40B4-BE49-F238E27FC236}">
                  <a16:creationId xmlns:a16="http://schemas.microsoft.com/office/drawing/2014/main" id="{DA7C3386-CED4-102A-03ED-65A0C3B4D755}"/>
                </a:ext>
              </a:extLst>
            </p:cNvPr>
            <p:cNvSpPr/>
            <p:nvPr/>
          </p:nvSpPr>
          <p:spPr>
            <a:xfrm>
              <a:off x="8977201" y="4598745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4_20220721_110914">
              <a:extLst>
                <a:ext uri="{FF2B5EF4-FFF2-40B4-BE49-F238E27FC236}">
                  <a16:creationId xmlns:a16="http://schemas.microsoft.com/office/drawing/2014/main" id="{D2767CE1-F09B-95E4-EAE5-17D2E002E59B}"/>
                </a:ext>
              </a:extLst>
            </p:cNvPr>
            <p:cNvSpPr/>
            <p:nvPr/>
          </p:nvSpPr>
          <p:spPr>
            <a:xfrm>
              <a:off x="9879792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721_110953">
              <a:extLst>
                <a:ext uri="{FF2B5EF4-FFF2-40B4-BE49-F238E27FC236}">
                  <a16:creationId xmlns:a16="http://schemas.microsoft.com/office/drawing/2014/main" id="{6E606F83-55ED-A499-A7E4-059663B7289D}"/>
                </a:ext>
              </a:extLst>
            </p:cNvPr>
            <p:cNvSpPr/>
            <p:nvPr/>
          </p:nvSpPr>
          <p:spPr>
            <a:xfrm>
              <a:off x="9944908" y="1123919"/>
              <a:ext cx="1497661" cy="80447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1_20220721_110953">
              <a:extLst>
                <a:ext uri="{FF2B5EF4-FFF2-40B4-BE49-F238E27FC236}">
                  <a16:creationId xmlns:a16="http://schemas.microsoft.com/office/drawing/2014/main" id="{9EF6B0D3-1876-F9BB-72FF-0CBD85ECCCA6}"/>
                </a:ext>
              </a:extLst>
            </p:cNvPr>
            <p:cNvSpPr/>
            <p:nvPr/>
          </p:nvSpPr>
          <p:spPr>
            <a:xfrm>
              <a:off x="9944908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54" name="Google Shape;3816;p66">
              <a:extLst>
                <a:ext uri="{FF2B5EF4-FFF2-40B4-BE49-F238E27FC236}">
                  <a16:creationId xmlns:a16="http://schemas.microsoft.com/office/drawing/2014/main" id="{E83EF370-76AF-0FAB-18B9-9996675E8854}"/>
                </a:ext>
              </a:extLst>
            </p:cNvPr>
            <p:cNvSpPr txBox="1"/>
            <p:nvPr/>
          </p:nvSpPr>
          <p:spPr>
            <a:xfrm>
              <a:off x="10114931" y="1210814"/>
              <a:ext cx="1157622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Google Shape;3817;p66">
              <a:extLst>
                <a:ext uri="{FF2B5EF4-FFF2-40B4-BE49-F238E27FC236}">
                  <a16:creationId xmlns:a16="http://schemas.microsoft.com/office/drawing/2014/main" id="{06B2B071-33B9-85D3-EECE-CF1F173566C7}"/>
                </a:ext>
              </a:extLst>
            </p:cNvPr>
            <p:cNvSpPr txBox="1"/>
            <p:nvPr/>
          </p:nvSpPr>
          <p:spPr>
            <a:xfrm>
              <a:off x="10200047" y="1548360"/>
              <a:ext cx="987387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11_20220929_150630">
              <a:extLst>
                <a:ext uri="{FF2B5EF4-FFF2-40B4-BE49-F238E27FC236}">
                  <a16:creationId xmlns:a16="http://schemas.microsoft.com/office/drawing/2014/main" id="{D4854659-BC9B-0AA0-8C76-4BE26747B3C4}"/>
                </a:ext>
              </a:extLst>
            </p:cNvPr>
            <p:cNvSpPr/>
            <p:nvPr/>
          </p:nvSpPr>
          <p:spPr>
            <a:xfrm>
              <a:off x="10650420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8" name="Shape12_20220929_150630">
              <a:extLst>
                <a:ext uri="{FF2B5EF4-FFF2-40B4-BE49-F238E27FC236}">
                  <a16:creationId xmlns:a16="http://schemas.microsoft.com/office/drawing/2014/main" id="{462BD69E-D023-2899-067A-C81D870F5DB6}"/>
                </a:ext>
              </a:extLst>
            </p:cNvPr>
            <p:cNvSpPr/>
            <p:nvPr/>
          </p:nvSpPr>
          <p:spPr>
            <a:xfrm>
              <a:off x="10650420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9" name="Shape13_20220929_150630">
              <a:extLst>
                <a:ext uri="{FF2B5EF4-FFF2-40B4-BE49-F238E27FC236}">
                  <a16:creationId xmlns:a16="http://schemas.microsoft.com/office/drawing/2014/main" id="{5699AAAA-4B06-77BE-7FD3-D2D0DECC4660}"/>
                </a:ext>
              </a:extLst>
            </p:cNvPr>
            <p:cNvSpPr/>
            <p:nvPr/>
          </p:nvSpPr>
          <p:spPr>
            <a:xfrm>
              <a:off x="10650420" y="4243146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0" name="Shape0_20220929_150630">
              <a:extLst>
                <a:ext uri="{FF2B5EF4-FFF2-40B4-BE49-F238E27FC236}">
                  <a16:creationId xmlns:a16="http://schemas.microsoft.com/office/drawing/2014/main" id="{97BBDF9B-0324-53D2-907D-BBDD4518232D}"/>
                </a:ext>
              </a:extLst>
            </p:cNvPr>
            <p:cNvSpPr/>
            <p:nvPr/>
          </p:nvSpPr>
          <p:spPr>
            <a:xfrm>
              <a:off x="10650420" y="4243113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1" name="Shape14_20220929_150630">
              <a:extLst>
                <a:ext uri="{FF2B5EF4-FFF2-40B4-BE49-F238E27FC236}">
                  <a16:creationId xmlns:a16="http://schemas.microsoft.com/office/drawing/2014/main" id="{4DED9B79-AE33-38C3-DA30-6B58B18836A0}"/>
                </a:ext>
              </a:extLst>
            </p:cNvPr>
            <p:cNvSpPr/>
            <p:nvPr/>
          </p:nvSpPr>
          <p:spPr>
            <a:xfrm>
              <a:off x="10650420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5_20220929_150630">
              <a:extLst>
                <a:ext uri="{FF2B5EF4-FFF2-40B4-BE49-F238E27FC236}">
                  <a16:creationId xmlns:a16="http://schemas.microsoft.com/office/drawing/2014/main" id="{D2BA1812-8C7B-87F7-8E0C-54616A606B94}"/>
                </a:ext>
              </a:extLst>
            </p:cNvPr>
            <p:cNvSpPr/>
            <p:nvPr/>
          </p:nvSpPr>
          <p:spPr>
            <a:xfrm>
              <a:off x="10650420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3" name="Shape5_20220929_150622">
              <a:extLst>
                <a:ext uri="{FF2B5EF4-FFF2-40B4-BE49-F238E27FC236}">
                  <a16:creationId xmlns:a16="http://schemas.microsoft.com/office/drawing/2014/main" id="{9F8652B6-AD3D-3708-817D-811EA5DE7295}"/>
                </a:ext>
              </a:extLst>
            </p:cNvPr>
            <p:cNvSpPr/>
            <p:nvPr/>
          </p:nvSpPr>
          <p:spPr>
            <a:xfrm>
              <a:off x="5703169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4" name="Shape6_20220929_150622">
              <a:extLst>
                <a:ext uri="{FF2B5EF4-FFF2-40B4-BE49-F238E27FC236}">
                  <a16:creationId xmlns:a16="http://schemas.microsoft.com/office/drawing/2014/main" id="{3D879A9E-C5F7-67CE-5DFD-366D118BC4FC}"/>
                </a:ext>
              </a:extLst>
            </p:cNvPr>
            <p:cNvSpPr/>
            <p:nvPr/>
          </p:nvSpPr>
          <p:spPr>
            <a:xfrm>
              <a:off x="7340182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5" name="Shape7_20220929_150622">
              <a:extLst>
                <a:ext uri="{FF2B5EF4-FFF2-40B4-BE49-F238E27FC236}">
                  <a16:creationId xmlns:a16="http://schemas.microsoft.com/office/drawing/2014/main" id="{07F30228-07F2-F164-C942-ECDF29A55786}"/>
                </a:ext>
              </a:extLst>
            </p:cNvPr>
            <p:cNvSpPr/>
            <p:nvPr/>
          </p:nvSpPr>
          <p:spPr>
            <a:xfrm>
              <a:off x="8977201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6" name="Shape0_20220929_150622">
              <a:extLst>
                <a:ext uri="{FF2B5EF4-FFF2-40B4-BE49-F238E27FC236}">
                  <a16:creationId xmlns:a16="http://schemas.microsoft.com/office/drawing/2014/main" id="{8DD98C9E-F18C-0944-9033-406BC5489E31}"/>
                </a:ext>
              </a:extLst>
            </p:cNvPr>
            <p:cNvSpPr/>
            <p:nvPr/>
          </p:nvSpPr>
          <p:spPr>
            <a:xfrm>
              <a:off x="10621431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8_20220929_150622">
              <a:extLst>
                <a:ext uri="{FF2B5EF4-FFF2-40B4-BE49-F238E27FC236}">
                  <a16:creationId xmlns:a16="http://schemas.microsoft.com/office/drawing/2014/main" id="{0F08578D-DC37-CDB5-D8EB-45F03646AD3C}"/>
                </a:ext>
              </a:extLst>
            </p:cNvPr>
            <p:cNvSpPr/>
            <p:nvPr/>
          </p:nvSpPr>
          <p:spPr>
            <a:xfrm>
              <a:off x="5703169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8" name="Shape9_20220929_150622">
              <a:extLst>
                <a:ext uri="{FF2B5EF4-FFF2-40B4-BE49-F238E27FC236}">
                  <a16:creationId xmlns:a16="http://schemas.microsoft.com/office/drawing/2014/main" id="{0386B716-97FF-D747-9D93-349F2C660708}"/>
                </a:ext>
              </a:extLst>
            </p:cNvPr>
            <p:cNvSpPr/>
            <p:nvPr/>
          </p:nvSpPr>
          <p:spPr>
            <a:xfrm>
              <a:off x="7340182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9" name="Shape10_20220929_150622">
              <a:extLst>
                <a:ext uri="{FF2B5EF4-FFF2-40B4-BE49-F238E27FC236}">
                  <a16:creationId xmlns:a16="http://schemas.microsoft.com/office/drawing/2014/main" id="{162BEEF3-4E3C-1DE4-9076-16E5FBDAEACF}"/>
                </a:ext>
              </a:extLst>
            </p:cNvPr>
            <p:cNvSpPr/>
            <p:nvPr/>
          </p:nvSpPr>
          <p:spPr>
            <a:xfrm>
              <a:off x="8977201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0" name="Shape11_20220929_150622">
              <a:extLst>
                <a:ext uri="{FF2B5EF4-FFF2-40B4-BE49-F238E27FC236}">
                  <a16:creationId xmlns:a16="http://schemas.microsoft.com/office/drawing/2014/main" id="{4CBFFD7E-1324-DD6A-D313-EEA19CDF4B4E}"/>
                </a:ext>
              </a:extLst>
            </p:cNvPr>
            <p:cNvSpPr/>
            <p:nvPr/>
          </p:nvSpPr>
          <p:spPr>
            <a:xfrm>
              <a:off x="10621431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F16D4FE1-7FAB-F186-5C69-809F5FEC691B}"/>
                </a:ext>
              </a:extLst>
            </p:cNvPr>
            <p:cNvGrpSpPr/>
            <p:nvPr/>
          </p:nvGrpSpPr>
          <p:grpSpPr>
            <a:xfrm>
              <a:off x="5732156" y="2802347"/>
              <a:ext cx="86641" cy="99071"/>
              <a:chOff x="5637424" y="3274525"/>
              <a:chExt cx="91469" cy="104023"/>
            </a:xfrm>
          </p:grpSpPr>
          <p:sp>
            <p:nvSpPr>
              <p:cNvPr id="72" name="Google Shape;3752;p66">
                <a:extLst>
                  <a:ext uri="{FF2B5EF4-FFF2-40B4-BE49-F238E27FC236}">
                    <a16:creationId xmlns:a16="http://schemas.microsoft.com/office/drawing/2014/main" id="{1E1142B9-81D4-F9D5-5ED4-2A5472ECF9CB}"/>
                  </a:ext>
                </a:extLst>
              </p:cNvPr>
              <p:cNvSpPr/>
              <p:nvPr/>
            </p:nvSpPr>
            <p:spPr>
              <a:xfrm>
                <a:off x="5637424" y="3274525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3" name="Google Shape;3753;p66">
                <a:extLst>
                  <a:ext uri="{FF2B5EF4-FFF2-40B4-BE49-F238E27FC236}">
                    <a16:creationId xmlns:a16="http://schemas.microsoft.com/office/drawing/2014/main" id="{444CFE64-82D0-DF85-3C8F-6067B9D29120}"/>
                  </a:ext>
                </a:extLst>
              </p:cNvPr>
              <p:cNvSpPr/>
              <p:nvPr/>
            </p:nvSpPr>
            <p:spPr>
              <a:xfrm>
                <a:off x="5637424" y="3274525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74" name="Shape12_20220929_150622">
              <a:extLst>
                <a:ext uri="{FF2B5EF4-FFF2-40B4-BE49-F238E27FC236}">
                  <a16:creationId xmlns:a16="http://schemas.microsoft.com/office/drawing/2014/main" id="{D1B823CC-F921-8777-7BFA-01A1F093D336}"/>
                </a:ext>
              </a:extLst>
            </p:cNvPr>
            <p:cNvSpPr/>
            <p:nvPr/>
          </p:nvSpPr>
          <p:spPr>
            <a:xfrm>
              <a:off x="7340182" y="2797768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5" name="Shape13_20220929_150622">
              <a:extLst>
                <a:ext uri="{FF2B5EF4-FFF2-40B4-BE49-F238E27FC236}">
                  <a16:creationId xmlns:a16="http://schemas.microsoft.com/office/drawing/2014/main" id="{892ABAC7-0BEC-369B-F734-9FE341921858}"/>
                </a:ext>
              </a:extLst>
            </p:cNvPr>
            <p:cNvSpPr/>
            <p:nvPr/>
          </p:nvSpPr>
          <p:spPr>
            <a:xfrm>
              <a:off x="8977201" y="2782901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421DA8D1-1F6E-CBBC-CD34-83CC7BF36F8E}"/>
                </a:ext>
              </a:extLst>
            </p:cNvPr>
            <p:cNvGrpSpPr/>
            <p:nvPr/>
          </p:nvGrpSpPr>
          <p:grpSpPr>
            <a:xfrm>
              <a:off x="10650420" y="2802348"/>
              <a:ext cx="86641" cy="99071"/>
              <a:chOff x="10829757" y="3274526"/>
              <a:chExt cx="91469" cy="104023"/>
            </a:xfrm>
          </p:grpSpPr>
          <p:sp>
            <p:nvSpPr>
              <p:cNvPr id="77" name="Google Shape;3843;p66">
                <a:extLst>
                  <a:ext uri="{FF2B5EF4-FFF2-40B4-BE49-F238E27FC236}">
                    <a16:creationId xmlns:a16="http://schemas.microsoft.com/office/drawing/2014/main" id="{4845525F-41AA-9F76-8CC8-8D120BAD1FD5}"/>
                  </a:ext>
                </a:extLst>
              </p:cNvPr>
              <p:cNvSpPr/>
              <p:nvPr/>
            </p:nvSpPr>
            <p:spPr>
              <a:xfrm>
                <a:off x="10829757" y="3274526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8" name="Google Shape;3844;p66">
                <a:extLst>
                  <a:ext uri="{FF2B5EF4-FFF2-40B4-BE49-F238E27FC236}">
                    <a16:creationId xmlns:a16="http://schemas.microsoft.com/office/drawing/2014/main" id="{C04A97A1-A3A5-86F0-3F0F-72A2C7136CCE}"/>
                  </a:ext>
                </a:extLst>
              </p:cNvPr>
              <p:cNvSpPr/>
              <p:nvPr/>
            </p:nvSpPr>
            <p:spPr>
              <a:xfrm>
                <a:off x="10829757" y="3274526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236B745C-CD59-56E6-9A55-19BBE97A6346}"/>
                </a:ext>
              </a:extLst>
            </p:cNvPr>
            <p:cNvGrpSpPr/>
            <p:nvPr/>
          </p:nvGrpSpPr>
          <p:grpSpPr>
            <a:xfrm>
              <a:off x="5732156" y="3162543"/>
              <a:ext cx="86641" cy="99071"/>
              <a:chOff x="5637424" y="3652727"/>
              <a:chExt cx="91469" cy="104023"/>
            </a:xfrm>
          </p:grpSpPr>
          <p:sp>
            <p:nvSpPr>
              <p:cNvPr id="80" name="Google Shape;3749;p66">
                <a:extLst>
                  <a:ext uri="{FF2B5EF4-FFF2-40B4-BE49-F238E27FC236}">
                    <a16:creationId xmlns:a16="http://schemas.microsoft.com/office/drawing/2014/main" id="{06994C27-87BE-0726-E34D-408EB4775B04}"/>
                  </a:ext>
                </a:extLst>
              </p:cNvPr>
              <p:cNvSpPr/>
              <p:nvPr/>
            </p:nvSpPr>
            <p:spPr>
              <a:xfrm>
                <a:off x="5637424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1" name="Google Shape;3750;p66">
                <a:extLst>
                  <a:ext uri="{FF2B5EF4-FFF2-40B4-BE49-F238E27FC236}">
                    <a16:creationId xmlns:a16="http://schemas.microsoft.com/office/drawing/2014/main" id="{97719EBC-6F35-0969-F458-2D5B2011054E}"/>
                  </a:ext>
                </a:extLst>
              </p:cNvPr>
              <p:cNvSpPr/>
              <p:nvPr/>
            </p:nvSpPr>
            <p:spPr>
              <a:xfrm>
                <a:off x="5637424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82" name="Shape14_20220929_150622">
              <a:extLst>
                <a:ext uri="{FF2B5EF4-FFF2-40B4-BE49-F238E27FC236}">
                  <a16:creationId xmlns:a16="http://schemas.microsoft.com/office/drawing/2014/main" id="{A86400D4-946F-A0E9-FA93-B7930B36CBDF}"/>
                </a:ext>
              </a:extLst>
            </p:cNvPr>
            <p:cNvSpPr/>
            <p:nvPr/>
          </p:nvSpPr>
          <p:spPr>
            <a:xfrm>
              <a:off x="7340182" y="3157963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3" name="Shape15_20220929_150622">
              <a:extLst>
                <a:ext uri="{FF2B5EF4-FFF2-40B4-BE49-F238E27FC236}">
                  <a16:creationId xmlns:a16="http://schemas.microsoft.com/office/drawing/2014/main" id="{27CBF0BC-CB33-01B3-BB9A-8993DC1A857E}"/>
                </a:ext>
              </a:extLst>
            </p:cNvPr>
            <p:cNvSpPr/>
            <p:nvPr/>
          </p:nvSpPr>
          <p:spPr>
            <a:xfrm>
              <a:off x="8977201" y="3139518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8B3B36B2-C6FF-B10D-4F6B-E23BA1A7844B}"/>
                </a:ext>
              </a:extLst>
            </p:cNvPr>
            <p:cNvGrpSpPr/>
            <p:nvPr/>
          </p:nvGrpSpPr>
          <p:grpSpPr>
            <a:xfrm>
              <a:off x="10650420" y="3162543"/>
              <a:ext cx="86641" cy="99071"/>
              <a:chOff x="10829757" y="3652727"/>
              <a:chExt cx="91469" cy="104023"/>
            </a:xfrm>
          </p:grpSpPr>
          <p:sp>
            <p:nvSpPr>
              <p:cNvPr id="85" name="Google Shape;3840;p66">
                <a:extLst>
                  <a:ext uri="{FF2B5EF4-FFF2-40B4-BE49-F238E27FC236}">
                    <a16:creationId xmlns:a16="http://schemas.microsoft.com/office/drawing/2014/main" id="{4B2F3789-CA8D-DF65-BBF1-33379631EE3A}"/>
                  </a:ext>
                </a:extLst>
              </p:cNvPr>
              <p:cNvSpPr/>
              <p:nvPr/>
            </p:nvSpPr>
            <p:spPr>
              <a:xfrm>
                <a:off x="10829757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6" name="Google Shape;3841;p66">
                <a:extLst>
                  <a:ext uri="{FF2B5EF4-FFF2-40B4-BE49-F238E27FC236}">
                    <a16:creationId xmlns:a16="http://schemas.microsoft.com/office/drawing/2014/main" id="{6D51BD4F-9C40-17BA-AA0C-D774545A25D4}"/>
                  </a:ext>
                </a:extLst>
              </p:cNvPr>
              <p:cNvSpPr/>
              <p:nvPr/>
            </p:nvSpPr>
            <p:spPr>
              <a:xfrm>
                <a:off x="10829757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169C8642-F4C1-717C-6E88-5D22D5919AB3}"/>
                </a:ext>
              </a:extLst>
            </p:cNvPr>
            <p:cNvGrpSpPr/>
            <p:nvPr/>
          </p:nvGrpSpPr>
          <p:grpSpPr>
            <a:xfrm>
              <a:off x="5732156" y="3522724"/>
              <a:ext cx="86641" cy="99071"/>
              <a:chOff x="5637424" y="4030911"/>
              <a:chExt cx="91469" cy="104023"/>
            </a:xfrm>
          </p:grpSpPr>
          <p:sp>
            <p:nvSpPr>
              <p:cNvPr id="88" name="Google Shape;3746;p66">
                <a:extLst>
                  <a:ext uri="{FF2B5EF4-FFF2-40B4-BE49-F238E27FC236}">
                    <a16:creationId xmlns:a16="http://schemas.microsoft.com/office/drawing/2014/main" id="{E1704C18-703C-4629-F979-421E162A6FC7}"/>
                  </a:ext>
                </a:extLst>
              </p:cNvPr>
              <p:cNvSpPr/>
              <p:nvPr/>
            </p:nvSpPr>
            <p:spPr>
              <a:xfrm>
                <a:off x="5637424" y="4030945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9" name="Google Shape;3747;p66">
                <a:extLst>
                  <a:ext uri="{FF2B5EF4-FFF2-40B4-BE49-F238E27FC236}">
                    <a16:creationId xmlns:a16="http://schemas.microsoft.com/office/drawing/2014/main" id="{2C7A5516-4EE1-643D-C255-B62090F37E88}"/>
                  </a:ext>
                </a:extLst>
              </p:cNvPr>
              <p:cNvSpPr/>
              <p:nvPr/>
            </p:nvSpPr>
            <p:spPr>
              <a:xfrm>
                <a:off x="5637424" y="4030911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3F095598-54B7-5260-167A-7382B3E0F53D}"/>
                </a:ext>
              </a:extLst>
            </p:cNvPr>
            <p:cNvGrpSpPr/>
            <p:nvPr/>
          </p:nvGrpSpPr>
          <p:grpSpPr>
            <a:xfrm>
              <a:off x="7369174" y="3522724"/>
              <a:ext cx="86641" cy="99071"/>
              <a:chOff x="7365663" y="4030911"/>
              <a:chExt cx="91469" cy="104023"/>
            </a:xfrm>
          </p:grpSpPr>
          <p:sp>
            <p:nvSpPr>
              <p:cNvPr id="91" name="Google Shape;3780;p66">
                <a:extLst>
                  <a:ext uri="{FF2B5EF4-FFF2-40B4-BE49-F238E27FC236}">
                    <a16:creationId xmlns:a16="http://schemas.microsoft.com/office/drawing/2014/main" id="{67E97C35-AE0C-1363-E0E1-50B0BB6CA429}"/>
                  </a:ext>
                </a:extLst>
              </p:cNvPr>
              <p:cNvSpPr/>
              <p:nvPr/>
            </p:nvSpPr>
            <p:spPr>
              <a:xfrm>
                <a:off x="7365663" y="4030945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92" name="Google Shape;3781;p66">
                <a:extLst>
                  <a:ext uri="{FF2B5EF4-FFF2-40B4-BE49-F238E27FC236}">
                    <a16:creationId xmlns:a16="http://schemas.microsoft.com/office/drawing/2014/main" id="{D26C2C47-3B6F-41CA-9532-72B4CA72C2CC}"/>
                  </a:ext>
                </a:extLst>
              </p:cNvPr>
              <p:cNvSpPr/>
              <p:nvPr/>
            </p:nvSpPr>
            <p:spPr>
              <a:xfrm>
                <a:off x="7365663" y="4030911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93" name="Shape16_20220929_150622">
              <a:extLst>
                <a:ext uri="{FF2B5EF4-FFF2-40B4-BE49-F238E27FC236}">
                  <a16:creationId xmlns:a16="http://schemas.microsoft.com/office/drawing/2014/main" id="{B7B793FF-A1C0-81D1-D32B-480E92F8DFE2}"/>
                </a:ext>
              </a:extLst>
            </p:cNvPr>
            <p:cNvSpPr/>
            <p:nvPr/>
          </p:nvSpPr>
          <p:spPr>
            <a:xfrm>
              <a:off x="8977201" y="349613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1CFB0B9-2DCC-51AF-CAED-7CA50AD28C6B}"/>
                </a:ext>
              </a:extLst>
            </p:cNvPr>
            <p:cNvGrpSpPr/>
            <p:nvPr/>
          </p:nvGrpSpPr>
          <p:grpSpPr>
            <a:xfrm>
              <a:off x="10650420" y="3522724"/>
              <a:ext cx="86641" cy="99071"/>
              <a:chOff x="10829757" y="4030911"/>
              <a:chExt cx="91469" cy="104023"/>
            </a:xfrm>
          </p:grpSpPr>
          <p:sp>
            <p:nvSpPr>
              <p:cNvPr id="95" name="Google Shape;3837;p66">
                <a:extLst>
                  <a:ext uri="{FF2B5EF4-FFF2-40B4-BE49-F238E27FC236}">
                    <a16:creationId xmlns:a16="http://schemas.microsoft.com/office/drawing/2014/main" id="{57D6B6EA-FCEE-A452-B541-24FEB6639838}"/>
                  </a:ext>
                </a:extLst>
              </p:cNvPr>
              <p:cNvSpPr/>
              <p:nvPr/>
            </p:nvSpPr>
            <p:spPr>
              <a:xfrm>
                <a:off x="10829757" y="4030945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96" name="Google Shape;3838;p66">
                <a:extLst>
                  <a:ext uri="{FF2B5EF4-FFF2-40B4-BE49-F238E27FC236}">
                    <a16:creationId xmlns:a16="http://schemas.microsoft.com/office/drawing/2014/main" id="{EA75997A-6D3C-1B35-EBCE-9952306E7474}"/>
                  </a:ext>
                </a:extLst>
              </p:cNvPr>
              <p:cNvSpPr/>
              <p:nvPr/>
            </p:nvSpPr>
            <p:spPr>
              <a:xfrm>
                <a:off x="10829757" y="4030911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cxnSp>
          <p:nvCxnSpPr>
            <p:cNvPr id="97" name="Google Shape;3754;p66">
              <a:extLst>
                <a:ext uri="{FF2B5EF4-FFF2-40B4-BE49-F238E27FC236}">
                  <a16:creationId xmlns:a16="http://schemas.microsoft.com/office/drawing/2014/main" id="{3966ADF2-204C-50A3-1AFF-C7222100E921}"/>
                </a:ext>
              </a:extLst>
            </p:cNvPr>
            <p:cNvCxnSpPr>
              <a:cxnSpLocks/>
            </p:cNvCxnSpPr>
            <p:nvPr/>
          </p:nvCxnSpPr>
          <p:spPr>
            <a:xfrm>
              <a:off x="5055869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8" name="Google Shape;3782;p66">
              <a:extLst>
                <a:ext uri="{FF2B5EF4-FFF2-40B4-BE49-F238E27FC236}">
                  <a16:creationId xmlns:a16="http://schemas.microsoft.com/office/drawing/2014/main" id="{80AEF785-0AD3-EA8D-1BF9-BE7030771530}"/>
                </a:ext>
              </a:extLst>
            </p:cNvPr>
            <p:cNvCxnSpPr>
              <a:cxnSpLocks/>
            </p:cNvCxnSpPr>
            <p:nvPr/>
          </p:nvCxnSpPr>
          <p:spPr>
            <a:xfrm>
              <a:off x="6692884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9" name="Google Shape;3804;p66">
              <a:extLst>
                <a:ext uri="{FF2B5EF4-FFF2-40B4-BE49-F238E27FC236}">
                  <a16:creationId xmlns:a16="http://schemas.microsoft.com/office/drawing/2014/main" id="{284D32B2-C375-576D-A19F-1B49DFC51AF1}"/>
                </a:ext>
              </a:extLst>
            </p:cNvPr>
            <p:cNvCxnSpPr>
              <a:cxnSpLocks/>
            </p:cNvCxnSpPr>
            <p:nvPr/>
          </p:nvCxnSpPr>
          <p:spPr>
            <a:xfrm>
              <a:off x="8329899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0" name="Google Shape;3845;p66">
              <a:extLst>
                <a:ext uri="{FF2B5EF4-FFF2-40B4-BE49-F238E27FC236}">
                  <a16:creationId xmlns:a16="http://schemas.microsoft.com/office/drawing/2014/main" id="{47A56DC2-8858-8D06-4B4B-9FE1D3B9FB6B}"/>
                </a:ext>
              </a:extLst>
            </p:cNvPr>
            <p:cNvCxnSpPr>
              <a:cxnSpLocks/>
            </p:cNvCxnSpPr>
            <p:nvPr/>
          </p:nvCxnSpPr>
          <p:spPr>
            <a:xfrm>
              <a:off x="9974130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1" name="Google Shape;3755;p66">
              <a:extLst>
                <a:ext uri="{FF2B5EF4-FFF2-40B4-BE49-F238E27FC236}">
                  <a16:creationId xmlns:a16="http://schemas.microsoft.com/office/drawing/2014/main" id="{55D73274-930B-7E47-C265-3CC8B1928400}"/>
                </a:ext>
              </a:extLst>
            </p:cNvPr>
            <p:cNvCxnSpPr/>
            <p:nvPr/>
          </p:nvCxnSpPr>
          <p:spPr>
            <a:xfrm>
              <a:off x="5055869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2" name="Google Shape;3783;p66">
              <a:extLst>
                <a:ext uri="{FF2B5EF4-FFF2-40B4-BE49-F238E27FC236}">
                  <a16:creationId xmlns:a16="http://schemas.microsoft.com/office/drawing/2014/main" id="{B32E07A8-1171-D5CC-F0F0-73A7938513E0}"/>
                </a:ext>
              </a:extLst>
            </p:cNvPr>
            <p:cNvCxnSpPr/>
            <p:nvPr/>
          </p:nvCxnSpPr>
          <p:spPr>
            <a:xfrm>
              <a:off x="6692884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3" name="Google Shape;3805;p66">
              <a:extLst>
                <a:ext uri="{FF2B5EF4-FFF2-40B4-BE49-F238E27FC236}">
                  <a16:creationId xmlns:a16="http://schemas.microsoft.com/office/drawing/2014/main" id="{F45FF4A7-0A37-54E7-652D-247058F40BB0}"/>
                </a:ext>
              </a:extLst>
            </p:cNvPr>
            <p:cNvCxnSpPr/>
            <p:nvPr/>
          </p:nvCxnSpPr>
          <p:spPr>
            <a:xfrm>
              <a:off x="8329899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4" name="Google Shape;3846;p66">
              <a:extLst>
                <a:ext uri="{FF2B5EF4-FFF2-40B4-BE49-F238E27FC236}">
                  <a16:creationId xmlns:a16="http://schemas.microsoft.com/office/drawing/2014/main" id="{B83FDB1F-902E-02EF-12B7-6FA4FC0C9F4D}"/>
                </a:ext>
              </a:extLst>
            </p:cNvPr>
            <p:cNvCxnSpPr/>
            <p:nvPr/>
          </p:nvCxnSpPr>
          <p:spPr>
            <a:xfrm>
              <a:off x="9974130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5" name="Google Shape;3756;p66">
              <a:extLst>
                <a:ext uri="{FF2B5EF4-FFF2-40B4-BE49-F238E27FC236}">
                  <a16:creationId xmlns:a16="http://schemas.microsoft.com/office/drawing/2014/main" id="{424BC8BE-FE73-970F-D21C-5052A7420ABA}"/>
                </a:ext>
              </a:extLst>
            </p:cNvPr>
            <p:cNvCxnSpPr/>
            <p:nvPr/>
          </p:nvCxnSpPr>
          <p:spPr>
            <a:xfrm>
              <a:off x="5055869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6" name="Google Shape;3784;p66">
              <a:extLst>
                <a:ext uri="{FF2B5EF4-FFF2-40B4-BE49-F238E27FC236}">
                  <a16:creationId xmlns:a16="http://schemas.microsoft.com/office/drawing/2014/main" id="{5A656CC9-8A72-F938-353F-7BCE53CC19CF}"/>
                </a:ext>
              </a:extLst>
            </p:cNvPr>
            <p:cNvCxnSpPr/>
            <p:nvPr/>
          </p:nvCxnSpPr>
          <p:spPr>
            <a:xfrm>
              <a:off x="6692884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7" name="Google Shape;3806;p66">
              <a:extLst>
                <a:ext uri="{FF2B5EF4-FFF2-40B4-BE49-F238E27FC236}">
                  <a16:creationId xmlns:a16="http://schemas.microsoft.com/office/drawing/2014/main" id="{1A53600E-AC62-F3F4-42B2-F6D2B595500C}"/>
                </a:ext>
              </a:extLst>
            </p:cNvPr>
            <p:cNvCxnSpPr/>
            <p:nvPr/>
          </p:nvCxnSpPr>
          <p:spPr>
            <a:xfrm>
              <a:off x="8329899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8" name="Google Shape;3847;p66">
              <a:extLst>
                <a:ext uri="{FF2B5EF4-FFF2-40B4-BE49-F238E27FC236}">
                  <a16:creationId xmlns:a16="http://schemas.microsoft.com/office/drawing/2014/main" id="{8E55486B-C772-B3D7-D4FE-71A0E5F20B03}"/>
                </a:ext>
              </a:extLst>
            </p:cNvPr>
            <p:cNvCxnSpPr/>
            <p:nvPr/>
          </p:nvCxnSpPr>
          <p:spPr>
            <a:xfrm>
              <a:off x="9974130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9" name="Google Shape;3757;p66">
              <a:extLst>
                <a:ext uri="{FF2B5EF4-FFF2-40B4-BE49-F238E27FC236}">
                  <a16:creationId xmlns:a16="http://schemas.microsoft.com/office/drawing/2014/main" id="{3D5D4FF2-D456-82A5-E63C-7BB3F83A7525}"/>
                </a:ext>
              </a:extLst>
            </p:cNvPr>
            <p:cNvCxnSpPr/>
            <p:nvPr/>
          </p:nvCxnSpPr>
          <p:spPr>
            <a:xfrm>
              <a:off x="5055869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0" name="Google Shape;3785;p66">
              <a:extLst>
                <a:ext uri="{FF2B5EF4-FFF2-40B4-BE49-F238E27FC236}">
                  <a16:creationId xmlns:a16="http://schemas.microsoft.com/office/drawing/2014/main" id="{B29A231B-3D7E-E0FE-6C2E-F5E8E2D66941}"/>
                </a:ext>
              </a:extLst>
            </p:cNvPr>
            <p:cNvCxnSpPr/>
            <p:nvPr/>
          </p:nvCxnSpPr>
          <p:spPr>
            <a:xfrm>
              <a:off x="6692884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1" name="Google Shape;3807;p66">
              <a:extLst>
                <a:ext uri="{FF2B5EF4-FFF2-40B4-BE49-F238E27FC236}">
                  <a16:creationId xmlns:a16="http://schemas.microsoft.com/office/drawing/2014/main" id="{00199B9C-D7D7-6DCE-AC7D-A3D47F2FF6B7}"/>
                </a:ext>
              </a:extLst>
            </p:cNvPr>
            <p:cNvCxnSpPr/>
            <p:nvPr/>
          </p:nvCxnSpPr>
          <p:spPr>
            <a:xfrm>
              <a:off x="8329899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2" name="Google Shape;3848;p66">
              <a:extLst>
                <a:ext uri="{FF2B5EF4-FFF2-40B4-BE49-F238E27FC236}">
                  <a16:creationId xmlns:a16="http://schemas.microsoft.com/office/drawing/2014/main" id="{944BBDAA-7F5B-B30F-3502-8518FC06EA23}"/>
                </a:ext>
              </a:extLst>
            </p:cNvPr>
            <p:cNvCxnSpPr/>
            <p:nvPr/>
          </p:nvCxnSpPr>
          <p:spPr>
            <a:xfrm>
              <a:off x="9974130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3" name="Google Shape;3758;p66">
              <a:extLst>
                <a:ext uri="{FF2B5EF4-FFF2-40B4-BE49-F238E27FC236}">
                  <a16:creationId xmlns:a16="http://schemas.microsoft.com/office/drawing/2014/main" id="{6B560711-8DF2-98B1-EEF8-E5DECB83ADA6}"/>
                </a:ext>
              </a:extLst>
            </p:cNvPr>
            <p:cNvCxnSpPr/>
            <p:nvPr/>
          </p:nvCxnSpPr>
          <p:spPr>
            <a:xfrm>
              <a:off x="5055869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4" name="Google Shape;3786;p66">
              <a:extLst>
                <a:ext uri="{FF2B5EF4-FFF2-40B4-BE49-F238E27FC236}">
                  <a16:creationId xmlns:a16="http://schemas.microsoft.com/office/drawing/2014/main" id="{43465190-0D58-800D-1838-20994286B101}"/>
                </a:ext>
              </a:extLst>
            </p:cNvPr>
            <p:cNvCxnSpPr/>
            <p:nvPr/>
          </p:nvCxnSpPr>
          <p:spPr>
            <a:xfrm>
              <a:off x="6692884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5" name="Google Shape;3808;p66">
              <a:extLst>
                <a:ext uri="{FF2B5EF4-FFF2-40B4-BE49-F238E27FC236}">
                  <a16:creationId xmlns:a16="http://schemas.microsoft.com/office/drawing/2014/main" id="{BA10DF7E-63A5-DE87-3F1E-47DD369D5235}"/>
                </a:ext>
              </a:extLst>
            </p:cNvPr>
            <p:cNvCxnSpPr/>
            <p:nvPr/>
          </p:nvCxnSpPr>
          <p:spPr>
            <a:xfrm>
              <a:off x="8329899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6" name="Google Shape;3849;p66">
              <a:extLst>
                <a:ext uri="{FF2B5EF4-FFF2-40B4-BE49-F238E27FC236}">
                  <a16:creationId xmlns:a16="http://schemas.microsoft.com/office/drawing/2014/main" id="{B7F04F06-704E-D960-0B41-51DB85777838}"/>
                </a:ext>
              </a:extLst>
            </p:cNvPr>
            <p:cNvCxnSpPr/>
            <p:nvPr/>
          </p:nvCxnSpPr>
          <p:spPr>
            <a:xfrm>
              <a:off x="9974130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7" name="Google Shape;3759;p66">
              <a:extLst>
                <a:ext uri="{FF2B5EF4-FFF2-40B4-BE49-F238E27FC236}">
                  <a16:creationId xmlns:a16="http://schemas.microsoft.com/office/drawing/2014/main" id="{8253E13C-8254-44BE-ED68-29797F6FC70F}"/>
                </a:ext>
              </a:extLst>
            </p:cNvPr>
            <p:cNvCxnSpPr/>
            <p:nvPr/>
          </p:nvCxnSpPr>
          <p:spPr>
            <a:xfrm>
              <a:off x="5055869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8" name="Google Shape;3787;p66">
              <a:extLst>
                <a:ext uri="{FF2B5EF4-FFF2-40B4-BE49-F238E27FC236}">
                  <a16:creationId xmlns:a16="http://schemas.microsoft.com/office/drawing/2014/main" id="{583E1234-E53D-4372-8375-3AAAF465C6E5}"/>
                </a:ext>
              </a:extLst>
            </p:cNvPr>
            <p:cNvCxnSpPr/>
            <p:nvPr/>
          </p:nvCxnSpPr>
          <p:spPr>
            <a:xfrm>
              <a:off x="6692884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9" name="Google Shape;3809;p66">
              <a:extLst>
                <a:ext uri="{FF2B5EF4-FFF2-40B4-BE49-F238E27FC236}">
                  <a16:creationId xmlns:a16="http://schemas.microsoft.com/office/drawing/2014/main" id="{28129E2E-DD8C-3B0D-671A-2ADB29303AEA}"/>
                </a:ext>
              </a:extLst>
            </p:cNvPr>
            <p:cNvCxnSpPr/>
            <p:nvPr/>
          </p:nvCxnSpPr>
          <p:spPr>
            <a:xfrm>
              <a:off x="8329899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0" name="Google Shape;3850;p66">
              <a:extLst>
                <a:ext uri="{FF2B5EF4-FFF2-40B4-BE49-F238E27FC236}">
                  <a16:creationId xmlns:a16="http://schemas.microsoft.com/office/drawing/2014/main" id="{1AA03692-B564-C62B-DD15-37EFEB3A40DB}"/>
                </a:ext>
              </a:extLst>
            </p:cNvPr>
            <p:cNvCxnSpPr/>
            <p:nvPr/>
          </p:nvCxnSpPr>
          <p:spPr>
            <a:xfrm>
              <a:off x="9974130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1" name="Google Shape;3760;p66">
              <a:extLst>
                <a:ext uri="{FF2B5EF4-FFF2-40B4-BE49-F238E27FC236}">
                  <a16:creationId xmlns:a16="http://schemas.microsoft.com/office/drawing/2014/main" id="{D6451AA5-58A5-49C2-78CD-582FFF946163}"/>
                </a:ext>
              </a:extLst>
            </p:cNvPr>
            <p:cNvCxnSpPr/>
            <p:nvPr/>
          </p:nvCxnSpPr>
          <p:spPr>
            <a:xfrm>
              <a:off x="5055869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2" name="Google Shape;3788;p66">
              <a:extLst>
                <a:ext uri="{FF2B5EF4-FFF2-40B4-BE49-F238E27FC236}">
                  <a16:creationId xmlns:a16="http://schemas.microsoft.com/office/drawing/2014/main" id="{767929F1-4EF8-6C21-6BE2-E9C09C5C1240}"/>
                </a:ext>
              </a:extLst>
            </p:cNvPr>
            <p:cNvCxnSpPr/>
            <p:nvPr/>
          </p:nvCxnSpPr>
          <p:spPr>
            <a:xfrm>
              <a:off x="6692884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3" name="Google Shape;3810;p66">
              <a:extLst>
                <a:ext uri="{FF2B5EF4-FFF2-40B4-BE49-F238E27FC236}">
                  <a16:creationId xmlns:a16="http://schemas.microsoft.com/office/drawing/2014/main" id="{58E056B2-0B51-8E62-04D5-CFCAA369C2E9}"/>
                </a:ext>
              </a:extLst>
            </p:cNvPr>
            <p:cNvCxnSpPr/>
            <p:nvPr/>
          </p:nvCxnSpPr>
          <p:spPr>
            <a:xfrm>
              <a:off x="8329899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4" name="Google Shape;3851;p66">
              <a:extLst>
                <a:ext uri="{FF2B5EF4-FFF2-40B4-BE49-F238E27FC236}">
                  <a16:creationId xmlns:a16="http://schemas.microsoft.com/office/drawing/2014/main" id="{14B77E36-AA75-3E31-06F2-02FD4B92E670}"/>
                </a:ext>
              </a:extLst>
            </p:cNvPr>
            <p:cNvCxnSpPr/>
            <p:nvPr/>
          </p:nvCxnSpPr>
          <p:spPr>
            <a:xfrm>
              <a:off x="9974130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5" name="Google Shape;3761;p66">
              <a:extLst>
                <a:ext uri="{FF2B5EF4-FFF2-40B4-BE49-F238E27FC236}">
                  <a16:creationId xmlns:a16="http://schemas.microsoft.com/office/drawing/2014/main" id="{ECCFDD88-B094-6810-C070-C614053D0E84}"/>
                </a:ext>
              </a:extLst>
            </p:cNvPr>
            <p:cNvCxnSpPr/>
            <p:nvPr/>
          </p:nvCxnSpPr>
          <p:spPr>
            <a:xfrm>
              <a:off x="5055869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6" name="Google Shape;3789;p66">
              <a:extLst>
                <a:ext uri="{FF2B5EF4-FFF2-40B4-BE49-F238E27FC236}">
                  <a16:creationId xmlns:a16="http://schemas.microsoft.com/office/drawing/2014/main" id="{C964ABD8-DA93-E2B8-E1DD-72A264AC87B2}"/>
                </a:ext>
              </a:extLst>
            </p:cNvPr>
            <p:cNvCxnSpPr/>
            <p:nvPr/>
          </p:nvCxnSpPr>
          <p:spPr>
            <a:xfrm>
              <a:off x="6692884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7" name="Google Shape;3811;p66">
              <a:extLst>
                <a:ext uri="{FF2B5EF4-FFF2-40B4-BE49-F238E27FC236}">
                  <a16:creationId xmlns:a16="http://schemas.microsoft.com/office/drawing/2014/main" id="{5E4A45D6-C888-135A-453E-AAE1ED5F97C1}"/>
                </a:ext>
              </a:extLst>
            </p:cNvPr>
            <p:cNvCxnSpPr/>
            <p:nvPr/>
          </p:nvCxnSpPr>
          <p:spPr>
            <a:xfrm>
              <a:off x="8329899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8" name="Google Shape;3852;p66">
              <a:extLst>
                <a:ext uri="{FF2B5EF4-FFF2-40B4-BE49-F238E27FC236}">
                  <a16:creationId xmlns:a16="http://schemas.microsoft.com/office/drawing/2014/main" id="{32D80B8D-0089-D14E-FE0A-29F029E42E52}"/>
                </a:ext>
              </a:extLst>
            </p:cNvPr>
            <p:cNvCxnSpPr/>
            <p:nvPr/>
          </p:nvCxnSpPr>
          <p:spPr>
            <a:xfrm>
              <a:off x="9974130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29516568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3E9BBC-BCA4-53F8-5D80-2FA7FAC76C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4BFE519-9D81-7462-B7C3-3F4F41BC9D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BFE519-9D81-7462-B7C3-3F4F41BC9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F98A4A-FD20-09DF-CBEB-26CF370C6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71737CC-8660-B978-4283-38527AC478F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9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5CDB6578-48B6-420A-FC9B-08F61FACFD4D}"/>
              </a:ext>
            </a:extLst>
          </p:cNvPr>
          <p:cNvGrpSpPr/>
          <p:nvPr/>
        </p:nvGrpSpPr>
        <p:grpSpPr>
          <a:xfrm>
            <a:off x="839683" y="1066799"/>
            <a:ext cx="10667999" cy="4998333"/>
            <a:chOff x="839683" y="1066800"/>
            <a:chExt cx="10667999" cy="4362026"/>
          </a:xfrm>
        </p:grpSpPr>
        <p:sp>
          <p:nvSpPr>
            <p:cNvPr id="3" name="Shape1_20220929_150716">
              <a:extLst>
                <a:ext uri="{FF2B5EF4-FFF2-40B4-BE49-F238E27FC236}">
                  <a16:creationId xmlns:a16="http://schemas.microsoft.com/office/drawing/2014/main" id="{393820EA-6427-A108-E88B-3FB75D19ACE5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2;p66">
              <a:extLst>
                <a:ext uri="{FF2B5EF4-FFF2-40B4-BE49-F238E27FC236}">
                  <a16:creationId xmlns:a16="http://schemas.microsoft.com/office/drawing/2014/main" id="{3E9375C7-72FA-41C6-6254-3A9E3716F1E8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8;p66">
              <a:extLst>
                <a:ext uri="{FF2B5EF4-FFF2-40B4-BE49-F238E27FC236}">
                  <a16:creationId xmlns:a16="http://schemas.microsoft.com/office/drawing/2014/main" id="{23067C20-DE78-42AE-C96B-7B85E8446866}"/>
                </a:ext>
              </a:extLst>
            </p:cNvPr>
            <p:cNvSpPr txBox="1"/>
            <p:nvPr/>
          </p:nvSpPr>
          <p:spPr>
            <a:xfrm>
              <a:off x="1030584" y="383370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19;p66">
              <a:extLst>
                <a:ext uri="{FF2B5EF4-FFF2-40B4-BE49-F238E27FC236}">
                  <a16:creationId xmlns:a16="http://schemas.microsoft.com/office/drawing/2014/main" id="{278B67D9-C94E-48BC-F83F-FB367A1E7EED}"/>
                </a:ext>
              </a:extLst>
            </p:cNvPr>
            <p:cNvSpPr txBox="1"/>
            <p:nvPr/>
          </p:nvSpPr>
          <p:spPr>
            <a:xfrm>
              <a:off x="1030584" y="4193902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20;p66">
              <a:extLst>
                <a:ext uri="{FF2B5EF4-FFF2-40B4-BE49-F238E27FC236}">
                  <a16:creationId xmlns:a16="http://schemas.microsoft.com/office/drawing/2014/main" id="{FCCBE276-268C-2E98-B720-6244281984F5}"/>
                </a:ext>
              </a:extLst>
            </p:cNvPr>
            <p:cNvSpPr txBox="1"/>
            <p:nvPr/>
          </p:nvSpPr>
          <p:spPr>
            <a:xfrm>
              <a:off x="1030584" y="455409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3;p66">
              <a:extLst>
                <a:ext uri="{FF2B5EF4-FFF2-40B4-BE49-F238E27FC236}">
                  <a16:creationId xmlns:a16="http://schemas.microsoft.com/office/drawing/2014/main" id="{9581518F-7601-E2E4-43C1-75E4AC8F282D}"/>
                </a:ext>
              </a:extLst>
            </p:cNvPr>
            <p:cNvSpPr txBox="1"/>
            <p:nvPr/>
          </p:nvSpPr>
          <p:spPr>
            <a:xfrm>
              <a:off x="1030584" y="203272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4;p66">
              <a:extLst>
                <a:ext uri="{FF2B5EF4-FFF2-40B4-BE49-F238E27FC236}">
                  <a16:creationId xmlns:a16="http://schemas.microsoft.com/office/drawing/2014/main" id="{4B895EAE-5F39-CA60-7920-31CE36994307}"/>
                </a:ext>
              </a:extLst>
            </p:cNvPr>
            <p:cNvSpPr txBox="1"/>
            <p:nvPr/>
          </p:nvSpPr>
          <p:spPr>
            <a:xfrm>
              <a:off x="1030584" y="239292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5;p66">
              <a:extLst>
                <a:ext uri="{FF2B5EF4-FFF2-40B4-BE49-F238E27FC236}">
                  <a16:creationId xmlns:a16="http://schemas.microsoft.com/office/drawing/2014/main" id="{40936305-F744-B13E-5F9C-22DB10CC1C10}"/>
                </a:ext>
              </a:extLst>
            </p:cNvPr>
            <p:cNvSpPr txBox="1"/>
            <p:nvPr/>
          </p:nvSpPr>
          <p:spPr>
            <a:xfrm>
              <a:off x="1030584" y="2753118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" name="Google Shape;3716;p66">
              <a:extLst>
                <a:ext uri="{FF2B5EF4-FFF2-40B4-BE49-F238E27FC236}">
                  <a16:creationId xmlns:a16="http://schemas.microsoft.com/office/drawing/2014/main" id="{A66C8F2E-B8CD-E041-8461-01FDE19E592D}"/>
                </a:ext>
              </a:extLst>
            </p:cNvPr>
            <p:cNvSpPr txBox="1"/>
            <p:nvPr/>
          </p:nvSpPr>
          <p:spPr>
            <a:xfrm>
              <a:off x="1030584" y="311331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322AF36A-21A1-5381-BC7B-B3E9A2E033A6}"/>
                </a:ext>
              </a:extLst>
            </p:cNvPr>
            <p:cNvSpPr txBox="1"/>
            <p:nvPr/>
          </p:nvSpPr>
          <p:spPr>
            <a:xfrm>
              <a:off x="1030584" y="3473509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BB85CDAD-0079-309B-C4E8-1C9C5B213B62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97044009-8EAC-B448-E72B-861AC4C389F1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F3456348-E00E-37C9-786F-B463E7BA1526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A483DDF8-3A93-6C0F-2177-9B52DC54B80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D47A199F-EBB5-0939-0FA1-D5D479FB6195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F9155D8B-A004-B9F9-43C4-AB615541BD4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E8FC03AD-2D3B-0210-3BAA-97EF5F070F2D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17737F6E-7136-A47F-7C9A-22A617D1621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2_20220929_150716">
              <a:extLst>
                <a:ext uri="{FF2B5EF4-FFF2-40B4-BE49-F238E27FC236}">
                  <a16:creationId xmlns:a16="http://schemas.microsoft.com/office/drawing/2014/main" id="{6841F7F4-F3B1-F3BF-C286-EC94760579D7}"/>
                </a:ext>
              </a:extLst>
            </p:cNvPr>
            <p:cNvSpPr/>
            <p:nvPr/>
          </p:nvSpPr>
          <p:spPr>
            <a:xfrm>
              <a:off x="7576560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3_20220929_150716">
              <a:extLst>
                <a:ext uri="{FF2B5EF4-FFF2-40B4-BE49-F238E27FC236}">
                  <a16:creationId xmlns:a16="http://schemas.microsoft.com/office/drawing/2014/main" id="{EA60AD26-E44D-40EE-2AB7-475C0EB5044B}"/>
                </a:ext>
              </a:extLst>
            </p:cNvPr>
            <p:cNvSpPr/>
            <p:nvPr/>
          </p:nvSpPr>
          <p:spPr>
            <a:xfrm>
              <a:off x="4947101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52E7AA74-56E3-7033-4272-B766144F8D1C}"/>
                </a:ext>
              </a:extLst>
            </p:cNvPr>
            <p:cNvSpPr/>
            <p:nvPr/>
          </p:nvSpPr>
          <p:spPr>
            <a:xfrm>
              <a:off x="5005265" y="1123919"/>
              <a:ext cx="1197532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525927E0-BABB-E21F-A92F-2F54B4693EB2}"/>
                </a:ext>
              </a:extLst>
            </p:cNvPr>
            <p:cNvSpPr/>
            <p:nvPr/>
          </p:nvSpPr>
          <p:spPr>
            <a:xfrm>
              <a:off x="5010706" y="4933092"/>
              <a:ext cx="1197532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77C15804-FA3D-FE6B-DD07-7614854CA7D2}"/>
                </a:ext>
              </a:extLst>
            </p:cNvPr>
            <p:cNvSpPr txBox="1"/>
            <p:nvPr/>
          </p:nvSpPr>
          <p:spPr>
            <a:xfrm>
              <a:off x="5141213" y="1210814"/>
              <a:ext cx="92563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A48F2773-6C2E-2A15-991D-29E82B66A1E1}"/>
                </a:ext>
              </a:extLst>
            </p:cNvPr>
            <p:cNvSpPr txBox="1"/>
            <p:nvPr/>
          </p:nvSpPr>
          <p:spPr>
            <a:xfrm>
              <a:off x="5209272" y="1548360"/>
              <a:ext cx="789516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1014_120843">
              <a:extLst>
                <a:ext uri="{FF2B5EF4-FFF2-40B4-BE49-F238E27FC236}">
                  <a16:creationId xmlns:a16="http://schemas.microsoft.com/office/drawing/2014/main" id="{668DDEBA-6307-5EEB-B9CB-198218B8CF8D}"/>
                </a:ext>
              </a:extLst>
            </p:cNvPr>
            <p:cNvSpPr/>
            <p:nvPr/>
          </p:nvSpPr>
          <p:spPr>
            <a:xfrm>
              <a:off x="5574830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1014_120843">
              <a:extLst>
                <a:ext uri="{FF2B5EF4-FFF2-40B4-BE49-F238E27FC236}">
                  <a16:creationId xmlns:a16="http://schemas.microsoft.com/office/drawing/2014/main" id="{9291A5C6-67F1-A08C-390C-9ADDCECE87ED}"/>
                </a:ext>
              </a:extLst>
            </p:cNvPr>
            <p:cNvSpPr/>
            <p:nvPr/>
          </p:nvSpPr>
          <p:spPr>
            <a:xfrm>
              <a:off x="5574830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1014_120843">
              <a:extLst>
                <a:ext uri="{FF2B5EF4-FFF2-40B4-BE49-F238E27FC236}">
                  <a16:creationId xmlns:a16="http://schemas.microsoft.com/office/drawing/2014/main" id="{46599DD5-E0C9-8F0D-556F-03E30DFF20E0}"/>
                </a:ext>
              </a:extLst>
            </p:cNvPr>
            <p:cNvSpPr/>
            <p:nvPr/>
          </p:nvSpPr>
          <p:spPr>
            <a:xfrm>
              <a:off x="5574830" y="424314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1014_120843">
              <a:extLst>
                <a:ext uri="{FF2B5EF4-FFF2-40B4-BE49-F238E27FC236}">
                  <a16:creationId xmlns:a16="http://schemas.microsoft.com/office/drawing/2014/main" id="{1BD59053-4621-7457-4751-BF8F633E7B7D}"/>
                </a:ext>
              </a:extLst>
            </p:cNvPr>
            <p:cNvSpPr/>
            <p:nvPr/>
          </p:nvSpPr>
          <p:spPr>
            <a:xfrm>
              <a:off x="5574830" y="4243113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1014_120843">
              <a:extLst>
                <a:ext uri="{FF2B5EF4-FFF2-40B4-BE49-F238E27FC236}">
                  <a16:creationId xmlns:a16="http://schemas.microsoft.com/office/drawing/2014/main" id="{46A6396E-EEA9-FAD2-3FB1-B223E536F854}"/>
                </a:ext>
              </a:extLst>
            </p:cNvPr>
            <p:cNvSpPr/>
            <p:nvPr/>
          </p:nvSpPr>
          <p:spPr>
            <a:xfrm>
              <a:off x="5574830" y="3882936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1014_120843">
              <a:extLst>
                <a:ext uri="{FF2B5EF4-FFF2-40B4-BE49-F238E27FC236}">
                  <a16:creationId xmlns:a16="http://schemas.microsoft.com/office/drawing/2014/main" id="{C1E9C1E5-A397-E27D-593D-29B4F66D73DE}"/>
                </a:ext>
              </a:extLst>
            </p:cNvPr>
            <p:cNvSpPr/>
            <p:nvPr/>
          </p:nvSpPr>
          <p:spPr>
            <a:xfrm>
              <a:off x="5574830" y="3882936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0_20220929_150716">
              <a:extLst>
                <a:ext uri="{FF2B5EF4-FFF2-40B4-BE49-F238E27FC236}">
                  <a16:creationId xmlns:a16="http://schemas.microsoft.com/office/drawing/2014/main" id="{2F97CD24-9F6D-1FB7-9ED3-67AB07F33576}"/>
                </a:ext>
              </a:extLst>
            </p:cNvPr>
            <p:cNvSpPr/>
            <p:nvPr/>
          </p:nvSpPr>
          <p:spPr>
            <a:xfrm>
              <a:off x="6261829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F4075387-C414-A2B5-1330-91F2643D897D}"/>
                </a:ext>
              </a:extLst>
            </p:cNvPr>
            <p:cNvSpPr/>
            <p:nvPr/>
          </p:nvSpPr>
          <p:spPr>
            <a:xfrm>
              <a:off x="6329963" y="1123919"/>
              <a:ext cx="1171498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82B04E77-25EE-00FA-E328-0467A178DD5B}"/>
                </a:ext>
              </a:extLst>
            </p:cNvPr>
            <p:cNvSpPr/>
            <p:nvPr/>
          </p:nvSpPr>
          <p:spPr>
            <a:xfrm>
              <a:off x="6319666" y="4933092"/>
              <a:ext cx="1197532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B7A6F2C6-9C3D-2012-33B7-094D04C7E7D8}"/>
                </a:ext>
              </a:extLst>
            </p:cNvPr>
            <p:cNvSpPr txBox="1"/>
            <p:nvPr/>
          </p:nvSpPr>
          <p:spPr>
            <a:xfrm>
              <a:off x="6452895" y="1210814"/>
              <a:ext cx="92563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FB66F35B-3131-B161-5722-F68F65D4D9F7}"/>
                </a:ext>
              </a:extLst>
            </p:cNvPr>
            <p:cNvSpPr txBox="1"/>
            <p:nvPr/>
          </p:nvSpPr>
          <p:spPr>
            <a:xfrm>
              <a:off x="6520956" y="1548360"/>
              <a:ext cx="789516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1014_120837">
              <a:extLst>
                <a:ext uri="{FF2B5EF4-FFF2-40B4-BE49-F238E27FC236}">
                  <a16:creationId xmlns:a16="http://schemas.microsoft.com/office/drawing/2014/main" id="{D9FFFE2B-4615-7DC1-B027-017837E52B1F}"/>
                </a:ext>
              </a:extLst>
            </p:cNvPr>
            <p:cNvSpPr/>
            <p:nvPr/>
          </p:nvSpPr>
          <p:spPr>
            <a:xfrm>
              <a:off x="6860613" y="3852746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1014_120843">
              <a:extLst>
                <a:ext uri="{FF2B5EF4-FFF2-40B4-BE49-F238E27FC236}">
                  <a16:creationId xmlns:a16="http://schemas.microsoft.com/office/drawing/2014/main" id="{89532485-2A5C-EE6F-D624-AE8A5C6455AD}"/>
                </a:ext>
              </a:extLst>
            </p:cNvPr>
            <p:cNvSpPr/>
            <p:nvPr/>
          </p:nvSpPr>
          <p:spPr>
            <a:xfrm>
              <a:off x="688379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1014_120843">
              <a:extLst>
                <a:ext uri="{FF2B5EF4-FFF2-40B4-BE49-F238E27FC236}">
                  <a16:creationId xmlns:a16="http://schemas.microsoft.com/office/drawing/2014/main" id="{61DDC6CB-98B2-396A-1319-5324324C968C}"/>
                </a:ext>
              </a:extLst>
            </p:cNvPr>
            <p:cNvSpPr/>
            <p:nvPr/>
          </p:nvSpPr>
          <p:spPr>
            <a:xfrm>
              <a:off x="688379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1014_120843">
              <a:extLst>
                <a:ext uri="{FF2B5EF4-FFF2-40B4-BE49-F238E27FC236}">
                  <a16:creationId xmlns:a16="http://schemas.microsoft.com/office/drawing/2014/main" id="{46A25634-A7F0-03F3-D29F-F5E2C82D23C0}"/>
                </a:ext>
              </a:extLst>
            </p:cNvPr>
            <p:cNvSpPr/>
            <p:nvPr/>
          </p:nvSpPr>
          <p:spPr>
            <a:xfrm>
              <a:off x="6883792" y="424314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1014_120843">
              <a:extLst>
                <a:ext uri="{FF2B5EF4-FFF2-40B4-BE49-F238E27FC236}">
                  <a16:creationId xmlns:a16="http://schemas.microsoft.com/office/drawing/2014/main" id="{14B129B3-445A-B914-8E7A-48AF0AF5935D}"/>
                </a:ext>
              </a:extLst>
            </p:cNvPr>
            <p:cNvSpPr/>
            <p:nvPr/>
          </p:nvSpPr>
          <p:spPr>
            <a:xfrm>
              <a:off x="6883792" y="4243113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61925F8D-B24B-FA9B-4394-7322FC1B8C05}"/>
                </a:ext>
              </a:extLst>
            </p:cNvPr>
            <p:cNvSpPr/>
            <p:nvPr/>
          </p:nvSpPr>
          <p:spPr>
            <a:xfrm>
              <a:off x="7628627" y="1123919"/>
              <a:ext cx="1197532" cy="80447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37856F43-8E9A-92BD-C45C-C25B16FFFC56}"/>
                </a:ext>
              </a:extLst>
            </p:cNvPr>
            <p:cNvSpPr/>
            <p:nvPr/>
          </p:nvSpPr>
          <p:spPr>
            <a:xfrm>
              <a:off x="7628627" y="4933092"/>
              <a:ext cx="1197532" cy="442652"/>
            </a:xfrm>
            <a:prstGeom prst="roundRect">
              <a:avLst>
                <a:gd name="adj" fmla="val 11531"/>
              </a:avLst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CE945169-B360-F1A9-AF36-32FC539D99DE}"/>
                </a:ext>
              </a:extLst>
            </p:cNvPr>
            <p:cNvSpPr txBox="1"/>
            <p:nvPr/>
          </p:nvSpPr>
          <p:spPr>
            <a:xfrm>
              <a:off x="7764576" y="1210814"/>
              <a:ext cx="92563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4376B247-3EEC-AA21-6CC7-296F66E7C431}"/>
                </a:ext>
              </a:extLst>
            </p:cNvPr>
            <p:cNvSpPr txBox="1"/>
            <p:nvPr/>
          </p:nvSpPr>
          <p:spPr>
            <a:xfrm>
              <a:off x="7832636" y="1548360"/>
              <a:ext cx="789516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1014_120837">
              <a:extLst>
                <a:ext uri="{FF2B5EF4-FFF2-40B4-BE49-F238E27FC236}">
                  <a16:creationId xmlns:a16="http://schemas.microsoft.com/office/drawing/2014/main" id="{7C9396E6-7A33-50DD-71A9-DB46EE0CD10A}"/>
                </a:ext>
              </a:extLst>
            </p:cNvPr>
            <p:cNvSpPr/>
            <p:nvPr/>
          </p:nvSpPr>
          <p:spPr>
            <a:xfrm>
              <a:off x="8169576" y="3852746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1014_120837">
              <a:extLst>
                <a:ext uri="{FF2B5EF4-FFF2-40B4-BE49-F238E27FC236}">
                  <a16:creationId xmlns:a16="http://schemas.microsoft.com/office/drawing/2014/main" id="{35EC256B-D810-8944-901A-4E95E9AEF486}"/>
                </a:ext>
              </a:extLst>
            </p:cNvPr>
            <p:cNvSpPr/>
            <p:nvPr/>
          </p:nvSpPr>
          <p:spPr>
            <a:xfrm>
              <a:off x="8169576" y="420936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1014_120837">
              <a:extLst>
                <a:ext uri="{FF2B5EF4-FFF2-40B4-BE49-F238E27FC236}">
                  <a16:creationId xmlns:a16="http://schemas.microsoft.com/office/drawing/2014/main" id="{FC037FE5-852B-0F45-B075-E663E23B3077}"/>
                </a:ext>
              </a:extLst>
            </p:cNvPr>
            <p:cNvSpPr/>
            <p:nvPr/>
          </p:nvSpPr>
          <p:spPr>
            <a:xfrm>
              <a:off x="8169576" y="4598745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4_20220929_150716">
              <a:extLst>
                <a:ext uri="{FF2B5EF4-FFF2-40B4-BE49-F238E27FC236}">
                  <a16:creationId xmlns:a16="http://schemas.microsoft.com/office/drawing/2014/main" id="{6F0E1AE6-23AF-F7B9-9503-2570FEFB3ED0}"/>
                </a:ext>
              </a:extLst>
            </p:cNvPr>
            <p:cNvSpPr/>
            <p:nvPr/>
          </p:nvSpPr>
          <p:spPr>
            <a:xfrm>
              <a:off x="8891288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721_110953">
              <a:extLst>
                <a:ext uri="{FF2B5EF4-FFF2-40B4-BE49-F238E27FC236}">
                  <a16:creationId xmlns:a16="http://schemas.microsoft.com/office/drawing/2014/main" id="{EAB24057-E25B-6253-CE1F-4E7C00B394A3}"/>
                </a:ext>
              </a:extLst>
            </p:cNvPr>
            <p:cNvSpPr/>
            <p:nvPr/>
          </p:nvSpPr>
          <p:spPr>
            <a:xfrm>
              <a:off x="8943354" y="1123919"/>
              <a:ext cx="1197532" cy="80447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1_20220721_110953">
              <a:extLst>
                <a:ext uri="{FF2B5EF4-FFF2-40B4-BE49-F238E27FC236}">
                  <a16:creationId xmlns:a16="http://schemas.microsoft.com/office/drawing/2014/main" id="{47224AE1-A4FF-ED88-9649-30A41051BDE3}"/>
                </a:ext>
              </a:extLst>
            </p:cNvPr>
            <p:cNvSpPr/>
            <p:nvPr/>
          </p:nvSpPr>
          <p:spPr>
            <a:xfrm>
              <a:off x="8943354" y="4933092"/>
              <a:ext cx="1197532" cy="442652"/>
            </a:xfrm>
            <a:prstGeom prst="roundRect">
              <a:avLst>
                <a:gd name="adj" fmla="val 11531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54" name="Google Shape;3816;p66">
              <a:extLst>
                <a:ext uri="{FF2B5EF4-FFF2-40B4-BE49-F238E27FC236}">
                  <a16:creationId xmlns:a16="http://schemas.microsoft.com/office/drawing/2014/main" id="{031124D2-498E-5C44-D8B6-141BA95A676B}"/>
                </a:ext>
              </a:extLst>
            </p:cNvPr>
            <p:cNvSpPr txBox="1"/>
            <p:nvPr/>
          </p:nvSpPr>
          <p:spPr>
            <a:xfrm>
              <a:off x="9079305" y="1210814"/>
              <a:ext cx="92563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Google Shape;3817;p66">
              <a:extLst>
                <a:ext uri="{FF2B5EF4-FFF2-40B4-BE49-F238E27FC236}">
                  <a16:creationId xmlns:a16="http://schemas.microsoft.com/office/drawing/2014/main" id="{CB6C4225-EEAA-228D-9529-EC904FF8EBA6}"/>
                </a:ext>
              </a:extLst>
            </p:cNvPr>
            <p:cNvSpPr txBox="1"/>
            <p:nvPr/>
          </p:nvSpPr>
          <p:spPr>
            <a:xfrm>
              <a:off x="9147362" y="1548360"/>
              <a:ext cx="789516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5_20220929_150716">
              <a:extLst>
                <a:ext uri="{FF2B5EF4-FFF2-40B4-BE49-F238E27FC236}">
                  <a16:creationId xmlns:a16="http://schemas.microsoft.com/office/drawing/2014/main" id="{C954A7CC-69BC-B298-2490-15B53DB12740}"/>
                </a:ext>
              </a:extLst>
            </p:cNvPr>
            <p:cNvSpPr/>
            <p:nvPr/>
          </p:nvSpPr>
          <p:spPr>
            <a:xfrm>
              <a:off x="10206019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8" name="Shape0_20220721_110959">
              <a:extLst>
                <a:ext uri="{FF2B5EF4-FFF2-40B4-BE49-F238E27FC236}">
                  <a16:creationId xmlns:a16="http://schemas.microsoft.com/office/drawing/2014/main" id="{A64C44D3-1A8A-D7D2-F014-938B6386CCCA}"/>
                </a:ext>
              </a:extLst>
            </p:cNvPr>
            <p:cNvSpPr/>
            <p:nvPr/>
          </p:nvSpPr>
          <p:spPr>
            <a:xfrm>
              <a:off x="10258088" y="1123919"/>
              <a:ext cx="1197531" cy="804473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9" name="Shape1_20220721_110959">
              <a:extLst>
                <a:ext uri="{FF2B5EF4-FFF2-40B4-BE49-F238E27FC236}">
                  <a16:creationId xmlns:a16="http://schemas.microsoft.com/office/drawing/2014/main" id="{EB063572-7FC1-F553-C1DF-ADA16F310D25}"/>
                </a:ext>
              </a:extLst>
            </p:cNvPr>
            <p:cNvSpPr/>
            <p:nvPr/>
          </p:nvSpPr>
          <p:spPr>
            <a:xfrm>
              <a:off x="10258088" y="4933092"/>
              <a:ext cx="1197531" cy="442652"/>
            </a:xfrm>
            <a:prstGeom prst="roundRect">
              <a:avLst>
                <a:gd name="adj" fmla="val 11531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60" name="Google Shape;3822;p66">
              <a:extLst>
                <a:ext uri="{FF2B5EF4-FFF2-40B4-BE49-F238E27FC236}">
                  <a16:creationId xmlns:a16="http://schemas.microsoft.com/office/drawing/2014/main" id="{80EA24C3-0500-EFCD-F4C8-9295191BE963}"/>
                </a:ext>
              </a:extLst>
            </p:cNvPr>
            <p:cNvSpPr txBox="1"/>
            <p:nvPr/>
          </p:nvSpPr>
          <p:spPr>
            <a:xfrm>
              <a:off x="10394035" y="1210814"/>
              <a:ext cx="92563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1" name="Google Shape;3823;p66">
              <a:extLst>
                <a:ext uri="{FF2B5EF4-FFF2-40B4-BE49-F238E27FC236}">
                  <a16:creationId xmlns:a16="http://schemas.microsoft.com/office/drawing/2014/main" id="{D4A6F2F6-41EF-0C66-AA42-F91382E3DE68}"/>
                </a:ext>
              </a:extLst>
            </p:cNvPr>
            <p:cNvSpPr txBox="1"/>
            <p:nvPr/>
          </p:nvSpPr>
          <p:spPr>
            <a:xfrm>
              <a:off x="10462095" y="1548360"/>
              <a:ext cx="789516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1_20221014_120843">
              <a:extLst>
                <a:ext uri="{FF2B5EF4-FFF2-40B4-BE49-F238E27FC236}">
                  <a16:creationId xmlns:a16="http://schemas.microsoft.com/office/drawing/2014/main" id="{07C09494-499D-E227-F3B5-3A2DF3254F1C}"/>
                </a:ext>
              </a:extLst>
            </p:cNvPr>
            <p:cNvSpPr/>
            <p:nvPr/>
          </p:nvSpPr>
          <p:spPr>
            <a:xfrm>
              <a:off x="950748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3" name="Shape12_20221014_120843">
              <a:extLst>
                <a:ext uri="{FF2B5EF4-FFF2-40B4-BE49-F238E27FC236}">
                  <a16:creationId xmlns:a16="http://schemas.microsoft.com/office/drawing/2014/main" id="{108C1082-98C8-7D82-EA85-AC37E9037E80}"/>
                </a:ext>
              </a:extLst>
            </p:cNvPr>
            <p:cNvSpPr/>
            <p:nvPr/>
          </p:nvSpPr>
          <p:spPr>
            <a:xfrm>
              <a:off x="950748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4" name="Shape13_20221014_120843">
              <a:extLst>
                <a:ext uri="{FF2B5EF4-FFF2-40B4-BE49-F238E27FC236}">
                  <a16:creationId xmlns:a16="http://schemas.microsoft.com/office/drawing/2014/main" id="{E57C71DA-3E62-8894-4EF5-33F78C9FDF3C}"/>
                </a:ext>
              </a:extLst>
            </p:cNvPr>
            <p:cNvSpPr/>
            <p:nvPr/>
          </p:nvSpPr>
          <p:spPr>
            <a:xfrm>
              <a:off x="9507482" y="424314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5" name="Shape14_20221014_120843">
              <a:extLst>
                <a:ext uri="{FF2B5EF4-FFF2-40B4-BE49-F238E27FC236}">
                  <a16:creationId xmlns:a16="http://schemas.microsoft.com/office/drawing/2014/main" id="{5B58D378-BAE0-3A0C-0C7D-212F8927E025}"/>
                </a:ext>
              </a:extLst>
            </p:cNvPr>
            <p:cNvSpPr/>
            <p:nvPr/>
          </p:nvSpPr>
          <p:spPr>
            <a:xfrm>
              <a:off x="9507482" y="4243113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6" name="Shape15_20221014_120843">
              <a:extLst>
                <a:ext uri="{FF2B5EF4-FFF2-40B4-BE49-F238E27FC236}">
                  <a16:creationId xmlns:a16="http://schemas.microsoft.com/office/drawing/2014/main" id="{746EEE49-D612-4006-9E8A-8F0E1CA09CD7}"/>
                </a:ext>
              </a:extLst>
            </p:cNvPr>
            <p:cNvSpPr/>
            <p:nvPr/>
          </p:nvSpPr>
          <p:spPr>
            <a:xfrm>
              <a:off x="9507482" y="3882936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16_20221014_120843">
              <a:extLst>
                <a:ext uri="{FF2B5EF4-FFF2-40B4-BE49-F238E27FC236}">
                  <a16:creationId xmlns:a16="http://schemas.microsoft.com/office/drawing/2014/main" id="{D0797A4A-85C1-8A7E-6ABB-DBC602326539}"/>
                </a:ext>
              </a:extLst>
            </p:cNvPr>
            <p:cNvSpPr/>
            <p:nvPr/>
          </p:nvSpPr>
          <p:spPr>
            <a:xfrm>
              <a:off x="9507482" y="3882936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8" name="Shape0_20221014_120837">
              <a:extLst>
                <a:ext uri="{FF2B5EF4-FFF2-40B4-BE49-F238E27FC236}">
                  <a16:creationId xmlns:a16="http://schemas.microsoft.com/office/drawing/2014/main" id="{F05C8B5A-AFE8-2C1A-4DC6-1BB794C06C78}"/>
                </a:ext>
              </a:extLst>
            </p:cNvPr>
            <p:cNvSpPr/>
            <p:nvPr/>
          </p:nvSpPr>
          <p:spPr>
            <a:xfrm>
              <a:off x="5551654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9" name="Shape5_20221014_120837">
              <a:extLst>
                <a:ext uri="{FF2B5EF4-FFF2-40B4-BE49-F238E27FC236}">
                  <a16:creationId xmlns:a16="http://schemas.microsoft.com/office/drawing/2014/main" id="{6C2F29C6-425A-9F43-56F6-3E8AE40CACF3}"/>
                </a:ext>
              </a:extLst>
            </p:cNvPr>
            <p:cNvSpPr/>
            <p:nvPr/>
          </p:nvSpPr>
          <p:spPr>
            <a:xfrm>
              <a:off x="6860613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0" name="Shape6_20221014_120837">
              <a:extLst>
                <a:ext uri="{FF2B5EF4-FFF2-40B4-BE49-F238E27FC236}">
                  <a16:creationId xmlns:a16="http://schemas.microsoft.com/office/drawing/2014/main" id="{30386046-6828-E0B3-1388-4B0A8A2D6122}"/>
                </a:ext>
              </a:extLst>
            </p:cNvPr>
            <p:cNvSpPr/>
            <p:nvPr/>
          </p:nvSpPr>
          <p:spPr>
            <a:xfrm>
              <a:off x="8169576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1" name="Shape7_20221014_120837">
              <a:extLst>
                <a:ext uri="{FF2B5EF4-FFF2-40B4-BE49-F238E27FC236}">
                  <a16:creationId xmlns:a16="http://schemas.microsoft.com/office/drawing/2014/main" id="{19C6211C-DF9D-8188-930F-094FD2526ACC}"/>
                </a:ext>
              </a:extLst>
            </p:cNvPr>
            <p:cNvSpPr/>
            <p:nvPr/>
          </p:nvSpPr>
          <p:spPr>
            <a:xfrm>
              <a:off x="9484304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2" name="Shape8_20221014_120837">
              <a:extLst>
                <a:ext uri="{FF2B5EF4-FFF2-40B4-BE49-F238E27FC236}">
                  <a16:creationId xmlns:a16="http://schemas.microsoft.com/office/drawing/2014/main" id="{F7802E06-A94E-6EC8-3392-D190133F4513}"/>
                </a:ext>
              </a:extLst>
            </p:cNvPr>
            <p:cNvSpPr/>
            <p:nvPr/>
          </p:nvSpPr>
          <p:spPr>
            <a:xfrm>
              <a:off x="10799035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3" name="Shape9_20221014_120837">
              <a:extLst>
                <a:ext uri="{FF2B5EF4-FFF2-40B4-BE49-F238E27FC236}">
                  <a16:creationId xmlns:a16="http://schemas.microsoft.com/office/drawing/2014/main" id="{941D31BC-8931-6C53-F6EA-52EF306D07E2}"/>
                </a:ext>
              </a:extLst>
            </p:cNvPr>
            <p:cNvSpPr/>
            <p:nvPr/>
          </p:nvSpPr>
          <p:spPr>
            <a:xfrm>
              <a:off x="5551654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4" name="Shape10_20221014_120837">
              <a:extLst>
                <a:ext uri="{FF2B5EF4-FFF2-40B4-BE49-F238E27FC236}">
                  <a16:creationId xmlns:a16="http://schemas.microsoft.com/office/drawing/2014/main" id="{DA03C3E0-7A20-D4C7-DAC6-0099ADF60426}"/>
                </a:ext>
              </a:extLst>
            </p:cNvPr>
            <p:cNvSpPr/>
            <p:nvPr/>
          </p:nvSpPr>
          <p:spPr>
            <a:xfrm>
              <a:off x="6860613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5" name="Shape11_20221014_120837">
              <a:extLst>
                <a:ext uri="{FF2B5EF4-FFF2-40B4-BE49-F238E27FC236}">
                  <a16:creationId xmlns:a16="http://schemas.microsoft.com/office/drawing/2014/main" id="{C75F39E5-91EF-AF8F-A388-DB5DABE31820}"/>
                </a:ext>
              </a:extLst>
            </p:cNvPr>
            <p:cNvSpPr/>
            <p:nvPr/>
          </p:nvSpPr>
          <p:spPr>
            <a:xfrm>
              <a:off x="8169576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6" name="Shape12_20221014_120837">
              <a:extLst>
                <a:ext uri="{FF2B5EF4-FFF2-40B4-BE49-F238E27FC236}">
                  <a16:creationId xmlns:a16="http://schemas.microsoft.com/office/drawing/2014/main" id="{83222100-3172-D57C-0B8D-197118391A5F}"/>
                </a:ext>
              </a:extLst>
            </p:cNvPr>
            <p:cNvSpPr/>
            <p:nvPr/>
          </p:nvSpPr>
          <p:spPr>
            <a:xfrm>
              <a:off x="9484304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7" name="Shape13_20221014_120837">
              <a:extLst>
                <a:ext uri="{FF2B5EF4-FFF2-40B4-BE49-F238E27FC236}">
                  <a16:creationId xmlns:a16="http://schemas.microsoft.com/office/drawing/2014/main" id="{79A9FB66-6B90-13F0-860C-AD66C948773F}"/>
                </a:ext>
              </a:extLst>
            </p:cNvPr>
            <p:cNvSpPr/>
            <p:nvPr/>
          </p:nvSpPr>
          <p:spPr>
            <a:xfrm>
              <a:off x="10799035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78" name="Shape17_20221014_120843">
              <a:extLst>
                <a:ext uri="{FF2B5EF4-FFF2-40B4-BE49-F238E27FC236}">
                  <a16:creationId xmlns:a16="http://schemas.microsoft.com/office/drawing/2014/main" id="{C7691F1B-E069-24EF-0711-E2A20CC5DA55}"/>
                </a:ext>
              </a:extLst>
            </p:cNvPr>
            <p:cNvGrpSpPr/>
            <p:nvPr/>
          </p:nvGrpSpPr>
          <p:grpSpPr>
            <a:xfrm>
              <a:off x="5574830" y="2802347"/>
              <a:ext cx="102413" cy="85344"/>
              <a:chOff x="5471332" y="3274525"/>
              <a:chExt cx="73139" cy="104023"/>
            </a:xfrm>
          </p:grpSpPr>
          <p:sp>
            <p:nvSpPr>
              <p:cNvPr id="79" name="Google Shape;3752;p66">
                <a:extLst>
                  <a:ext uri="{FF2B5EF4-FFF2-40B4-BE49-F238E27FC236}">
                    <a16:creationId xmlns:a16="http://schemas.microsoft.com/office/drawing/2014/main" id="{A7222317-F809-B9FB-B800-3EB3F025A1DC}"/>
                  </a:ext>
                </a:extLst>
              </p:cNvPr>
              <p:cNvSpPr/>
              <p:nvPr/>
            </p:nvSpPr>
            <p:spPr>
              <a:xfrm>
                <a:off x="5471332" y="3274525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0" name="Google Shape;3753;p66">
                <a:extLst>
                  <a:ext uri="{FF2B5EF4-FFF2-40B4-BE49-F238E27FC236}">
                    <a16:creationId xmlns:a16="http://schemas.microsoft.com/office/drawing/2014/main" id="{00ABB4D7-1781-4CD9-B58C-23DCF790D957}"/>
                  </a:ext>
                </a:extLst>
              </p:cNvPr>
              <p:cNvSpPr/>
              <p:nvPr/>
            </p:nvSpPr>
            <p:spPr>
              <a:xfrm>
                <a:off x="5471332" y="3274525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81" name="Shape14_20221014_120837">
              <a:extLst>
                <a:ext uri="{FF2B5EF4-FFF2-40B4-BE49-F238E27FC236}">
                  <a16:creationId xmlns:a16="http://schemas.microsoft.com/office/drawing/2014/main" id="{4C954B31-B72A-F60C-47B1-8C1DA12DE52B}"/>
                </a:ext>
              </a:extLst>
            </p:cNvPr>
            <p:cNvSpPr/>
            <p:nvPr/>
          </p:nvSpPr>
          <p:spPr>
            <a:xfrm>
              <a:off x="6860613" y="2797768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2" name="Shape15_20221014_120837">
              <a:extLst>
                <a:ext uri="{FF2B5EF4-FFF2-40B4-BE49-F238E27FC236}">
                  <a16:creationId xmlns:a16="http://schemas.microsoft.com/office/drawing/2014/main" id="{8524B762-5354-BDA7-FE11-7ADE0512B8FB}"/>
                </a:ext>
              </a:extLst>
            </p:cNvPr>
            <p:cNvSpPr/>
            <p:nvPr/>
          </p:nvSpPr>
          <p:spPr>
            <a:xfrm>
              <a:off x="8169576" y="2782901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83" name="Shape18_20221014_120843">
              <a:extLst>
                <a:ext uri="{FF2B5EF4-FFF2-40B4-BE49-F238E27FC236}">
                  <a16:creationId xmlns:a16="http://schemas.microsoft.com/office/drawing/2014/main" id="{AF8D1BD1-E9C7-0EDA-1E7E-566658061A35}"/>
                </a:ext>
              </a:extLst>
            </p:cNvPr>
            <p:cNvGrpSpPr/>
            <p:nvPr/>
          </p:nvGrpSpPr>
          <p:grpSpPr>
            <a:xfrm>
              <a:off x="9507482" y="2802348"/>
              <a:ext cx="102413" cy="85344"/>
              <a:chOff x="9623130" y="3274526"/>
              <a:chExt cx="73139" cy="104023"/>
            </a:xfrm>
          </p:grpSpPr>
          <p:sp>
            <p:nvSpPr>
              <p:cNvPr id="84" name="Google Shape;3843;p66">
                <a:extLst>
                  <a:ext uri="{FF2B5EF4-FFF2-40B4-BE49-F238E27FC236}">
                    <a16:creationId xmlns:a16="http://schemas.microsoft.com/office/drawing/2014/main" id="{073A6185-B845-64BD-10B3-707439E85274}"/>
                  </a:ext>
                </a:extLst>
              </p:cNvPr>
              <p:cNvSpPr/>
              <p:nvPr/>
            </p:nvSpPr>
            <p:spPr>
              <a:xfrm>
                <a:off x="9623130" y="3274526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5" name="Google Shape;3844;p66">
                <a:extLst>
                  <a:ext uri="{FF2B5EF4-FFF2-40B4-BE49-F238E27FC236}">
                    <a16:creationId xmlns:a16="http://schemas.microsoft.com/office/drawing/2014/main" id="{796862B8-C78C-4FF0-6497-F6F0A5ACED55}"/>
                  </a:ext>
                </a:extLst>
              </p:cNvPr>
              <p:cNvSpPr/>
              <p:nvPr/>
            </p:nvSpPr>
            <p:spPr>
              <a:xfrm>
                <a:off x="9623130" y="3274526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86" name="Shape16_20221014_120837">
              <a:extLst>
                <a:ext uri="{FF2B5EF4-FFF2-40B4-BE49-F238E27FC236}">
                  <a16:creationId xmlns:a16="http://schemas.microsoft.com/office/drawing/2014/main" id="{06E6C2C9-84B7-21A0-4AD3-9824457A4FD2}"/>
                </a:ext>
              </a:extLst>
            </p:cNvPr>
            <p:cNvSpPr/>
            <p:nvPr/>
          </p:nvSpPr>
          <p:spPr>
            <a:xfrm>
              <a:off x="10799035" y="2797768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87" name="Shape19_20221014_120843">
              <a:extLst>
                <a:ext uri="{FF2B5EF4-FFF2-40B4-BE49-F238E27FC236}">
                  <a16:creationId xmlns:a16="http://schemas.microsoft.com/office/drawing/2014/main" id="{13FB28DB-D32B-7318-034F-6418298DE299}"/>
                </a:ext>
              </a:extLst>
            </p:cNvPr>
            <p:cNvGrpSpPr/>
            <p:nvPr/>
          </p:nvGrpSpPr>
          <p:grpSpPr>
            <a:xfrm>
              <a:off x="5574830" y="3162543"/>
              <a:ext cx="102413" cy="85344"/>
              <a:chOff x="5471332" y="3652727"/>
              <a:chExt cx="73139" cy="104023"/>
            </a:xfrm>
          </p:grpSpPr>
          <p:sp>
            <p:nvSpPr>
              <p:cNvPr id="88" name="Google Shape;3749;p66">
                <a:extLst>
                  <a:ext uri="{FF2B5EF4-FFF2-40B4-BE49-F238E27FC236}">
                    <a16:creationId xmlns:a16="http://schemas.microsoft.com/office/drawing/2014/main" id="{062BB42B-0F62-C9BD-C82A-38E14DC052BC}"/>
                  </a:ext>
                </a:extLst>
              </p:cNvPr>
              <p:cNvSpPr/>
              <p:nvPr/>
            </p:nvSpPr>
            <p:spPr>
              <a:xfrm>
                <a:off x="5471332" y="3652727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9" name="Google Shape;3750;p66">
                <a:extLst>
                  <a:ext uri="{FF2B5EF4-FFF2-40B4-BE49-F238E27FC236}">
                    <a16:creationId xmlns:a16="http://schemas.microsoft.com/office/drawing/2014/main" id="{97B55D3F-94B5-71C4-E1EE-1EEB95DC5471}"/>
                  </a:ext>
                </a:extLst>
              </p:cNvPr>
              <p:cNvSpPr/>
              <p:nvPr/>
            </p:nvSpPr>
            <p:spPr>
              <a:xfrm>
                <a:off x="5471332" y="3652727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90" name="Shape17_20221014_120837">
              <a:extLst>
                <a:ext uri="{FF2B5EF4-FFF2-40B4-BE49-F238E27FC236}">
                  <a16:creationId xmlns:a16="http://schemas.microsoft.com/office/drawing/2014/main" id="{9E763EBE-F041-498B-62AB-CA065C695EF1}"/>
                </a:ext>
              </a:extLst>
            </p:cNvPr>
            <p:cNvSpPr/>
            <p:nvPr/>
          </p:nvSpPr>
          <p:spPr>
            <a:xfrm>
              <a:off x="6860613" y="3157963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1" name="Shape18_20221014_120837">
              <a:extLst>
                <a:ext uri="{FF2B5EF4-FFF2-40B4-BE49-F238E27FC236}">
                  <a16:creationId xmlns:a16="http://schemas.microsoft.com/office/drawing/2014/main" id="{F9AB9439-EC16-CD51-252A-431FCEE03F7F}"/>
                </a:ext>
              </a:extLst>
            </p:cNvPr>
            <p:cNvSpPr/>
            <p:nvPr/>
          </p:nvSpPr>
          <p:spPr>
            <a:xfrm>
              <a:off x="8169576" y="3139518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92" name="Shape20_20221014_120843">
              <a:extLst>
                <a:ext uri="{FF2B5EF4-FFF2-40B4-BE49-F238E27FC236}">
                  <a16:creationId xmlns:a16="http://schemas.microsoft.com/office/drawing/2014/main" id="{5BDD037F-E20F-7108-6CD3-68865CBC11A3}"/>
                </a:ext>
              </a:extLst>
            </p:cNvPr>
            <p:cNvGrpSpPr/>
            <p:nvPr/>
          </p:nvGrpSpPr>
          <p:grpSpPr>
            <a:xfrm>
              <a:off x="9507482" y="3162543"/>
              <a:ext cx="102413" cy="85344"/>
              <a:chOff x="9623130" y="3652727"/>
              <a:chExt cx="73139" cy="104023"/>
            </a:xfrm>
          </p:grpSpPr>
          <p:sp>
            <p:nvSpPr>
              <p:cNvPr id="93" name="Google Shape;3840;p66">
                <a:extLst>
                  <a:ext uri="{FF2B5EF4-FFF2-40B4-BE49-F238E27FC236}">
                    <a16:creationId xmlns:a16="http://schemas.microsoft.com/office/drawing/2014/main" id="{1265DBE4-9EB8-673E-CAA9-5ABA779153AF}"/>
                  </a:ext>
                </a:extLst>
              </p:cNvPr>
              <p:cNvSpPr/>
              <p:nvPr/>
            </p:nvSpPr>
            <p:spPr>
              <a:xfrm>
                <a:off x="9623130" y="3652727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94" name="Google Shape;3841;p66">
                <a:extLst>
                  <a:ext uri="{FF2B5EF4-FFF2-40B4-BE49-F238E27FC236}">
                    <a16:creationId xmlns:a16="http://schemas.microsoft.com/office/drawing/2014/main" id="{941DB3DF-471C-7E7C-7771-E94D25487E8C}"/>
                  </a:ext>
                </a:extLst>
              </p:cNvPr>
              <p:cNvSpPr/>
              <p:nvPr/>
            </p:nvSpPr>
            <p:spPr>
              <a:xfrm>
                <a:off x="9623130" y="3652727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95" name="Shape19_20221014_120837">
              <a:extLst>
                <a:ext uri="{FF2B5EF4-FFF2-40B4-BE49-F238E27FC236}">
                  <a16:creationId xmlns:a16="http://schemas.microsoft.com/office/drawing/2014/main" id="{799CE21E-51D5-21CA-ABE4-95A6F6767D6B}"/>
                </a:ext>
              </a:extLst>
            </p:cNvPr>
            <p:cNvSpPr/>
            <p:nvPr/>
          </p:nvSpPr>
          <p:spPr>
            <a:xfrm>
              <a:off x="10799035" y="3157963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6" name="Shape20_20221014_120837">
              <a:extLst>
                <a:ext uri="{FF2B5EF4-FFF2-40B4-BE49-F238E27FC236}">
                  <a16:creationId xmlns:a16="http://schemas.microsoft.com/office/drawing/2014/main" id="{466D7A5E-EDB3-A001-6EBA-143BFB08B08C}"/>
                </a:ext>
              </a:extLst>
            </p:cNvPr>
            <p:cNvSpPr/>
            <p:nvPr/>
          </p:nvSpPr>
          <p:spPr>
            <a:xfrm>
              <a:off x="10799035" y="3852746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7" name="Shape21_20221014_120843">
              <a:extLst>
                <a:ext uri="{FF2B5EF4-FFF2-40B4-BE49-F238E27FC236}">
                  <a16:creationId xmlns:a16="http://schemas.microsoft.com/office/drawing/2014/main" id="{B427707A-218D-AA7A-79DA-C80B973D2673}"/>
                </a:ext>
              </a:extLst>
            </p:cNvPr>
            <p:cNvSpPr/>
            <p:nvPr/>
          </p:nvSpPr>
          <p:spPr>
            <a:xfrm>
              <a:off x="1082221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8" name="Shape22_20221014_120843">
              <a:extLst>
                <a:ext uri="{FF2B5EF4-FFF2-40B4-BE49-F238E27FC236}">
                  <a16:creationId xmlns:a16="http://schemas.microsoft.com/office/drawing/2014/main" id="{40164276-1A16-F2B4-492F-2D578046CEC7}"/>
                </a:ext>
              </a:extLst>
            </p:cNvPr>
            <p:cNvSpPr/>
            <p:nvPr/>
          </p:nvSpPr>
          <p:spPr>
            <a:xfrm>
              <a:off x="1082221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9" name="Shape23_20221014_120843">
              <a:extLst>
                <a:ext uri="{FF2B5EF4-FFF2-40B4-BE49-F238E27FC236}">
                  <a16:creationId xmlns:a16="http://schemas.microsoft.com/office/drawing/2014/main" id="{56ABE728-9E12-A246-FE26-A5015B7E8BD1}"/>
                </a:ext>
              </a:extLst>
            </p:cNvPr>
            <p:cNvSpPr/>
            <p:nvPr/>
          </p:nvSpPr>
          <p:spPr>
            <a:xfrm>
              <a:off x="10822212" y="424314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0" name="Shape24_20221014_120843">
              <a:extLst>
                <a:ext uri="{FF2B5EF4-FFF2-40B4-BE49-F238E27FC236}">
                  <a16:creationId xmlns:a16="http://schemas.microsoft.com/office/drawing/2014/main" id="{120E7660-1C26-405F-5120-1E9CE9287DC8}"/>
                </a:ext>
              </a:extLst>
            </p:cNvPr>
            <p:cNvSpPr/>
            <p:nvPr/>
          </p:nvSpPr>
          <p:spPr>
            <a:xfrm>
              <a:off x="10822212" y="4243113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101" name="Shape0_20221014_120843">
              <a:extLst>
                <a:ext uri="{FF2B5EF4-FFF2-40B4-BE49-F238E27FC236}">
                  <a16:creationId xmlns:a16="http://schemas.microsoft.com/office/drawing/2014/main" id="{2AC918B0-7861-7858-5501-07D5C674470B}"/>
                </a:ext>
              </a:extLst>
            </p:cNvPr>
            <p:cNvGrpSpPr/>
            <p:nvPr/>
          </p:nvGrpSpPr>
          <p:grpSpPr>
            <a:xfrm>
              <a:off x="5574830" y="3522723"/>
              <a:ext cx="102413" cy="85344"/>
              <a:chOff x="5471332" y="4030911"/>
              <a:chExt cx="73139" cy="104023"/>
            </a:xfrm>
          </p:grpSpPr>
          <p:sp>
            <p:nvSpPr>
              <p:cNvPr id="102" name="Google Shape;3746;p66">
                <a:extLst>
                  <a:ext uri="{FF2B5EF4-FFF2-40B4-BE49-F238E27FC236}">
                    <a16:creationId xmlns:a16="http://schemas.microsoft.com/office/drawing/2014/main" id="{FCC00FE9-D0C5-BBAB-1EE0-7D0A75D1D032}"/>
                  </a:ext>
                </a:extLst>
              </p:cNvPr>
              <p:cNvSpPr/>
              <p:nvPr/>
            </p:nvSpPr>
            <p:spPr>
              <a:xfrm>
                <a:off x="5471332" y="4030945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103" name="Google Shape;3747;p66">
                <a:extLst>
                  <a:ext uri="{FF2B5EF4-FFF2-40B4-BE49-F238E27FC236}">
                    <a16:creationId xmlns:a16="http://schemas.microsoft.com/office/drawing/2014/main" id="{2E5C99DA-D5A3-C8EF-26C5-79FC6E5D797F}"/>
                  </a:ext>
                </a:extLst>
              </p:cNvPr>
              <p:cNvSpPr/>
              <p:nvPr/>
            </p:nvSpPr>
            <p:spPr>
              <a:xfrm>
                <a:off x="5471332" y="4030911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104" name="Shape25_20221014_120843">
              <a:extLst>
                <a:ext uri="{FF2B5EF4-FFF2-40B4-BE49-F238E27FC236}">
                  <a16:creationId xmlns:a16="http://schemas.microsoft.com/office/drawing/2014/main" id="{2E5183B3-CA6B-8E34-1628-05838C0BCBA2}"/>
                </a:ext>
              </a:extLst>
            </p:cNvPr>
            <p:cNvGrpSpPr/>
            <p:nvPr/>
          </p:nvGrpSpPr>
          <p:grpSpPr>
            <a:xfrm>
              <a:off x="6883792" y="3522723"/>
              <a:ext cx="102413" cy="85344"/>
              <a:chOff x="6853236" y="4030911"/>
              <a:chExt cx="73139" cy="104023"/>
            </a:xfrm>
          </p:grpSpPr>
          <p:sp>
            <p:nvSpPr>
              <p:cNvPr id="105" name="Google Shape;3780;p66">
                <a:extLst>
                  <a:ext uri="{FF2B5EF4-FFF2-40B4-BE49-F238E27FC236}">
                    <a16:creationId xmlns:a16="http://schemas.microsoft.com/office/drawing/2014/main" id="{4D47486E-850D-A9BD-9BAD-F7556C7C97EA}"/>
                  </a:ext>
                </a:extLst>
              </p:cNvPr>
              <p:cNvSpPr/>
              <p:nvPr/>
            </p:nvSpPr>
            <p:spPr>
              <a:xfrm>
                <a:off x="6853236" y="4030945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106" name="Google Shape;3781;p66">
                <a:extLst>
                  <a:ext uri="{FF2B5EF4-FFF2-40B4-BE49-F238E27FC236}">
                    <a16:creationId xmlns:a16="http://schemas.microsoft.com/office/drawing/2014/main" id="{A2209B68-CAA5-B96A-84D7-E124434546FD}"/>
                  </a:ext>
                </a:extLst>
              </p:cNvPr>
              <p:cNvSpPr/>
              <p:nvPr/>
            </p:nvSpPr>
            <p:spPr>
              <a:xfrm>
                <a:off x="6853236" y="4030911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107" name="Shape21_20221014_120837">
              <a:extLst>
                <a:ext uri="{FF2B5EF4-FFF2-40B4-BE49-F238E27FC236}">
                  <a16:creationId xmlns:a16="http://schemas.microsoft.com/office/drawing/2014/main" id="{8F297E8F-C139-E3D8-696D-3AB8F39F903F}"/>
                </a:ext>
              </a:extLst>
            </p:cNvPr>
            <p:cNvSpPr/>
            <p:nvPr/>
          </p:nvSpPr>
          <p:spPr>
            <a:xfrm>
              <a:off x="8169576" y="349613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108" name="Shape26_20221014_120843">
              <a:extLst>
                <a:ext uri="{FF2B5EF4-FFF2-40B4-BE49-F238E27FC236}">
                  <a16:creationId xmlns:a16="http://schemas.microsoft.com/office/drawing/2014/main" id="{7543BD1D-3705-8E51-41F6-F04596DA428D}"/>
                </a:ext>
              </a:extLst>
            </p:cNvPr>
            <p:cNvGrpSpPr/>
            <p:nvPr/>
          </p:nvGrpSpPr>
          <p:grpSpPr>
            <a:xfrm>
              <a:off x="9507482" y="3522723"/>
              <a:ext cx="102413" cy="85344"/>
              <a:chOff x="9623130" y="4030911"/>
              <a:chExt cx="73139" cy="104023"/>
            </a:xfrm>
          </p:grpSpPr>
          <p:sp>
            <p:nvSpPr>
              <p:cNvPr id="109" name="Google Shape;3837;p66">
                <a:extLst>
                  <a:ext uri="{FF2B5EF4-FFF2-40B4-BE49-F238E27FC236}">
                    <a16:creationId xmlns:a16="http://schemas.microsoft.com/office/drawing/2014/main" id="{49CF5D3B-4E4D-7EA0-56E0-B53F3FC0CBBB}"/>
                  </a:ext>
                </a:extLst>
              </p:cNvPr>
              <p:cNvSpPr/>
              <p:nvPr/>
            </p:nvSpPr>
            <p:spPr>
              <a:xfrm>
                <a:off x="9623130" y="4030945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110" name="Google Shape;3838;p66">
                <a:extLst>
                  <a:ext uri="{FF2B5EF4-FFF2-40B4-BE49-F238E27FC236}">
                    <a16:creationId xmlns:a16="http://schemas.microsoft.com/office/drawing/2014/main" id="{FBFFB49C-B050-7FA9-594A-88440A0886C6}"/>
                  </a:ext>
                </a:extLst>
              </p:cNvPr>
              <p:cNvSpPr/>
              <p:nvPr/>
            </p:nvSpPr>
            <p:spPr>
              <a:xfrm>
                <a:off x="9623130" y="4030911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111" name="Shape27_20221014_120843">
              <a:extLst>
                <a:ext uri="{FF2B5EF4-FFF2-40B4-BE49-F238E27FC236}">
                  <a16:creationId xmlns:a16="http://schemas.microsoft.com/office/drawing/2014/main" id="{A6E60399-372F-B89F-4DA1-9CCFD0D2B195}"/>
                </a:ext>
              </a:extLst>
            </p:cNvPr>
            <p:cNvGrpSpPr/>
            <p:nvPr/>
          </p:nvGrpSpPr>
          <p:grpSpPr>
            <a:xfrm>
              <a:off x="10822212" y="3522736"/>
              <a:ext cx="102413" cy="85338"/>
              <a:chOff x="11011123" y="4030911"/>
              <a:chExt cx="73139" cy="104015"/>
            </a:xfrm>
          </p:grpSpPr>
          <p:sp>
            <p:nvSpPr>
              <p:cNvPr id="112" name="Google Shape;3887;p66">
                <a:extLst>
                  <a:ext uri="{FF2B5EF4-FFF2-40B4-BE49-F238E27FC236}">
                    <a16:creationId xmlns:a16="http://schemas.microsoft.com/office/drawing/2014/main" id="{84A9B183-3D45-1B2A-2683-A82769926922}"/>
                  </a:ext>
                </a:extLst>
              </p:cNvPr>
              <p:cNvSpPr/>
              <p:nvPr/>
            </p:nvSpPr>
            <p:spPr>
              <a:xfrm>
                <a:off x="11011123" y="4030937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113" name="Google Shape;3888;p66">
                <a:extLst>
                  <a:ext uri="{FF2B5EF4-FFF2-40B4-BE49-F238E27FC236}">
                    <a16:creationId xmlns:a16="http://schemas.microsoft.com/office/drawing/2014/main" id="{AA98125E-3435-6BDC-5C65-6BEE6823105A}"/>
                  </a:ext>
                </a:extLst>
              </p:cNvPr>
              <p:cNvSpPr/>
              <p:nvPr/>
            </p:nvSpPr>
            <p:spPr>
              <a:xfrm>
                <a:off x="11011123" y="4030911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cxnSp>
          <p:nvCxnSpPr>
            <p:cNvPr id="114" name="Google Shape;3754;p66">
              <a:extLst>
                <a:ext uri="{FF2B5EF4-FFF2-40B4-BE49-F238E27FC236}">
                  <a16:creationId xmlns:a16="http://schemas.microsoft.com/office/drawing/2014/main" id="{06BC1472-DBED-3F9A-D671-F5439F774A0B}"/>
                </a:ext>
              </a:extLst>
            </p:cNvPr>
            <p:cNvCxnSpPr>
              <a:cxnSpLocks/>
            </p:cNvCxnSpPr>
            <p:nvPr/>
          </p:nvCxnSpPr>
          <p:spPr>
            <a:xfrm>
              <a:off x="5034072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5" name="Google Shape;3782;p66">
              <a:extLst>
                <a:ext uri="{FF2B5EF4-FFF2-40B4-BE49-F238E27FC236}">
                  <a16:creationId xmlns:a16="http://schemas.microsoft.com/office/drawing/2014/main" id="{7E686F90-5473-50F9-E8A6-BFDECC008E0C}"/>
                </a:ext>
              </a:extLst>
            </p:cNvPr>
            <p:cNvCxnSpPr>
              <a:cxnSpLocks/>
            </p:cNvCxnSpPr>
            <p:nvPr/>
          </p:nvCxnSpPr>
          <p:spPr>
            <a:xfrm>
              <a:off x="6343030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6" name="Google Shape;3804;p66">
              <a:extLst>
                <a:ext uri="{FF2B5EF4-FFF2-40B4-BE49-F238E27FC236}">
                  <a16:creationId xmlns:a16="http://schemas.microsoft.com/office/drawing/2014/main" id="{6EE375A1-8A89-5789-13AF-D842703C6F5E}"/>
                </a:ext>
              </a:extLst>
            </p:cNvPr>
            <p:cNvCxnSpPr>
              <a:cxnSpLocks/>
            </p:cNvCxnSpPr>
            <p:nvPr/>
          </p:nvCxnSpPr>
          <p:spPr>
            <a:xfrm>
              <a:off x="7651991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7" name="Google Shape;3845;p66">
              <a:extLst>
                <a:ext uri="{FF2B5EF4-FFF2-40B4-BE49-F238E27FC236}">
                  <a16:creationId xmlns:a16="http://schemas.microsoft.com/office/drawing/2014/main" id="{5FE62BFB-CFC9-A81D-2FFA-83EF80E0E0F4}"/>
                </a:ext>
              </a:extLst>
            </p:cNvPr>
            <p:cNvCxnSpPr>
              <a:cxnSpLocks/>
            </p:cNvCxnSpPr>
            <p:nvPr/>
          </p:nvCxnSpPr>
          <p:spPr>
            <a:xfrm>
              <a:off x="8966720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8" name="Google Shape;3889;p66">
              <a:extLst>
                <a:ext uri="{FF2B5EF4-FFF2-40B4-BE49-F238E27FC236}">
                  <a16:creationId xmlns:a16="http://schemas.microsoft.com/office/drawing/2014/main" id="{61C7572E-DC32-4AB1-035B-4FCA4C22DEF1}"/>
                </a:ext>
              </a:extLst>
            </p:cNvPr>
            <p:cNvCxnSpPr>
              <a:cxnSpLocks/>
            </p:cNvCxnSpPr>
            <p:nvPr/>
          </p:nvCxnSpPr>
          <p:spPr>
            <a:xfrm>
              <a:off x="10281451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9" name="Google Shape;3755;p66">
              <a:extLst>
                <a:ext uri="{FF2B5EF4-FFF2-40B4-BE49-F238E27FC236}">
                  <a16:creationId xmlns:a16="http://schemas.microsoft.com/office/drawing/2014/main" id="{F183E227-F150-A248-C6EF-74336A0892B4}"/>
                </a:ext>
              </a:extLst>
            </p:cNvPr>
            <p:cNvCxnSpPr/>
            <p:nvPr/>
          </p:nvCxnSpPr>
          <p:spPr>
            <a:xfrm>
              <a:off x="5034072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0" name="Google Shape;3783;p66">
              <a:extLst>
                <a:ext uri="{FF2B5EF4-FFF2-40B4-BE49-F238E27FC236}">
                  <a16:creationId xmlns:a16="http://schemas.microsoft.com/office/drawing/2014/main" id="{14E6E99B-2E3F-F415-8CC5-6FC34D217BD2}"/>
                </a:ext>
              </a:extLst>
            </p:cNvPr>
            <p:cNvCxnSpPr/>
            <p:nvPr/>
          </p:nvCxnSpPr>
          <p:spPr>
            <a:xfrm>
              <a:off x="6343030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1" name="Google Shape;3805;p66">
              <a:extLst>
                <a:ext uri="{FF2B5EF4-FFF2-40B4-BE49-F238E27FC236}">
                  <a16:creationId xmlns:a16="http://schemas.microsoft.com/office/drawing/2014/main" id="{EDF09083-8AC2-FB56-FE43-DBAD997761E8}"/>
                </a:ext>
              </a:extLst>
            </p:cNvPr>
            <p:cNvCxnSpPr/>
            <p:nvPr/>
          </p:nvCxnSpPr>
          <p:spPr>
            <a:xfrm>
              <a:off x="7651991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2" name="Google Shape;3846;p66">
              <a:extLst>
                <a:ext uri="{FF2B5EF4-FFF2-40B4-BE49-F238E27FC236}">
                  <a16:creationId xmlns:a16="http://schemas.microsoft.com/office/drawing/2014/main" id="{99ECEFE5-F59C-14CA-1B4A-D119C1BABB96}"/>
                </a:ext>
              </a:extLst>
            </p:cNvPr>
            <p:cNvCxnSpPr/>
            <p:nvPr/>
          </p:nvCxnSpPr>
          <p:spPr>
            <a:xfrm>
              <a:off x="8966720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3" name="Google Shape;3890;p66">
              <a:extLst>
                <a:ext uri="{FF2B5EF4-FFF2-40B4-BE49-F238E27FC236}">
                  <a16:creationId xmlns:a16="http://schemas.microsoft.com/office/drawing/2014/main" id="{FA377AA5-8D82-5183-5F54-00ECB7A5122F}"/>
                </a:ext>
              </a:extLst>
            </p:cNvPr>
            <p:cNvCxnSpPr/>
            <p:nvPr/>
          </p:nvCxnSpPr>
          <p:spPr>
            <a:xfrm>
              <a:off x="10281451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4" name="Google Shape;3756;p66">
              <a:extLst>
                <a:ext uri="{FF2B5EF4-FFF2-40B4-BE49-F238E27FC236}">
                  <a16:creationId xmlns:a16="http://schemas.microsoft.com/office/drawing/2014/main" id="{23A67CEE-B542-9DE7-B974-2C801CA176F3}"/>
                </a:ext>
              </a:extLst>
            </p:cNvPr>
            <p:cNvCxnSpPr/>
            <p:nvPr/>
          </p:nvCxnSpPr>
          <p:spPr>
            <a:xfrm>
              <a:off x="5034072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5" name="Google Shape;3784;p66">
              <a:extLst>
                <a:ext uri="{FF2B5EF4-FFF2-40B4-BE49-F238E27FC236}">
                  <a16:creationId xmlns:a16="http://schemas.microsoft.com/office/drawing/2014/main" id="{F3D38254-F1CE-5B99-5F32-8FA18A582868}"/>
                </a:ext>
              </a:extLst>
            </p:cNvPr>
            <p:cNvCxnSpPr/>
            <p:nvPr/>
          </p:nvCxnSpPr>
          <p:spPr>
            <a:xfrm>
              <a:off x="6343030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6" name="Google Shape;3806;p66">
              <a:extLst>
                <a:ext uri="{FF2B5EF4-FFF2-40B4-BE49-F238E27FC236}">
                  <a16:creationId xmlns:a16="http://schemas.microsoft.com/office/drawing/2014/main" id="{C4AB66F2-CFC3-E0F9-BEC2-956ED5AB47AC}"/>
                </a:ext>
              </a:extLst>
            </p:cNvPr>
            <p:cNvCxnSpPr/>
            <p:nvPr/>
          </p:nvCxnSpPr>
          <p:spPr>
            <a:xfrm>
              <a:off x="7651991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7" name="Google Shape;3847;p66">
              <a:extLst>
                <a:ext uri="{FF2B5EF4-FFF2-40B4-BE49-F238E27FC236}">
                  <a16:creationId xmlns:a16="http://schemas.microsoft.com/office/drawing/2014/main" id="{91D9AF2C-945C-8D92-19BD-B5995E181788}"/>
                </a:ext>
              </a:extLst>
            </p:cNvPr>
            <p:cNvCxnSpPr/>
            <p:nvPr/>
          </p:nvCxnSpPr>
          <p:spPr>
            <a:xfrm>
              <a:off x="8966720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8" name="Google Shape;3891;p66">
              <a:extLst>
                <a:ext uri="{FF2B5EF4-FFF2-40B4-BE49-F238E27FC236}">
                  <a16:creationId xmlns:a16="http://schemas.microsoft.com/office/drawing/2014/main" id="{5B5A011E-9C1D-0F9E-2A47-4CE9F7F61B3A}"/>
                </a:ext>
              </a:extLst>
            </p:cNvPr>
            <p:cNvCxnSpPr/>
            <p:nvPr/>
          </p:nvCxnSpPr>
          <p:spPr>
            <a:xfrm>
              <a:off x="10281451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9" name="Google Shape;3757;p66">
              <a:extLst>
                <a:ext uri="{FF2B5EF4-FFF2-40B4-BE49-F238E27FC236}">
                  <a16:creationId xmlns:a16="http://schemas.microsoft.com/office/drawing/2014/main" id="{82124C87-4406-9F40-D5AA-EB5E8DF8231E}"/>
                </a:ext>
              </a:extLst>
            </p:cNvPr>
            <p:cNvCxnSpPr/>
            <p:nvPr/>
          </p:nvCxnSpPr>
          <p:spPr>
            <a:xfrm>
              <a:off x="5034072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0" name="Google Shape;3785;p66">
              <a:extLst>
                <a:ext uri="{FF2B5EF4-FFF2-40B4-BE49-F238E27FC236}">
                  <a16:creationId xmlns:a16="http://schemas.microsoft.com/office/drawing/2014/main" id="{D0FB7F05-421A-5C75-6FAE-BFE9C339A61F}"/>
                </a:ext>
              </a:extLst>
            </p:cNvPr>
            <p:cNvCxnSpPr/>
            <p:nvPr/>
          </p:nvCxnSpPr>
          <p:spPr>
            <a:xfrm>
              <a:off x="6343030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1" name="Google Shape;3807;p66">
              <a:extLst>
                <a:ext uri="{FF2B5EF4-FFF2-40B4-BE49-F238E27FC236}">
                  <a16:creationId xmlns:a16="http://schemas.microsoft.com/office/drawing/2014/main" id="{35A5672A-EBCD-B321-2FBA-003B12632BD3}"/>
                </a:ext>
              </a:extLst>
            </p:cNvPr>
            <p:cNvCxnSpPr/>
            <p:nvPr/>
          </p:nvCxnSpPr>
          <p:spPr>
            <a:xfrm>
              <a:off x="7651991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2" name="Google Shape;3848;p66">
              <a:extLst>
                <a:ext uri="{FF2B5EF4-FFF2-40B4-BE49-F238E27FC236}">
                  <a16:creationId xmlns:a16="http://schemas.microsoft.com/office/drawing/2014/main" id="{77F78F4C-5938-1F8A-BC6C-A5DAC7C052DC}"/>
                </a:ext>
              </a:extLst>
            </p:cNvPr>
            <p:cNvCxnSpPr/>
            <p:nvPr/>
          </p:nvCxnSpPr>
          <p:spPr>
            <a:xfrm>
              <a:off x="8966720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3" name="Google Shape;3892;p66">
              <a:extLst>
                <a:ext uri="{FF2B5EF4-FFF2-40B4-BE49-F238E27FC236}">
                  <a16:creationId xmlns:a16="http://schemas.microsoft.com/office/drawing/2014/main" id="{4C56C20A-B44A-AA63-C731-9A16AF471F13}"/>
                </a:ext>
              </a:extLst>
            </p:cNvPr>
            <p:cNvCxnSpPr/>
            <p:nvPr/>
          </p:nvCxnSpPr>
          <p:spPr>
            <a:xfrm>
              <a:off x="10281451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4" name="Google Shape;3758;p66">
              <a:extLst>
                <a:ext uri="{FF2B5EF4-FFF2-40B4-BE49-F238E27FC236}">
                  <a16:creationId xmlns:a16="http://schemas.microsoft.com/office/drawing/2014/main" id="{DAC313B4-D3B5-262E-5A52-89F532AD90A2}"/>
                </a:ext>
              </a:extLst>
            </p:cNvPr>
            <p:cNvCxnSpPr/>
            <p:nvPr/>
          </p:nvCxnSpPr>
          <p:spPr>
            <a:xfrm>
              <a:off x="5034072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5" name="Google Shape;3786;p66">
              <a:extLst>
                <a:ext uri="{FF2B5EF4-FFF2-40B4-BE49-F238E27FC236}">
                  <a16:creationId xmlns:a16="http://schemas.microsoft.com/office/drawing/2014/main" id="{C0BD99F8-8776-8D3E-545A-C45DF755DDEE}"/>
                </a:ext>
              </a:extLst>
            </p:cNvPr>
            <p:cNvCxnSpPr/>
            <p:nvPr/>
          </p:nvCxnSpPr>
          <p:spPr>
            <a:xfrm>
              <a:off x="6343030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6" name="Google Shape;3808;p66">
              <a:extLst>
                <a:ext uri="{FF2B5EF4-FFF2-40B4-BE49-F238E27FC236}">
                  <a16:creationId xmlns:a16="http://schemas.microsoft.com/office/drawing/2014/main" id="{24E657C1-6763-001C-F157-618768D89C4C}"/>
                </a:ext>
              </a:extLst>
            </p:cNvPr>
            <p:cNvCxnSpPr/>
            <p:nvPr/>
          </p:nvCxnSpPr>
          <p:spPr>
            <a:xfrm>
              <a:off x="7651991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7" name="Google Shape;3849;p66">
              <a:extLst>
                <a:ext uri="{FF2B5EF4-FFF2-40B4-BE49-F238E27FC236}">
                  <a16:creationId xmlns:a16="http://schemas.microsoft.com/office/drawing/2014/main" id="{71D3689B-76A8-D6A7-1B70-73A6890D1F70}"/>
                </a:ext>
              </a:extLst>
            </p:cNvPr>
            <p:cNvCxnSpPr/>
            <p:nvPr/>
          </p:nvCxnSpPr>
          <p:spPr>
            <a:xfrm>
              <a:off x="8966720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8" name="Google Shape;3893;p66">
              <a:extLst>
                <a:ext uri="{FF2B5EF4-FFF2-40B4-BE49-F238E27FC236}">
                  <a16:creationId xmlns:a16="http://schemas.microsoft.com/office/drawing/2014/main" id="{E3A4B592-1CB2-5658-3931-432459D78E43}"/>
                </a:ext>
              </a:extLst>
            </p:cNvPr>
            <p:cNvCxnSpPr/>
            <p:nvPr/>
          </p:nvCxnSpPr>
          <p:spPr>
            <a:xfrm>
              <a:off x="10281451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9" name="Google Shape;3759;p66">
              <a:extLst>
                <a:ext uri="{FF2B5EF4-FFF2-40B4-BE49-F238E27FC236}">
                  <a16:creationId xmlns:a16="http://schemas.microsoft.com/office/drawing/2014/main" id="{B8D15C43-E695-7E8D-746F-D24E136B29ED}"/>
                </a:ext>
              </a:extLst>
            </p:cNvPr>
            <p:cNvCxnSpPr/>
            <p:nvPr/>
          </p:nvCxnSpPr>
          <p:spPr>
            <a:xfrm>
              <a:off x="5034072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0" name="Google Shape;3787;p66">
              <a:extLst>
                <a:ext uri="{FF2B5EF4-FFF2-40B4-BE49-F238E27FC236}">
                  <a16:creationId xmlns:a16="http://schemas.microsoft.com/office/drawing/2014/main" id="{0D14A68E-A930-2008-7941-BDD836647E91}"/>
                </a:ext>
              </a:extLst>
            </p:cNvPr>
            <p:cNvCxnSpPr/>
            <p:nvPr/>
          </p:nvCxnSpPr>
          <p:spPr>
            <a:xfrm>
              <a:off x="6343030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1" name="Google Shape;3809;p66">
              <a:extLst>
                <a:ext uri="{FF2B5EF4-FFF2-40B4-BE49-F238E27FC236}">
                  <a16:creationId xmlns:a16="http://schemas.microsoft.com/office/drawing/2014/main" id="{52303FA6-6237-A24A-94B7-39224F0DF03F}"/>
                </a:ext>
              </a:extLst>
            </p:cNvPr>
            <p:cNvCxnSpPr/>
            <p:nvPr/>
          </p:nvCxnSpPr>
          <p:spPr>
            <a:xfrm>
              <a:off x="7651991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2" name="Google Shape;3850;p66">
              <a:extLst>
                <a:ext uri="{FF2B5EF4-FFF2-40B4-BE49-F238E27FC236}">
                  <a16:creationId xmlns:a16="http://schemas.microsoft.com/office/drawing/2014/main" id="{99EB7CE3-8781-C5A6-718C-321564BEF750}"/>
                </a:ext>
              </a:extLst>
            </p:cNvPr>
            <p:cNvCxnSpPr/>
            <p:nvPr/>
          </p:nvCxnSpPr>
          <p:spPr>
            <a:xfrm>
              <a:off x="8966720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3" name="Google Shape;3894;p66">
              <a:extLst>
                <a:ext uri="{FF2B5EF4-FFF2-40B4-BE49-F238E27FC236}">
                  <a16:creationId xmlns:a16="http://schemas.microsoft.com/office/drawing/2014/main" id="{8FC46C6E-A76A-829D-E3D0-14AF866E1089}"/>
                </a:ext>
              </a:extLst>
            </p:cNvPr>
            <p:cNvCxnSpPr/>
            <p:nvPr/>
          </p:nvCxnSpPr>
          <p:spPr>
            <a:xfrm>
              <a:off x="10281451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4" name="Google Shape;3760;p66">
              <a:extLst>
                <a:ext uri="{FF2B5EF4-FFF2-40B4-BE49-F238E27FC236}">
                  <a16:creationId xmlns:a16="http://schemas.microsoft.com/office/drawing/2014/main" id="{8CC91EB8-ECB8-93A9-F0FE-3DCA049C412D}"/>
                </a:ext>
              </a:extLst>
            </p:cNvPr>
            <p:cNvCxnSpPr/>
            <p:nvPr/>
          </p:nvCxnSpPr>
          <p:spPr>
            <a:xfrm>
              <a:off x="5034072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5" name="Google Shape;3788;p66">
              <a:extLst>
                <a:ext uri="{FF2B5EF4-FFF2-40B4-BE49-F238E27FC236}">
                  <a16:creationId xmlns:a16="http://schemas.microsoft.com/office/drawing/2014/main" id="{264734CF-D9B5-EBDA-9ECA-1CD379B4C118}"/>
                </a:ext>
              </a:extLst>
            </p:cNvPr>
            <p:cNvCxnSpPr/>
            <p:nvPr/>
          </p:nvCxnSpPr>
          <p:spPr>
            <a:xfrm>
              <a:off x="6343030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6" name="Google Shape;3810;p66">
              <a:extLst>
                <a:ext uri="{FF2B5EF4-FFF2-40B4-BE49-F238E27FC236}">
                  <a16:creationId xmlns:a16="http://schemas.microsoft.com/office/drawing/2014/main" id="{EEA3530D-52B6-9E26-83D0-DDFDD8B61AC7}"/>
                </a:ext>
              </a:extLst>
            </p:cNvPr>
            <p:cNvCxnSpPr/>
            <p:nvPr/>
          </p:nvCxnSpPr>
          <p:spPr>
            <a:xfrm>
              <a:off x="7651991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7" name="Google Shape;3851;p66">
              <a:extLst>
                <a:ext uri="{FF2B5EF4-FFF2-40B4-BE49-F238E27FC236}">
                  <a16:creationId xmlns:a16="http://schemas.microsoft.com/office/drawing/2014/main" id="{16B2A8B2-DC8C-9243-E24B-A7D91AC0E64C}"/>
                </a:ext>
              </a:extLst>
            </p:cNvPr>
            <p:cNvCxnSpPr/>
            <p:nvPr/>
          </p:nvCxnSpPr>
          <p:spPr>
            <a:xfrm>
              <a:off x="8966720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8" name="Google Shape;3895;p66">
              <a:extLst>
                <a:ext uri="{FF2B5EF4-FFF2-40B4-BE49-F238E27FC236}">
                  <a16:creationId xmlns:a16="http://schemas.microsoft.com/office/drawing/2014/main" id="{8E6F6C39-CAC5-6035-B2DD-FE1A9117B3FE}"/>
                </a:ext>
              </a:extLst>
            </p:cNvPr>
            <p:cNvCxnSpPr/>
            <p:nvPr/>
          </p:nvCxnSpPr>
          <p:spPr>
            <a:xfrm>
              <a:off x="10281451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9" name="Google Shape;3761;p66">
              <a:extLst>
                <a:ext uri="{FF2B5EF4-FFF2-40B4-BE49-F238E27FC236}">
                  <a16:creationId xmlns:a16="http://schemas.microsoft.com/office/drawing/2014/main" id="{1E7D2F22-2AFD-B5DB-D3D9-A11FEE206139}"/>
                </a:ext>
              </a:extLst>
            </p:cNvPr>
            <p:cNvCxnSpPr/>
            <p:nvPr/>
          </p:nvCxnSpPr>
          <p:spPr>
            <a:xfrm>
              <a:off x="5034072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0" name="Google Shape;3789;p66">
              <a:extLst>
                <a:ext uri="{FF2B5EF4-FFF2-40B4-BE49-F238E27FC236}">
                  <a16:creationId xmlns:a16="http://schemas.microsoft.com/office/drawing/2014/main" id="{C8204D6C-4A48-4725-F160-674C8864DB50}"/>
                </a:ext>
              </a:extLst>
            </p:cNvPr>
            <p:cNvCxnSpPr/>
            <p:nvPr/>
          </p:nvCxnSpPr>
          <p:spPr>
            <a:xfrm>
              <a:off x="6343030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1" name="Google Shape;3811;p66">
              <a:extLst>
                <a:ext uri="{FF2B5EF4-FFF2-40B4-BE49-F238E27FC236}">
                  <a16:creationId xmlns:a16="http://schemas.microsoft.com/office/drawing/2014/main" id="{16A96815-6F5A-0099-DE8F-3868126EC770}"/>
                </a:ext>
              </a:extLst>
            </p:cNvPr>
            <p:cNvCxnSpPr/>
            <p:nvPr/>
          </p:nvCxnSpPr>
          <p:spPr>
            <a:xfrm>
              <a:off x="7651991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2" name="Google Shape;3852;p66">
              <a:extLst>
                <a:ext uri="{FF2B5EF4-FFF2-40B4-BE49-F238E27FC236}">
                  <a16:creationId xmlns:a16="http://schemas.microsoft.com/office/drawing/2014/main" id="{385AFEF7-6A86-1953-2455-242D9C6DA6FF}"/>
                </a:ext>
              </a:extLst>
            </p:cNvPr>
            <p:cNvCxnSpPr/>
            <p:nvPr/>
          </p:nvCxnSpPr>
          <p:spPr>
            <a:xfrm>
              <a:off x="8966720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3" name="Google Shape;3896;p66">
              <a:extLst>
                <a:ext uri="{FF2B5EF4-FFF2-40B4-BE49-F238E27FC236}">
                  <a16:creationId xmlns:a16="http://schemas.microsoft.com/office/drawing/2014/main" id="{291F0CCB-35E9-07F1-346F-C07C9179C71A}"/>
                </a:ext>
              </a:extLst>
            </p:cNvPr>
            <p:cNvCxnSpPr/>
            <p:nvPr/>
          </p:nvCxnSpPr>
          <p:spPr>
            <a:xfrm>
              <a:off x="10281451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1776298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36E6CA0-E250-AC63-2D0E-C3F2078D33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618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4D8A6EE7-0132-4D71-AF4B-14BACC82510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CD4F212-577D-EBDB-62D6-69CBFA851277}"/>
              </a:ext>
            </a:extLst>
          </p:cNvPr>
          <p:cNvSpPr txBox="1"/>
          <p:nvPr/>
        </p:nvSpPr>
        <p:spPr>
          <a:xfrm>
            <a:off x="5957102" y="3136612"/>
            <a:ext cx="51314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8043987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BE793E-1619-760D-8500-D297C960E5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1DF1ABA-4C00-1DA5-B414-DA4331087A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DF1ABA-4C00-1DA5-B414-DA4331087A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ACB2C2FF-51B1-C50D-3E4E-E42E03CAB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FD55080-6D4F-2A7B-2D4D-2E0B3267F4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harts </a:t>
            </a:r>
          </a:p>
        </p:txBody>
      </p:sp>
    </p:spTree>
    <p:extLst>
      <p:ext uri="{BB962C8B-B14F-4D97-AF65-F5344CB8AC3E}">
        <p14:creationId xmlns:p14="http://schemas.microsoft.com/office/powerpoint/2010/main" val="29622212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A94B97-6995-3061-7AB6-58EFFD5366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5B0F0AB-443E-9626-9D60-392680D745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0F0AB-443E-9626-9D60-392680D74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8B23DC-A2F1-1F98-907F-5D3093CE7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graphicFrame>
        <p:nvGraphicFramePr>
          <p:cNvPr id="43" name="Chart 50">
            <a:extLst>
              <a:ext uri="{FF2B5EF4-FFF2-40B4-BE49-F238E27FC236}">
                <a16:creationId xmlns:a16="http://schemas.microsoft.com/office/drawing/2014/main" id="{60A082CF-BFF6-A62E-CFB7-22DECFBEE189}"/>
              </a:ext>
            </a:extLst>
          </p:cNvPr>
          <p:cNvGraphicFramePr>
            <a:graphicFrameLocks/>
          </p:cNvGraphicFramePr>
          <p:nvPr/>
        </p:nvGraphicFramePr>
        <p:xfrm>
          <a:off x="481013" y="2581275"/>
          <a:ext cx="11233150" cy="3984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4" name="Oval 43">
            <a:extLst>
              <a:ext uri="{FF2B5EF4-FFF2-40B4-BE49-F238E27FC236}">
                <a16:creationId xmlns:a16="http://schemas.microsoft.com/office/drawing/2014/main" id="{38FEBC79-DBF9-2B21-836E-F9EB133BA951}"/>
              </a:ext>
            </a:extLst>
          </p:cNvPr>
          <p:cNvSpPr/>
          <p:nvPr/>
        </p:nvSpPr>
        <p:spPr>
          <a:xfrm>
            <a:off x="9469438" y="4748213"/>
            <a:ext cx="446087" cy="44608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B586FB2-31BB-61A4-848A-D37C615825DB}"/>
              </a:ext>
            </a:extLst>
          </p:cNvPr>
          <p:cNvCxnSpPr/>
          <p:nvPr/>
        </p:nvCxnSpPr>
        <p:spPr>
          <a:xfrm>
            <a:off x="9693275" y="2525713"/>
            <a:ext cx="0" cy="255587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1889187A-85CD-A3BB-F717-501509FD56A4}"/>
              </a:ext>
            </a:extLst>
          </p:cNvPr>
          <p:cNvCxnSpPr/>
          <p:nvPr/>
        </p:nvCxnSpPr>
        <p:spPr>
          <a:xfrm>
            <a:off x="7661275" y="2473325"/>
            <a:ext cx="0" cy="151130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8E66D4C-0EE0-2CF9-B05B-E428BA8601E1}"/>
              </a:ext>
            </a:extLst>
          </p:cNvPr>
          <p:cNvCxnSpPr/>
          <p:nvPr/>
        </p:nvCxnSpPr>
        <p:spPr>
          <a:xfrm>
            <a:off x="2581275" y="2408238"/>
            <a:ext cx="0" cy="298767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E3CDD008-0DB4-48EB-677C-4E3BBD6860DD}"/>
              </a:ext>
            </a:extLst>
          </p:cNvPr>
          <p:cNvCxnSpPr/>
          <p:nvPr/>
        </p:nvCxnSpPr>
        <p:spPr>
          <a:xfrm>
            <a:off x="5197475" y="2497138"/>
            <a:ext cx="0" cy="172720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57">
            <a:extLst>
              <a:ext uri="{FF2B5EF4-FFF2-40B4-BE49-F238E27FC236}">
                <a16:creationId xmlns:a16="http://schemas.microsoft.com/office/drawing/2014/main" id="{5EB35A8B-BDAA-BD04-4454-B41F5305915D}"/>
              </a:ext>
            </a:extLst>
          </p:cNvPr>
          <p:cNvGrpSpPr>
            <a:grpSpLocks/>
          </p:cNvGrpSpPr>
          <p:nvPr/>
        </p:nvGrpSpPr>
        <p:grpSpPr bwMode="auto">
          <a:xfrm>
            <a:off x="2052638" y="1571625"/>
            <a:ext cx="1057275" cy="1009650"/>
            <a:chOff x="2499360" y="1439593"/>
            <a:chExt cx="1056640" cy="1008993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4227C39-A843-1E30-CB13-494DF3E47C3C}"/>
                </a:ext>
              </a:extLst>
            </p:cNvPr>
            <p:cNvSpPr/>
            <p:nvPr/>
          </p:nvSpPr>
          <p:spPr>
            <a:xfrm>
              <a:off x="2499360" y="1439593"/>
              <a:ext cx="1056640" cy="71073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/>
                <a:t>30%</a:t>
              </a:r>
              <a:endParaRPr lang="en-US" sz="2400" b="1" dirty="0"/>
            </a:p>
          </p:txBody>
        </p:sp>
        <p:sp>
          <p:nvSpPr>
            <p:cNvPr id="51" name="Isosceles Triangle 50">
              <a:extLst>
                <a:ext uri="{FF2B5EF4-FFF2-40B4-BE49-F238E27FC236}">
                  <a16:creationId xmlns:a16="http://schemas.microsoft.com/office/drawing/2014/main" id="{B6E96D5D-8983-53A5-0FBE-53CB22C8CD3E}"/>
                </a:ext>
              </a:extLst>
            </p:cNvPr>
            <p:cNvSpPr/>
            <p:nvPr/>
          </p:nvSpPr>
          <p:spPr>
            <a:xfrm flipV="1">
              <a:off x="2854746" y="2150330"/>
              <a:ext cx="345867" cy="298256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64ECE9-0692-A218-5475-A8B566574AB9}"/>
              </a:ext>
            </a:extLst>
          </p:cNvPr>
          <p:cNvGrpSpPr/>
          <p:nvPr/>
        </p:nvGrpSpPr>
        <p:grpSpPr>
          <a:xfrm>
            <a:off x="9164320" y="1564989"/>
            <a:ext cx="1056640" cy="1008993"/>
            <a:chOff x="2499360" y="1439593"/>
            <a:chExt cx="1056640" cy="1008993"/>
          </a:xfrm>
          <a:solidFill>
            <a:schemeClr val="accent2"/>
          </a:solidFill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6FB4CA75-0820-D4A3-AE93-E8F1D042F244}"/>
                </a:ext>
              </a:extLst>
            </p:cNvPr>
            <p:cNvSpPr/>
            <p:nvPr/>
          </p:nvSpPr>
          <p:spPr>
            <a:xfrm>
              <a:off x="2499360" y="1439593"/>
              <a:ext cx="1056640" cy="71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/>
                <a:t>90%</a:t>
              </a:r>
              <a:endParaRPr lang="en-US" sz="2400" b="1" dirty="0"/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9BD27A41-9C1F-00AD-9D9B-48AE0BDC1D72}"/>
                </a:ext>
              </a:extLst>
            </p:cNvPr>
            <p:cNvSpPr/>
            <p:nvPr/>
          </p:nvSpPr>
          <p:spPr>
            <a:xfrm flipV="1">
              <a:off x="2854960" y="2150793"/>
              <a:ext cx="345440" cy="29779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C121A66-004A-2EAC-DD9A-AC1A94638FC9}"/>
              </a:ext>
            </a:extLst>
          </p:cNvPr>
          <p:cNvGrpSpPr/>
          <p:nvPr/>
        </p:nvGrpSpPr>
        <p:grpSpPr>
          <a:xfrm>
            <a:off x="4679035" y="1548344"/>
            <a:ext cx="1056640" cy="1008993"/>
            <a:chOff x="2499360" y="1439593"/>
            <a:chExt cx="1056640" cy="1008993"/>
          </a:xfrm>
          <a:solidFill>
            <a:schemeClr val="accent3"/>
          </a:solidFill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72BB8B6-D57D-8475-FC7D-6D9337CC8826}"/>
                </a:ext>
              </a:extLst>
            </p:cNvPr>
            <p:cNvSpPr/>
            <p:nvPr/>
          </p:nvSpPr>
          <p:spPr>
            <a:xfrm>
              <a:off x="2499360" y="1439593"/>
              <a:ext cx="1056640" cy="71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/>
                <a:t>90%</a:t>
              </a:r>
              <a:endParaRPr lang="en-US" sz="2400" b="1" dirty="0"/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C6DC261D-BBAA-18BA-2F07-3FEDBB519047}"/>
                </a:ext>
              </a:extLst>
            </p:cNvPr>
            <p:cNvSpPr/>
            <p:nvPr/>
          </p:nvSpPr>
          <p:spPr>
            <a:xfrm flipV="1">
              <a:off x="2854960" y="2150793"/>
              <a:ext cx="345440" cy="29779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05FDCA2-CD87-C2CA-9FFC-C4C67771B3DB}"/>
              </a:ext>
            </a:extLst>
          </p:cNvPr>
          <p:cNvGrpSpPr/>
          <p:nvPr/>
        </p:nvGrpSpPr>
        <p:grpSpPr>
          <a:xfrm>
            <a:off x="7152877" y="1548344"/>
            <a:ext cx="1056640" cy="1008993"/>
            <a:chOff x="2499360" y="1439593"/>
            <a:chExt cx="1056640" cy="1008993"/>
          </a:xfrm>
          <a:solidFill>
            <a:schemeClr val="accent4"/>
          </a:solidFill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4EC0244-BA22-F77A-9B7C-7CD14221F9CB}"/>
                </a:ext>
              </a:extLst>
            </p:cNvPr>
            <p:cNvSpPr/>
            <p:nvPr/>
          </p:nvSpPr>
          <p:spPr>
            <a:xfrm>
              <a:off x="2499360" y="1439593"/>
              <a:ext cx="1056640" cy="71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/>
                <a:t>90%</a:t>
              </a:r>
              <a:endParaRPr lang="en-US" sz="2400" b="1" dirty="0"/>
            </a:p>
          </p:txBody>
        </p:sp>
        <p:sp>
          <p:nvSpPr>
            <p:cNvPr id="61" name="Isosceles Triangle 60">
              <a:extLst>
                <a:ext uri="{FF2B5EF4-FFF2-40B4-BE49-F238E27FC236}">
                  <a16:creationId xmlns:a16="http://schemas.microsoft.com/office/drawing/2014/main" id="{5B417FD9-7F29-AA3A-F89F-3A4AF78666C3}"/>
                </a:ext>
              </a:extLst>
            </p:cNvPr>
            <p:cNvSpPr/>
            <p:nvPr/>
          </p:nvSpPr>
          <p:spPr>
            <a:xfrm flipV="1">
              <a:off x="2854960" y="2150793"/>
              <a:ext cx="345440" cy="29779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93967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2657E1-7CBD-A6A7-FCF4-1D1EF2130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BF85C16-6E15-1C7B-F399-0BABA66C5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F85C16-6E15-1C7B-F399-0BABA66C5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5D9677-70D1-D03D-E91D-50F084D93F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C9A5F05-D098-CED3-E11C-7F66A527F68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2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5">
            <a:extLst>
              <a:ext uri="{FF2B5EF4-FFF2-40B4-BE49-F238E27FC236}">
                <a16:creationId xmlns:a16="http://schemas.microsoft.com/office/drawing/2014/main" id="{3681B647-983D-3443-C29A-81E323EF31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1553351"/>
              </p:ext>
            </p:extLst>
          </p:nvPr>
        </p:nvGraphicFramePr>
        <p:xfrm>
          <a:off x="481013" y="1133158"/>
          <a:ext cx="5883275" cy="4779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1EA1E5F-C126-4097-0F69-41690185AD39}"/>
              </a:ext>
            </a:extLst>
          </p:cNvPr>
          <p:cNvSpPr/>
          <p:nvPr/>
        </p:nvSpPr>
        <p:spPr>
          <a:xfrm>
            <a:off x="6621463" y="1269683"/>
            <a:ext cx="1000125" cy="1000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948E420-7744-CF85-CEC6-03FC3BB1A28C}"/>
              </a:ext>
            </a:extLst>
          </p:cNvPr>
          <p:cNvSpPr/>
          <p:nvPr/>
        </p:nvSpPr>
        <p:spPr>
          <a:xfrm>
            <a:off x="6621463" y="2458720"/>
            <a:ext cx="1000125" cy="1000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404279-062D-9220-3710-245490E11EE6}"/>
              </a:ext>
            </a:extLst>
          </p:cNvPr>
          <p:cNvSpPr/>
          <p:nvPr/>
        </p:nvSpPr>
        <p:spPr>
          <a:xfrm>
            <a:off x="6621463" y="3654108"/>
            <a:ext cx="1000125" cy="1000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6" name="Freeform 139">
            <a:extLst>
              <a:ext uri="{FF2B5EF4-FFF2-40B4-BE49-F238E27FC236}">
                <a16:creationId xmlns:a16="http://schemas.microsoft.com/office/drawing/2014/main" id="{B9753C28-E876-87E9-1AE4-7BD09D41409F}"/>
              </a:ext>
            </a:extLst>
          </p:cNvPr>
          <p:cNvSpPr>
            <a:spLocks noEditPoints="1"/>
          </p:cNvSpPr>
          <p:nvPr/>
        </p:nvSpPr>
        <p:spPr bwMode="auto">
          <a:xfrm>
            <a:off x="6889750" y="1490345"/>
            <a:ext cx="474663" cy="530225"/>
          </a:xfrm>
          <a:custGeom>
            <a:avLst/>
            <a:gdLst>
              <a:gd name="T0" fmla="*/ 474829 w 49"/>
              <a:gd name="T1" fmla="*/ 86776 h 61"/>
              <a:gd name="T2" fmla="*/ 0 w 49"/>
              <a:gd name="T3" fmla="*/ 86776 h 61"/>
              <a:gd name="T4" fmla="*/ 0 w 49"/>
              <a:gd name="T5" fmla="*/ 69420 h 61"/>
              <a:gd name="T6" fmla="*/ 67833 w 49"/>
              <a:gd name="T7" fmla="*/ 0 h 61"/>
              <a:gd name="T8" fmla="*/ 397306 w 49"/>
              <a:gd name="T9" fmla="*/ 0 h 61"/>
              <a:gd name="T10" fmla="*/ 474829 w 49"/>
              <a:gd name="T11" fmla="*/ 69420 h 61"/>
              <a:gd name="T12" fmla="*/ 474829 w 49"/>
              <a:gd name="T13" fmla="*/ 86776 h 61"/>
              <a:gd name="T14" fmla="*/ 474829 w 49"/>
              <a:gd name="T15" fmla="*/ 208261 h 61"/>
              <a:gd name="T16" fmla="*/ 0 w 49"/>
              <a:gd name="T17" fmla="*/ 208261 h 61"/>
              <a:gd name="T18" fmla="*/ 0 w 49"/>
              <a:gd name="T19" fmla="*/ 112808 h 61"/>
              <a:gd name="T20" fmla="*/ 474829 w 49"/>
              <a:gd name="T21" fmla="*/ 112808 h 61"/>
              <a:gd name="T22" fmla="*/ 474829 w 49"/>
              <a:gd name="T23" fmla="*/ 208261 h 61"/>
              <a:gd name="T24" fmla="*/ 474829 w 49"/>
              <a:gd name="T25" fmla="*/ 321070 h 61"/>
              <a:gd name="T26" fmla="*/ 0 w 49"/>
              <a:gd name="T27" fmla="*/ 321070 h 61"/>
              <a:gd name="T28" fmla="*/ 0 w 49"/>
              <a:gd name="T29" fmla="*/ 234294 h 61"/>
              <a:gd name="T30" fmla="*/ 474829 w 49"/>
              <a:gd name="T31" fmla="*/ 234294 h 61"/>
              <a:gd name="T32" fmla="*/ 474829 w 49"/>
              <a:gd name="T33" fmla="*/ 321070 h 61"/>
              <a:gd name="T34" fmla="*/ 474829 w 49"/>
              <a:gd name="T35" fmla="*/ 364457 h 61"/>
              <a:gd name="T36" fmla="*/ 397306 w 49"/>
              <a:gd name="T37" fmla="*/ 433878 h 61"/>
              <a:gd name="T38" fmla="*/ 377925 w 49"/>
              <a:gd name="T39" fmla="*/ 433878 h 61"/>
              <a:gd name="T40" fmla="*/ 281021 w 49"/>
              <a:gd name="T41" fmla="*/ 529331 h 61"/>
              <a:gd name="T42" fmla="*/ 281021 w 49"/>
              <a:gd name="T43" fmla="*/ 433878 h 61"/>
              <a:gd name="T44" fmla="*/ 67833 w 49"/>
              <a:gd name="T45" fmla="*/ 433878 h 61"/>
              <a:gd name="T46" fmla="*/ 0 w 49"/>
              <a:gd name="T47" fmla="*/ 364457 h 61"/>
              <a:gd name="T48" fmla="*/ 0 w 49"/>
              <a:gd name="T49" fmla="*/ 347102 h 61"/>
              <a:gd name="T50" fmla="*/ 474829 w 49"/>
              <a:gd name="T51" fmla="*/ 347102 h 61"/>
              <a:gd name="T52" fmla="*/ 474829 w 49"/>
              <a:gd name="T53" fmla="*/ 364457 h 61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9" h="61">
                <a:moveTo>
                  <a:pt x="49" y="10"/>
                </a:moveTo>
                <a:cubicBezTo>
                  <a:pt x="0" y="10"/>
                  <a:pt x="0" y="10"/>
                  <a:pt x="0" y="10"/>
                </a:cubicBezTo>
                <a:cubicBezTo>
                  <a:pt x="0" y="8"/>
                  <a:pt x="0" y="8"/>
                  <a:pt x="0" y="8"/>
                </a:cubicBezTo>
                <a:cubicBezTo>
                  <a:pt x="0" y="3"/>
                  <a:pt x="3" y="0"/>
                  <a:pt x="7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46" y="0"/>
                  <a:pt x="49" y="3"/>
                  <a:pt x="49" y="8"/>
                </a:cubicBezTo>
                <a:lnTo>
                  <a:pt x="49" y="10"/>
                </a:lnTo>
                <a:close/>
                <a:moveTo>
                  <a:pt x="49" y="24"/>
                </a:moveTo>
                <a:cubicBezTo>
                  <a:pt x="0" y="24"/>
                  <a:pt x="0" y="24"/>
                  <a:pt x="0" y="24"/>
                </a:cubicBezTo>
                <a:cubicBezTo>
                  <a:pt x="0" y="13"/>
                  <a:pt x="0" y="13"/>
                  <a:pt x="0" y="13"/>
                </a:cubicBezTo>
                <a:cubicBezTo>
                  <a:pt x="49" y="13"/>
                  <a:pt x="49" y="13"/>
                  <a:pt x="49" y="13"/>
                </a:cubicBezTo>
                <a:lnTo>
                  <a:pt x="49" y="24"/>
                </a:lnTo>
                <a:close/>
                <a:moveTo>
                  <a:pt x="49" y="37"/>
                </a:moveTo>
                <a:cubicBezTo>
                  <a:pt x="0" y="37"/>
                  <a:pt x="0" y="37"/>
                  <a:pt x="0" y="37"/>
                </a:cubicBezTo>
                <a:cubicBezTo>
                  <a:pt x="0" y="27"/>
                  <a:pt x="0" y="27"/>
                  <a:pt x="0" y="27"/>
                </a:cubicBezTo>
                <a:cubicBezTo>
                  <a:pt x="49" y="27"/>
                  <a:pt x="49" y="27"/>
                  <a:pt x="49" y="27"/>
                </a:cubicBezTo>
                <a:lnTo>
                  <a:pt x="49" y="37"/>
                </a:lnTo>
                <a:close/>
                <a:moveTo>
                  <a:pt x="49" y="42"/>
                </a:moveTo>
                <a:cubicBezTo>
                  <a:pt x="49" y="47"/>
                  <a:pt x="46" y="50"/>
                  <a:pt x="41" y="50"/>
                </a:cubicBezTo>
                <a:cubicBezTo>
                  <a:pt x="39" y="50"/>
                  <a:pt x="39" y="50"/>
                  <a:pt x="39" y="50"/>
                </a:cubicBezTo>
                <a:cubicBezTo>
                  <a:pt x="29" y="61"/>
                  <a:pt x="29" y="61"/>
                  <a:pt x="29" y="61"/>
                </a:cubicBezTo>
                <a:cubicBezTo>
                  <a:pt x="29" y="50"/>
                  <a:pt x="29" y="50"/>
                  <a:pt x="29" y="50"/>
                </a:cubicBezTo>
                <a:cubicBezTo>
                  <a:pt x="7" y="50"/>
                  <a:pt x="7" y="50"/>
                  <a:pt x="7" y="50"/>
                </a:cubicBezTo>
                <a:cubicBezTo>
                  <a:pt x="3" y="50"/>
                  <a:pt x="0" y="47"/>
                  <a:pt x="0" y="42"/>
                </a:cubicBezTo>
                <a:cubicBezTo>
                  <a:pt x="0" y="40"/>
                  <a:pt x="0" y="40"/>
                  <a:pt x="0" y="40"/>
                </a:cubicBezTo>
                <a:cubicBezTo>
                  <a:pt x="49" y="40"/>
                  <a:pt x="49" y="40"/>
                  <a:pt x="49" y="40"/>
                </a:cubicBezTo>
                <a:lnTo>
                  <a:pt x="49" y="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8" name="Freeform 221">
            <a:extLst>
              <a:ext uri="{FF2B5EF4-FFF2-40B4-BE49-F238E27FC236}">
                <a16:creationId xmlns:a16="http://schemas.microsoft.com/office/drawing/2014/main" id="{B32860C1-4383-549D-7FA2-56606B688DF0}"/>
              </a:ext>
            </a:extLst>
          </p:cNvPr>
          <p:cNvSpPr>
            <a:spLocks noEditPoints="1"/>
          </p:cNvSpPr>
          <p:nvPr/>
        </p:nvSpPr>
        <p:spPr bwMode="auto">
          <a:xfrm>
            <a:off x="6880225" y="2739708"/>
            <a:ext cx="490538" cy="450850"/>
          </a:xfrm>
          <a:custGeom>
            <a:avLst/>
            <a:gdLst>
              <a:gd name="T0" fmla="*/ 165958 w 59"/>
              <a:gd name="T1" fmla="*/ 132309 h 58"/>
              <a:gd name="T2" fmla="*/ 141065 w 59"/>
              <a:gd name="T3" fmla="*/ 147874 h 58"/>
              <a:gd name="T4" fmla="*/ 24894 w 59"/>
              <a:gd name="T5" fmla="*/ 147874 h 58"/>
              <a:gd name="T6" fmla="*/ 0 w 59"/>
              <a:gd name="T7" fmla="*/ 132309 h 58"/>
              <a:gd name="T8" fmla="*/ 0 w 59"/>
              <a:gd name="T9" fmla="*/ 15566 h 58"/>
              <a:gd name="T10" fmla="*/ 24894 w 59"/>
              <a:gd name="T11" fmla="*/ 0 h 58"/>
              <a:gd name="T12" fmla="*/ 141065 w 59"/>
              <a:gd name="T13" fmla="*/ 0 h 58"/>
              <a:gd name="T14" fmla="*/ 165958 w 59"/>
              <a:gd name="T15" fmla="*/ 15566 h 58"/>
              <a:gd name="T16" fmla="*/ 165958 w 59"/>
              <a:gd name="T17" fmla="*/ 132309 h 58"/>
              <a:gd name="T18" fmla="*/ 489577 w 59"/>
              <a:gd name="T19" fmla="*/ 241269 h 58"/>
              <a:gd name="T20" fmla="*/ 248937 w 59"/>
              <a:gd name="T21" fmla="*/ 451406 h 58"/>
              <a:gd name="T22" fmla="*/ 0 w 59"/>
              <a:gd name="T23" fmla="*/ 241269 h 58"/>
              <a:gd name="T24" fmla="*/ 0 w 59"/>
              <a:gd name="T25" fmla="*/ 202354 h 58"/>
              <a:gd name="T26" fmla="*/ 24894 w 59"/>
              <a:gd name="T27" fmla="*/ 186789 h 58"/>
              <a:gd name="T28" fmla="*/ 141065 w 59"/>
              <a:gd name="T29" fmla="*/ 186789 h 58"/>
              <a:gd name="T30" fmla="*/ 165958 w 59"/>
              <a:gd name="T31" fmla="*/ 202354 h 58"/>
              <a:gd name="T32" fmla="*/ 165958 w 59"/>
              <a:gd name="T33" fmla="*/ 241269 h 58"/>
              <a:gd name="T34" fmla="*/ 248937 w 59"/>
              <a:gd name="T35" fmla="*/ 295749 h 58"/>
              <a:gd name="T36" fmla="*/ 323619 w 59"/>
              <a:gd name="T37" fmla="*/ 241269 h 58"/>
              <a:gd name="T38" fmla="*/ 323619 w 59"/>
              <a:gd name="T39" fmla="*/ 202354 h 58"/>
              <a:gd name="T40" fmla="*/ 348512 w 59"/>
              <a:gd name="T41" fmla="*/ 186789 h 58"/>
              <a:gd name="T42" fmla="*/ 464683 w 59"/>
              <a:gd name="T43" fmla="*/ 186789 h 58"/>
              <a:gd name="T44" fmla="*/ 489577 w 59"/>
              <a:gd name="T45" fmla="*/ 202354 h 58"/>
              <a:gd name="T46" fmla="*/ 489577 w 59"/>
              <a:gd name="T47" fmla="*/ 241269 h 58"/>
              <a:gd name="T48" fmla="*/ 489577 w 59"/>
              <a:gd name="T49" fmla="*/ 132309 h 58"/>
              <a:gd name="T50" fmla="*/ 464683 w 59"/>
              <a:gd name="T51" fmla="*/ 147874 h 58"/>
              <a:gd name="T52" fmla="*/ 348512 w 59"/>
              <a:gd name="T53" fmla="*/ 147874 h 58"/>
              <a:gd name="T54" fmla="*/ 323619 w 59"/>
              <a:gd name="T55" fmla="*/ 132309 h 58"/>
              <a:gd name="T56" fmla="*/ 323619 w 59"/>
              <a:gd name="T57" fmla="*/ 15566 h 58"/>
              <a:gd name="T58" fmla="*/ 348512 w 59"/>
              <a:gd name="T59" fmla="*/ 0 h 58"/>
              <a:gd name="T60" fmla="*/ 464683 w 59"/>
              <a:gd name="T61" fmla="*/ 0 h 58"/>
              <a:gd name="T62" fmla="*/ 489577 w 59"/>
              <a:gd name="T63" fmla="*/ 15566 h 58"/>
              <a:gd name="T64" fmla="*/ 489577 w 59"/>
              <a:gd name="T65" fmla="*/ 132309 h 5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59" h="58">
                <a:moveTo>
                  <a:pt x="20" y="17"/>
                </a:moveTo>
                <a:cubicBezTo>
                  <a:pt x="20" y="18"/>
                  <a:pt x="19" y="19"/>
                  <a:pt x="17" y="19"/>
                </a:cubicBezTo>
                <a:cubicBezTo>
                  <a:pt x="3" y="19"/>
                  <a:pt x="3" y="19"/>
                  <a:pt x="3" y="19"/>
                </a:cubicBezTo>
                <a:cubicBezTo>
                  <a:pt x="2" y="19"/>
                  <a:pt x="0" y="18"/>
                  <a:pt x="0" y="17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19" y="0"/>
                  <a:pt x="20" y="1"/>
                  <a:pt x="20" y="2"/>
                </a:cubicBezTo>
                <a:lnTo>
                  <a:pt x="20" y="17"/>
                </a:lnTo>
                <a:close/>
                <a:moveTo>
                  <a:pt x="59" y="31"/>
                </a:moveTo>
                <a:cubicBezTo>
                  <a:pt x="59" y="47"/>
                  <a:pt x="46" y="58"/>
                  <a:pt x="30" y="58"/>
                </a:cubicBezTo>
                <a:cubicBezTo>
                  <a:pt x="13" y="58"/>
                  <a:pt x="0" y="47"/>
                  <a:pt x="0" y="31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25"/>
                  <a:pt x="2" y="24"/>
                  <a:pt x="3" y="24"/>
                </a:cubicBezTo>
                <a:cubicBezTo>
                  <a:pt x="17" y="24"/>
                  <a:pt x="17" y="24"/>
                  <a:pt x="17" y="24"/>
                </a:cubicBezTo>
                <a:cubicBezTo>
                  <a:pt x="19" y="24"/>
                  <a:pt x="20" y="25"/>
                  <a:pt x="20" y="26"/>
                </a:cubicBezTo>
                <a:cubicBezTo>
                  <a:pt x="20" y="31"/>
                  <a:pt x="20" y="31"/>
                  <a:pt x="20" y="31"/>
                </a:cubicBezTo>
                <a:cubicBezTo>
                  <a:pt x="20" y="38"/>
                  <a:pt x="28" y="38"/>
                  <a:pt x="30" y="38"/>
                </a:cubicBezTo>
                <a:cubicBezTo>
                  <a:pt x="31" y="38"/>
                  <a:pt x="39" y="38"/>
                  <a:pt x="39" y="31"/>
                </a:cubicBezTo>
                <a:cubicBezTo>
                  <a:pt x="39" y="26"/>
                  <a:pt x="39" y="26"/>
                  <a:pt x="39" y="26"/>
                </a:cubicBezTo>
                <a:cubicBezTo>
                  <a:pt x="39" y="25"/>
                  <a:pt x="40" y="24"/>
                  <a:pt x="42" y="24"/>
                </a:cubicBezTo>
                <a:cubicBezTo>
                  <a:pt x="56" y="24"/>
                  <a:pt x="56" y="24"/>
                  <a:pt x="56" y="24"/>
                </a:cubicBezTo>
                <a:cubicBezTo>
                  <a:pt x="58" y="24"/>
                  <a:pt x="59" y="25"/>
                  <a:pt x="59" y="26"/>
                </a:cubicBezTo>
                <a:lnTo>
                  <a:pt x="59" y="31"/>
                </a:lnTo>
                <a:close/>
                <a:moveTo>
                  <a:pt x="59" y="17"/>
                </a:moveTo>
                <a:cubicBezTo>
                  <a:pt x="59" y="18"/>
                  <a:pt x="58" y="19"/>
                  <a:pt x="56" y="19"/>
                </a:cubicBezTo>
                <a:cubicBezTo>
                  <a:pt x="42" y="19"/>
                  <a:pt x="42" y="19"/>
                  <a:pt x="42" y="19"/>
                </a:cubicBezTo>
                <a:cubicBezTo>
                  <a:pt x="40" y="19"/>
                  <a:pt x="39" y="18"/>
                  <a:pt x="39" y="17"/>
                </a:cubicBezTo>
                <a:cubicBezTo>
                  <a:pt x="39" y="2"/>
                  <a:pt x="39" y="2"/>
                  <a:pt x="39" y="2"/>
                </a:cubicBezTo>
                <a:cubicBezTo>
                  <a:pt x="39" y="1"/>
                  <a:pt x="40" y="0"/>
                  <a:pt x="42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8" y="0"/>
                  <a:pt x="59" y="1"/>
                  <a:pt x="59" y="2"/>
                </a:cubicBezTo>
                <a:lnTo>
                  <a:pt x="59" y="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9" name="Freeform 15">
            <a:extLst>
              <a:ext uri="{FF2B5EF4-FFF2-40B4-BE49-F238E27FC236}">
                <a16:creationId xmlns:a16="http://schemas.microsoft.com/office/drawing/2014/main" id="{8A987E92-9A85-4E9D-3273-1476AB159F15}"/>
              </a:ext>
            </a:extLst>
          </p:cNvPr>
          <p:cNvSpPr>
            <a:spLocks noEditPoints="1"/>
          </p:cNvSpPr>
          <p:nvPr/>
        </p:nvSpPr>
        <p:spPr bwMode="auto">
          <a:xfrm>
            <a:off x="6848475" y="3920808"/>
            <a:ext cx="565150" cy="427037"/>
          </a:xfrm>
          <a:custGeom>
            <a:avLst/>
            <a:gdLst>
              <a:gd name="T0" fmla="*/ 168 w 168"/>
              <a:gd name="T1" fmla="*/ 126 h 126"/>
              <a:gd name="T2" fmla="*/ 0 w 168"/>
              <a:gd name="T3" fmla="*/ 126 h 126"/>
              <a:gd name="T4" fmla="*/ 0 w 168"/>
              <a:gd name="T5" fmla="*/ 0 h 126"/>
              <a:gd name="T6" fmla="*/ 10 w 168"/>
              <a:gd name="T7" fmla="*/ 0 h 126"/>
              <a:gd name="T8" fmla="*/ 10 w 168"/>
              <a:gd name="T9" fmla="*/ 115 h 126"/>
              <a:gd name="T10" fmla="*/ 168 w 168"/>
              <a:gd name="T11" fmla="*/ 115 h 126"/>
              <a:gd name="T12" fmla="*/ 168 w 168"/>
              <a:gd name="T13" fmla="*/ 126 h 126"/>
              <a:gd name="T14" fmla="*/ 54 w 168"/>
              <a:gd name="T15" fmla="*/ 104 h 126"/>
              <a:gd name="T16" fmla="*/ 32 w 168"/>
              <a:gd name="T17" fmla="*/ 104 h 126"/>
              <a:gd name="T18" fmla="*/ 32 w 168"/>
              <a:gd name="T19" fmla="*/ 63 h 126"/>
              <a:gd name="T20" fmla="*/ 54 w 168"/>
              <a:gd name="T21" fmla="*/ 63 h 126"/>
              <a:gd name="T22" fmla="*/ 54 w 168"/>
              <a:gd name="T23" fmla="*/ 104 h 126"/>
              <a:gd name="T24" fmla="*/ 84 w 168"/>
              <a:gd name="T25" fmla="*/ 104 h 126"/>
              <a:gd name="T26" fmla="*/ 64 w 168"/>
              <a:gd name="T27" fmla="*/ 104 h 126"/>
              <a:gd name="T28" fmla="*/ 64 w 168"/>
              <a:gd name="T29" fmla="*/ 19 h 126"/>
              <a:gd name="T30" fmla="*/ 84 w 168"/>
              <a:gd name="T31" fmla="*/ 19 h 126"/>
              <a:gd name="T32" fmla="*/ 84 w 168"/>
              <a:gd name="T33" fmla="*/ 104 h 126"/>
              <a:gd name="T34" fmla="*/ 116 w 168"/>
              <a:gd name="T35" fmla="*/ 104 h 126"/>
              <a:gd name="T36" fmla="*/ 95 w 168"/>
              <a:gd name="T37" fmla="*/ 104 h 126"/>
              <a:gd name="T38" fmla="*/ 95 w 168"/>
              <a:gd name="T39" fmla="*/ 41 h 126"/>
              <a:gd name="T40" fmla="*/ 116 w 168"/>
              <a:gd name="T41" fmla="*/ 41 h 126"/>
              <a:gd name="T42" fmla="*/ 116 w 168"/>
              <a:gd name="T43" fmla="*/ 104 h 126"/>
              <a:gd name="T44" fmla="*/ 147 w 168"/>
              <a:gd name="T45" fmla="*/ 104 h 126"/>
              <a:gd name="T46" fmla="*/ 127 w 168"/>
              <a:gd name="T47" fmla="*/ 104 h 126"/>
              <a:gd name="T48" fmla="*/ 127 w 168"/>
              <a:gd name="T49" fmla="*/ 9 h 126"/>
              <a:gd name="T50" fmla="*/ 147 w 168"/>
              <a:gd name="T51" fmla="*/ 9 h 126"/>
              <a:gd name="T52" fmla="*/ 147 w 168"/>
              <a:gd name="T53" fmla="*/ 104 h 12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68" h="126">
                <a:moveTo>
                  <a:pt x="168" y="126"/>
                </a:moveTo>
                <a:lnTo>
                  <a:pt x="0" y="126"/>
                </a:lnTo>
                <a:lnTo>
                  <a:pt x="0" y="0"/>
                </a:lnTo>
                <a:lnTo>
                  <a:pt x="10" y="0"/>
                </a:lnTo>
                <a:lnTo>
                  <a:pt x="10" y="115"/>
                </a:lnTo>
                <a:lnTo>
                  <a:pt x="168" y="115"/>
                </a:lnTo>
                <a:lnTo>
                  <a:pt x="168" y="126"/>
                </a:lnTo>
                <a:close/>
                <a:moveTo>
                  <a:pt x="54" y="104"/>
                </a:moveTo>
                <a:lnTo>
                  <a:pt x="32" y="104"/>
                </a:lnTo>
                <a:lnTo>
                  <a:pt x="32" y="63"/>
                </a:lnTo>
                <a:lnTo>
                  <a:pt x="54" y="63"/>
                </a:lnTo>
                <a:lnTo>
                  <a:pt x="54" y="104"/>
                </a:lnTo>
                <a:close/>
                <a:moveTo>
                  <a:pt x="84" y="104"/>
                </a:moveTo>
                <a:lnTo>
                  <a:pt x="64" y="104"/>
                </a:lnTo>
                <a:lnTo>
                  <a:pt x="64" y="19"/>
                </a:lnTo>
                <a:lnTo>
                  <a:pt x="84" y="19"/>
                </a:lnTo>
                <a:lnTo>
                  <a:pt x="84" y="104"/>
                </a:lnTo>
                <a:close/>
                <a:moveTo>
                  <a:pt x="116" y="104"/>
                </a:moveTo>
                <a:lnTo>
                  <a:pt x="95" y="104"/>
                </a:lnTo>
                <a:lnTo>
                  <a:pt x="95" y="41"/>
                </a:lnTo>
                <a:lnTo>
                  <a:pt x="116" y="41"/>
                </a:lnTo>
                <a:lnTo>
                  <a:pt x="116" y="104"/>
                </a:lnTo>
                <a:close/>
                <a:moveTo>
                  <a:pt x="147" y="104"/>
                </a:moveTo>
                <a:lnTo>
                  <a:pt x="127" y="104"/>
                </a:lnTo>
                <a:lnTo>
                  <a:pt x="127" y="9"/>
                </a:lnTo>
                <a:lnTo>
                  <a:pt x="147" y="9"/>
                </a:lnTo>
                <a:lnTo>
                  <a:pt x="147" y="1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62B1AF5-FF25-E82F-F9AE-E6D8E5E61163}"/>
              </a:ext>
            </a:extLst>
          </p:cNvPr>
          <p:cNvSpPr/>
          <p:nvPr/>
        </p:nvSpPr>
        <p:spPr>
          <a:xfrm>
            <a:off x="6621463" y="4843145"/>
            <a:ext cx="1000125" cy="1000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23FFB3D-A525-13E5-1521-DF90318C317A}"/>
              </a:ext>
            </a:extLst>
          </p:cNvPr>
          <p:cNvSpPr/>
          <p:nvPr/>
        </p:nvSpPr>
        <p:spPr>
          <a:xfrm>
            <a:off x="7714680" y="1269683"/>
            <a:ext cx="4052498" cy="1000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5D2E1F4-C2DD-3F6C-7FA2-CB2384AA1914}"/>
              </a:ext>
            </a:extLst>
          </p:cNvPr>
          <p:cNvSpPr/>
          <p:nvPr/>
        </p:nvSpPr>
        <p:spPr>
          <a:xfrm>
            <a:off x="7714680" y="2458720"/>
            <a:ext cx="4052498" cy="1000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50968FA-9EB8-B594-7E17-759ACF724B45}"/>
              </a:ext>
            </a:extLst>
          </p:cNvPr>
          <p:cNvSpPr/>
          <p:nvPr/>
        </p:nvSpPr>
        <p:spPr>
          <a:xfrm>
            <a:off x="7714680" y="3654108"/>
            <a:ext cx="4052498" cy="1000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extBox 86">
            <a:extLst>
              <a:ext uri="{FF2B5EF4-FFF2-40B4-BE49-F238E27FC236}">
                <a16:creationId xmlns:a16="http://schemas.microsoft.com/office/drawing/2014/main" id="{617395B9-8175-BAD3-A390-C993D671EB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1385570"/>
            <a:ext cx="392825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  <a:endParaRPr lang="en-US" altLang="en-US" sz="1200" dirty="0">
              <a:solidFill>
                <a:schemeClr val="bg1"/>
              </a:solidFill>
              <a:latin typeface="+mn-lt"/>
            </a:endParaRP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TextBox 86">
            <a:extLst>
              <a:ext uri="{FF2B5EF4-FFF2-40B4-BE49-F238E27FC236}">
                <a16:creationId xmlns:a16="http://schemas.microsoft.com/office/drawing/2014/main" id="{7771BC72-CDEF-D8C6-E37D-2807ECCA71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2588895"/>
            <a:ext cx="392825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TextBox 86">
            <a:extLst>
              <a:ext uri="{FF2B5EF4-FFF2-40B4-BE49-F238E27FC236}">
                <a16:creationId xmlns:a16="http://schemas.microsoft.com/office/drawing/2014/main" id="{3C8B6A72-C8E3-3185-98C1-A87E635CCE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3765233"/>
            <a:ext cx="392825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CED70A9-5CAD-2822-DE61-6A23A4B05B8E}"/>
              </a:ext>
            </a:extLst>
          </p:cNvPr>
          <p:cNvSpPr/>
          <p:nvPr/>
        </p:nvSpPr>
        <p:spPr>
          <a:xfrm>
            <a:off x="7714680" y="4843145"/>
            <a:ext cx="4052498" cy="1000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TextBox 86">
            <a:extLst>
              <a:ext uri="{FF2B5EF4-FFF2-40B4-BE49-F238E27FC236}">
                <a16:creationId xmlns:a16="http://schemas.microsoft.com/office/drawing/2014/main" id="{64A3BC78-31C1-5768-8405-6BB8B7FC0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4968558"/>
            <a:ext cx="372741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0" name="Freeform 173">
            <a:extLst>
              <a:ext uri="{FF2B5EF4-FFF2-40B4-BE49-F238E27FC236}">
                <a16:creationId xmlns:a16="http://schemas.microsoft.com/office/drawing/2014/main" id="{4D22827E-F7E1-440B-468D-C4D75851F0BB}"/>
              </a:ext>
            </a:extLst>
          </p:cNvPr>
          <p:cNvSpPr>
            <a:spLocks noEditPoints="1"/>
          </p:cNvSpPr>
          <p:nvPr/>
        </p:nvSpPr>
        <p:spPr bwMode="auto">
          <a:xfrm>
            <a:off x="6854825" y="5113020"/>
            <a:ext cx="544513" cy="450850"/>
          </a:xfrm>
          <a:custGeom>
            <a:avLst/>
            <a:gdLst>
              <a:gd name="T0" fmla="*/ 366392 w 73"/>
              <a:gd name="T1" fmla="*/ 135187 h 60"/>
              <a:gd name="T2" fmla="*/ 201890 w 73"/>
              <a:gd name="T3" fmla="*/ 292905 h 60"/>
              <a:gd name="T4" fmla="*/ 209367 w 73"/>
              <a:gd name="T5" fmla="*/ 330457 h 60"/>
              <a:gd name="T6" fmla="*/ 194412 w 73"/>
              <a:gd name="T7" fmla="*/ 330457 h 60"/>
              <a:gd name="T8" fmla="*/ 127116 w 73"/>
              <a:gd name="T9" fmla="*/ 322946 h 60"/>
              <a:gd name="T10" fmla="*/ 59819 w 73"/>
              <a:gd name="T11" fmla="*/ 352988 h 60"/>
              <a:gd name="T12" fmla="*/ 74774 w 73"/>
              <a:gd name="T13" fmla="*/ 300415 h 60"/>
              <a:gd name="T14" fmla="*/ 0 w 73"/>
              <a:gd name="T15" fmla="*/ 165228 h 60"/>
              <a:gd name="T16" fmla="*/ 194412 w 73"/>
              <a:gd name="T17" fmla="*/ 0 h 60"/>
              <a:gd name="T18" fmla="*/ 388825 w 73"/>
              <a:gd name="T19" fmla="*/ 135187 h 60"/>
              <a:gd name="T20" fmla="*/ 366392 w 73"/>
              <a:gd name="T21" fmla="*/ 135187 h 60"/>
              <a:gd name="T22" fmla="*/ 127116 w 73"/>
              <a:gd name="T23" fmla="*/ 82614 h 60"/>
              <a:gd name="T24" fmla="*/ 97206 w 73"/>
              <a:gd name="T25" fmla="*/ 105145 h 60"/>
              <a:gd name="T26" fmla="*/ 127116 w 73"/>
              <a:gd name="T27" fmla="*/ 135187 h 60"/>
              <a:gd name="T28" fmla="*/ 149548 w 73"/>
              <a:gd name="T29" fmla="*/ 105145 h 60"/>
              <a:gd name="T30" fmla="*/ 127116 w 73"/>
              <a:gd name="T31" fmla="*/ 82614 h 60"/>
              <a:gd name="T32" fmla="*/ 478553 w 73"/>
              <a:gd name="T33" fmla="*/ 398050 h 60"/>
              <a:gd name="T34" fmla="*/ 493508 w 73"/>
              <a:gd name="T35" fmla="*/ 450623 h 60"/>
              <a:gd name="T36" fmla="*/ 441166 w 73"/>
              <a:gd name="T37" fmla="*/ 420581 h 60"/>
              <a:gd name="T38" fmla="*/ 381347 w 73"/>
              <a:gd name="T39" fmla="*/ 428092 h 60"/>
              <a:gd name="T40" fmla="*/ 216845 w 73"/>
              <a:gd name="T41" fmla="*/ 285395 h 60"/>
              <a:gd name="T42" fmla="*/ 381347 w 73"/>
              <a:gd name="T43" fmla="*/ 150208 h 60"/>
              <a:gd name="T44" fmla="*/ 545850 w 73"/>
              <a:gd name="T45" fmla="*/ 285395 h 60"/>
              <a:gd name="T46" fmla="*/ 478553 w 73"/>
              <a:gd name="T47" fmla="*/ 398050 h 60"/>
              <a:gd name="T48" fmla="*/ 261709 w 73"/>
              <a:gd name="T49" fmla="*/ 82614 h 60"/>
              <a:gd name="T50" fmla="*/ 231799 w 73"/>
              <a:gd name="T51" fmla="*/ 105145 h 60"/>
              <a:gd name="T52" fmla="*/ 261709 w 73"/>
              <a:gd name="T53" fmla="*/ 135187 h 60"/>
              <a:gd name="T54" fmla="*/ 291618 w 73"/>
              <a:gd name="T55" fmla="*/ 105145 h 60"/>
              <a:gd name="T56" fmla="*/ 261709 w 73"/>
              <a:gd name="T57" fmla="*/ 82614 h 60"/>
              <a:gd name="T58" fmla="*/ 329005 w 73"/>
              <a:gd name="T59" fmla="*/ 225312 h 60"/>
              <a:gd name="T60" fmla="*/ 306573 w 73"/>
              <a:gd name="T61" fmla="*/ 247843 h 60"/>
              <a:gd name="T62" fmla="*/ 329005 w 73"/>
              <a:gd name="T63" fmla="*/ 262863 h 60"/>
              <a:gd name="T64" fmla="*/ 351438 w 73"/>
              <a:gd name="T65" fmla="*/ 247843 h 60"/>
              <a:gd name="T66" fmla="*/ 329005 w 73"/>
              <a:gd name="T67" fmla="*/ 225312 h 60"/>
              <a:gd name="T68" fmla="*/ 433689 w 73"/>
              <a:gd name="T69" fmla="*/ 225312 h 60"/>
              <a:gd name="T70" fmla="*/ 411257 w 73"/>
              <a:gd name="T71" fmla="*/ 247843 h 60"/>
              <a:gd name="T72" fmla="*/ 433689 w 73"/>
              <a:gd name="T73" fmla="*/ 262863 h 60"/>
              <a:gd name="T74" fmla="*/ 456121 w 73"/>
              <a:gd name="T75" fmla="*/ 247843 h 60"/>
              <a:gd name="T76" fmla="*/ 433689 w 73"/>
              <a:gd name="T77" fmla="*/ 225312 h 6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73" h="60">
                <a:moveTo>
                  <a:pt x="49" y="18"/>
                </a:moveTo>
                <a:cubicBezTo>
                  <a:pt x="37" y="18"/>
                  <a:pt x="27" y="27"/>
                  <a:pt x="27" y="39"/>
                </a:cubicBezTo>
                <a:cubicBezTo>
                  <a:pt x="27" y="41"/>
                  <a:pt x="28" y="42"/>
                  <a:pt x="28" y="44"/>
                </a:cubicBezTo>
                <a:cubicBezTo>
                  <a:pt x="27" y="44"/>
                  <a:pt x="26" y="44"/>
                  <a:pt x="26" y="44"/>
                </a:cubicBezTo>
                <a:cubicBezTo>
                  <a:pt x="22" y="44"/>
                  <a:pt x="20" y="44"/>
                  <a:pt x="17" y="43"/>
                </a:cubicBezTo>
                <a:cubicBezTo>
                  <a:pt x="8" y="47"/>
                  <a:pt x="8" y="47"/>
                  <a:pt x="8" y="47"/>
                </a:cubicBezTo>
                <a:cubicBezTo>
                  <a:pt x="10" y="40"/>
                  <a:pt x="10" y="40"/>
                  <a:pt x="10" y="40"/>
                </a:cubicBezTo>
                <a:cubicBezTo>
                  <a:pt x="4" y="35"/>
                  <a:pt x="0" y="29"/>
                  <a:pt x="0" y="22"/>
                </a:cubicBezTo>
                <a:cubicBezTo>
                  <a:pt x="0" y="10"/>
                  <a:pt x="11" y="0"/>
                  <a:pt x="26" y="0"/>
                </a:cubicBezTo>
                <a:cubicBezTo>
                  <a:pt x="38" y="0"/>
                  <a:pt x="50" y="8"/>
                  <a:pt x="52" y="18"/>
                </a:cubicBezTo>
                <a:cubicBezTo>
                  <a:pt x="51" y="18"/>
                  <a:pt x="50" y="18"/>
                  <a:pt x="49" y="18"/>
                </a:cubicBezTo>
                <a:close/>
                <a:moveTo>
                  <a:pt x="17" y="11"/>
                </a:moveTo>
                <a:cubicBezTo>
                  <a:pt x="15" y="11"/>
                  <a:pt x="13" y="12"/>
                  <a:pt x="13" y="14"/>
                </a:cubicBezTo>
                <a:cubicBezTo>
                  <a:pt x="13" y="16"/>
                  <a:pt x="15" y="18"/>
                  <a:pt x="17" y="18"/>
                </a:cubicBezTo>
                <a:cubicBezTo>
                  <a:pt x="19" y="18"/>
                  <a:pt x="20" y="16"/>
                  <a:pt x="20" y="14"/>
                </a:cubicBezTo>
                <a:cubicBezTo>
                  <a:pt x="20" y="12"/>
                  <a:pt x="19" y="11"/>
                  <a:pt x="17" y="11"/>
                </a:cubicBezTo>
                <a:close/>
                <a:moveTo>
                  <a:pt x="64" y="53"/>
                </a:moveTo>
                <a:cubicBezTo>
                  <a:pt x="66" y="60"/>
                  <a:pt x="66" y="60"/>
                  <a:pt x="66" y="60"/>
                </a:cubicBezTo>
                <a:cubicBezTo>
                  <a:pt x="59" y="56"/>
                  <a:pt x="59" y="56"/>
                  <a:pt x="59" y="56"/>
                </a:cubicBezTo>
                <a:cubicBezTo>
                  <a:pt x="56" y="56"/>
                  <a:pt x="53" y="57"/>
                  <a:pt x="51" y="57"/>
                </a:cubicBezTo>
                <a:cubicBezTo>
                  <a:pt x="39" y="57"/>
                  <a:pt x="29" y="49"/>
                  <a:pt x="29" y="38"/>
                </a:cubicBezTo>
                <a:cubicBezTo>
                  <a:pt x="29" y="28"/>
                  <a:pt x="39" y="20"/>
                  <a:pt x="51" y="20"/>
                </a:cubicBezTo>
                <a:cubicBezTo>
                  <a:pt x="63" y="20"/>
                  <a:pt x="73" y="28"/>
                  <a:pt x="73" y="38"/>
                </a:cubicBezTo>
                <a:cubicBezTo>
                  <a:pt x="73" y="44"/>
                  <a:pt x="69" y="49"/>
                  <a:pt x="64" y="53"/>
                </a:cubicBezTo>
                <a:close/>
                <a:moveTo>
                  <a:pt x="35" y="11"/>
                </a:moveTo>
                <a:cubicBezTo>
                  <a:pt x="33" y="11"/>
                  <a:pt x="31" y="12"/>
                  <a:pt x="31" y="14"/>
                </a:cubicBezTo>
                <a:cubicBezTo>
                  <a:pt x="31" y="16"/>
                  <a:pt x="33" y="18"/>
                  <a:pt x="35" y="18"/>
                </a:cubicBezTo>
                <a:cubicBezTo>
                  <a:pt x="37" y="18"/>
                  <a:pt x="39" y="16"/>
                  <a:pt x="39" y="14"/>
                </a:cubicBezTo>
                <a:cubicBezTo>
                  <a:pt x="39" y="12"/>
                  <a:pt x="37" y="11"/>
                  <a:pt x="35" y="11"/>
                </a:cubicBezTo>
                <a:close/>
                <a:moveTo>
                  <a:pt x="44" y="30"/>
                </a:moveTo>
                <a:cubicBezTo>
                  <a:pt x="42" y="30"/>
                  <a:pt x="41" y="31"/>
                  <a:pt x="41" y="33"/>
                </a:cubicBezTo>
                <a:cubicBezTo>
                  <a:pt x="41" y="34"/>
                  <a:pt x="42" y="35"/>
                  <a:pt x="44" y="35"/>
                </a:cubicBezTo>
                <a:cubicBezTo>
                  <a:pt x="46" y="35"/>
                  <a:pt x="47" y="34"/>
                  <a:pt x="47" y="33"/>
                </a:cubicBezTo>
                <a:cubicBezTo>
                  <a:pt x="47" y="31"/>
                  <a:pt x="46" y="30"/>
                  <a:pt x="44" y="30"/>
                </a:cubicBezTo>
                <a:close/>
                <a:moveTo>
                  <a:pt x="58" y="30"/>
                </a:moveTo>
                <a:cubicBezTo>
                  <a:pt x="57" y="30"/>
                  <a:pt x="55" y="31"/>
                  <a:pt x="55" y="33"/>
                </a:cubicBezTo>
                <a:cubicBezTo>
                  <a:pt x="55" y="34"/>
                  <a:pt x="57" y="35"/>
                  <a:pt x="58" y="35"/>
                </a:cubicBezTo>
                <a:cubicBezTo>
                  <a:pt x="60" y="35"/>
                  <a:pt x="61" y="34"/>
                  <a:pt x="61" y="33"/>
                </a:cubicBezTo>
                <a:cubicBezTo>
                  <a:pt x="61" y="31"/>
                  <a:pt x="60" y="30"/>
                  <a:pt x="58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6840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BD4E77-4684-F557-88B4-E3D897E2EA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B7064FA-47B4-BCBA-C843-4D79E421A2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7064FA-47B4-BCBA-C843-4D79E421A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0E15AF-BAE1-DDBD-4FD1-FC9E021A5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615F940-53CB-619C-9336-27AA7F38FFA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3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19">
            <a:extLst>
              <a:ext uri="{FF2B5EF4-FFF2-40B4-BE49-F238E27FC236}">
                <a16:creationId xmlns:a16="http://schemas.microsoft.com/office/drawing/2014/main" id="{B4CBA946-ACAB-C03B-0B80-F0C0115544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060553"/>
              </p:ext>
            </p:extLst>
          </p:nvPr>
        </p:nvGraphicFramePr>
        <p:xfrm>
          <a:off x="474580" y="1260696"/>
          <a:ext cx="11233150" cy="4786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034325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F002A-E7E2-968E-B65C-9B7AE92B2E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3EA4A3C-ABA1-5B98-39EB-53AE095CA5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A4A3C-ABA1-5B98-39EB-53AE095CA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D88848-8308-9535-05B9-112B3F1E1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068956B-055F-3635-6157-D7FC26E8CC1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4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2E64282-CC43-68DF-0BAF-46B8BCD29E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9862954"/>
              </p:ext>
            </p:extLst>
          </p:nvPr>
        </p:nvGraphicFramePr>
        <p:xfrm>
          <a:off x="605540" y="1503397"/>
          <a:ext cx="10679260" cy="437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3951544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8F2F00-CD53-5A98-8D4B-562CE941B3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631371F-B337-D7F8-D220-B81B40F0A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31371F-B337-D7F8-D220-B81B40F0A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7B09DC-BBF5-73C5-C242-6CA1BD369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289E450-110F-0730-FD88-C1B8565967A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5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Chart 8">
            <a:extLst>
              <a:ext uri="{FF2B5EF4-FFF2-40B4-BE49-F238E27FC236}">
                <a16:creationId xmlns:a16="http://schemas.microsoft.com/office/drawing/2014/main" id="{DFE14288-52E8-8615-0DA5-B9BF29736F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4937790"/>
              </p:ext>
            </p:extLst>
          </p:nvPr>
        </p:nvGraphicFramePr>
        <p:xfrm>
          <a:off x="482601" y="1031875"/>
          <a:ext cx="5513387" cy="479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26">
            <a:extLst>
              <a:ext uri="{FF2B5EF4-FFF2-40B4-BE49-F238E27FC236}">
                <a16:creationId xmlns:a16="http://schemas.microsoft.com/office/drawing/2014/main" id="{29F2C1D5-45D1-67FD-1659-3AD405DB1F8C}"/>
              </a:ext>
            </a:extLst>
          </p:cNvPr>
          <p:cNvGraphicFramePr>
            <a:graphicFrameLocks/>
          </p:cNvGraphicFramePr>
          <p:nvPr/>
        </p:nvGraphicFramePr>
        <p:xfrm>
          <a:off x="6097588" y="1217112"/>
          <a:ext cx="5791200" cy="4327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098871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3C20D-CEEE-6CB4-7DD8-BAD1FB4A3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92B4F74-3931-4F44-5CEF-36185A5A60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2B4F74-3931-4F44-5CEF-36185A5A60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3E393A-52D5-D699-33C8-DA7830F4F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9BA1C1B-3D10-6429-A7A1-40A248B6157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6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9" name="Chart 33">
            <a:extLst>
              <a:ext uri="{FF2B5EF4-FFF2-40B4-BE49-F238E27FC236}">
                <a16:creationId xmlns:a16="http://schemas.microsoft.com/office/drawing/2014/main" id="{158086E3-36ED-9554-03E5-B3EEC9085B48}"/>
              </a:ext>
            </a:extLst>
          </p:cNvPr>
          <p:cNvGraphicFramePr>
            <a:graphicFrameLocks/>
          </p:cNvGraphicFramePr>
          <p:nvPr/>
        </p:nvGraphicFramePr>
        <p:xfrm>
          <a:off x="481013" y="2823878"/>
          <a:ext cx="11233150" cy="348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4900124-CECF-478A-6A3A-2E3E1C7B0162}"/>
              </a:ext>
            </a:extLst>
          </p:cNvPr>
          <p:cNvCxnSpPr/>
          <p:nvPr/>
        </p:nvCxnSpPr>
        <p:spPr>
          <a:xfrm flipV="1">
            <a:off x="1509713" y="2458753"/>
            <a:ext cx="0" cy="14224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6D5663A-E8CF-6E18-22BF-CA17985BEDD0}"/>
              </a:ext>
            </a:extLst>
          </p:cNvPr>
          <p:cNvCxnSpPr/>
          <p:nvPr/>
        </p:nvCxnSpPr>
        <p:spPr>
          <a:xfrm flipV="1">
            <a:off x="2105025" y="1726915"/>
            <a:ext cx="0" cy="286543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97BC72D-3AA2-4E7C-4F9C-9F8CAB79CFBD}"/>
              </a:ext>
            </a:extLst>
          </p:cNvPr>
          <p:cNvCxnSpPr/>
          <p:nvPr/>
        </p:nvCxnSpPr>
        <p:spPr>
          <a:xfrm flipV="1">
            <a:off x="2719388" y="2458753"/>
            <a:ext cx="0" cy="229552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1CE522D-0453-9B9C-C3F6-35BD4734086C}"/>
              </a:ext>
            </a:extLst>
          </p:cNvPr>
          <p:cNvCxnSpPr/>
          <p:nvPr/>
        </p:nvCxnSpPr>
        <p:spPr>
          <a:xfrm flipV="1">
            <a:off x="4233863" y="2458753"/>
            <a:ext cx="0" cy="21336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0D3D1723-3841-0B50-2E9C-F1AA2BADA267}"/>
              </a:ext>
            </a:extLst>
          </p:cNvPr>
          <p:cNvCxnSpPr/>
          <p:nvPr/>
        </p:nvCxnSpPr>
        <p:spPr>
          <a:xfrm flipV="1">
            <a:off x="4827588" y="1726915"/>
            <a:ext cx="0" cy="1990725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1BA848C-B6F2-177E-D1F1-1544BFB07DD2}"/>
              </a:ext>
            </a:extLst>
          </p:cNvPr>
          <p:cNvCxnSpPr/>
          <p:nvPr/>
        </p:nvCxnSpPr>
        <p:spPr>
          <a:xfrm flipV="1">
            <a:off x="5399088" y="2458753"/>
            <a:ext cx="0" cy="229552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08C38CE-F323-6378-AFF4-5050EA32B9C5}"/>
              </a:ext>
            </a:extLst>
          </p:cNvPr>
          <p:cNvCxnSpPr/>
          <p:nvPr/>
        </p:nvCxnSpPr>
        <p:spPr>
          <a:xfrm flipV="1">
            <a:off x="6915150" y="2458753"/>
            <a:ext cx="0" cy="1665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F0F624B-E1AC-C126-5D1B-6A61FA51ADCB}"/>
              </a:ext>
            </a:extLst>
          </p:cNvPr>
          <p:cNvCxnSpPr/>
          <p:nvPr/>
        </p:nvCxnSpPr>
        <p:spPr>
          <a:xfrm flipV="1">
            <a:off x="7531100" y="1726915"/>
            <a:ext cx="0" cy="315753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3FEAF5F-97B4-F46A-C261-64958D0ED59D}"/>
              </a:ext>
            </a:extLst>
          </p:cNvPr>
          <p:cNvCxnSpPr/>
          <p:nvPr/>
        </p:nvCxnSpPr>
        <p:spPr>
          <a:xfrm flipV="1">
            <a:off x="8123238" y="2458753"/>
            <a:ext cx="0" cy="1887537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D8E9CCA-6DBC-6A7B-15CB-45048BD09CCB}"/>
              </a:ext>
            </a:extLst>
          </p:cNvPr>
          <p:cNvCxnSpPr/>
          <p:nvPr/>
        </p:nvCxnSpPr>
        <p:spPr>
          <a:xfrm flipV="1">
            <a:off x="9617075" y="2458753"/>
            <a:ext cx="0" cy="12461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1A4B209-5FE0-0248-ACCA-8B856C000393}"/>
              </a:ext>
            </a:extLst>
          </p:cNvPr>
          <p:cNvCxnSpPr/>
          <p:nvPr/>
        </p:nvCxnSpPr>
        <p:spPr>
          <a:xfrm flipV="1">
            <a:off x="10210800" y="1726915"/>
            <a:ext cx="0" cy="2659063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0D11E4B4-4E05-CAB4-6DEB-3597B91627FB}"/>
              </a:ext>
            </a:extLst>
          </p:cNvPr>
          <p:cNvCxnSpPr/>
          <p:nvPr/>
        </p:nvCxnSpPr>
        <p:spPr>
          <a:xfrm flipV="1">
            <a:off x="10804525" y="2458753"/>
            <a:ext cx="0" cy="96361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FAFCAD28-1F5F-41B8-CFAA-C7D13E9E904E}"/>
              </a:ext>
            </a:extLst>
          </p:cNvPr>
          <p:cNvSpPr txBox="1"/>
          <p:nvPr/>
        </p:nvSpPr>
        <p:spPr>
          <a:xfrm>
            <a:off x="1093788" y="202854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latin typeface="+mn-lt"/>
              </a:rPr>
              <a:t>40%</a:t>
            </a:r>
            <a:endParaRPr lang="en-US" b="1" dirty="0">
              <a:latin typeface="+mn-lt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7BBF228-F499-87C2-0011-B88EA539C025}"/>
              </a:ext>
            </a:extLst>
          </p:cNvPr>
          <p:cNvSpPr txBox="1"/>
          <p:nvPr/>
        </p:nvSpPr>
        <p:spPr>
          <a:xfrm>
            <a:off x="1690688" y="1296703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latin typeface="+mn-lt"/>
              </a:rPr>
              <a:t>50%</a:t>
            </a:r>
            <a:endParaRPr lang="en-US" b="1" dirty="0">
              <a:latin typeface="+mn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504C932-A0FC-4133-D85E-4AC124AE0FF7}"/>
              </a:ext>
            </a:extLst>
          </p:cNvPr>
          <p:cNvSpPr txBox="1"/>
          <p:nvPr/>
        </p:nvSpPr>
        <p:spPr>
          <a:xfrm>
            <a:off x="2305050" y="2028540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latin typeface="+mn-lt"/>
              </a:rPr>
              <a:t>30%</a:t>
            </a:r>
            <a:endParaRPr lang="en-US" b="1" dirty="0">
              <a:latin typeface="+mn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1855AFD-F0D2-0EF6-77F4-C8812F4FC00C}"/>
              </a:ext>
            </a:extLst>
          </p:cNvPr>
          <p:cNvSpPr txBox="1"/>
          <p:nvPr/>
        </p:nvSpPr>
        <p:spPr>
          <a:xfrm>
            <a:off x="3817938" y="202854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latin typeface="+mn-lt"/>
              </a:rPr>
              <a:t>60%</a:t>
            </a:r>
            <a:endParaRPr lang="en-US" b="1" dirty="0">
              <a:latin typeface="+mn-lt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04A188-1413-4FD3-1529-3AABA8081B2C}"/>
              </a:ext>
            </a:extLst>
          </p:cNvPr>
          <p:cNvSpPr txBox="1"/>
          <p:nvPr/>
        </p:nvSpPr>
        <p:spPr>
          <a:xfrm>
            <a:off x="4986338" y="202219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latin typeface="+mn-lt"/>
              </a:rPr>
              <a:t>80%</a:t>
            </a:r>
            <a:endParaRPr lang="en-US" b="1" dirty="0">
              <a:latin typeface="+mn-lt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BF1B5F4-B5B8-E3C6-27ED-14F36FD4981F}"/>
              </a:ext>
            </a:extLst>
          </p:cNvPr>
          <p:cNvSpPr txBox="1"/>
          <p:nvPr/>
        </p:nvSpPr>
        <p:spPr>
          <a:xfrm>
            <a:off x="4413250" y="1293528"/>
            <a:ext cx="8318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latin typeface="+mn-lt"/>
              </a:rPr>
              <a:t>90%</a:t>
            </a:r>
            <a:endParaRPr lang="en-US" b="1" dirty="0">
              <a:latin typeface="+mn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B68581A-E40D-9228-C994-555373E0981D}"/>
              </a:ext>
            </a:extLst>
          </p:cNvPr>
          <p:cNvSpPr txBox="1"/>
          <p:nvPr/>
        </p:nvSpPr>
        <p:spPr>
          <a:xfrm>
            <a:off x="7032625" y="1293528"/>
            <a:ext cx="1000125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latin typeface="+mn-lt"/>
              </a:rPr>
              <a:t>100%</a:t>
            </a:r>
            <a:endParaRPr lang="en-US" b="1" dirty="0">
              <a:latin typeface="+mn-lt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E9F3BFC-DD68-16CD-26D3-9B124CD67693}"/>
              </a:ext>
            </a:extLst>
          </p:cNvPr>
          <p:cNvSpPr txBox="1"/>
          <p:nvPr/>
        </p:nvSpPr>
        <p:spPr>
          <a:xfrm>
            <a:off x="6502400" y="2022190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latin typeface="+mn-lt"/>
              </a:rPr>
              <a:t>80%</a:t>
            </a:r>
            <a:endParaRPr lang="en-US" b="1" dirty="0">
              <a:latin typeface="+mn-lt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57F737B-7FAB-FE46-94C6-746CB03DE9E4}"/>
              </a:ext>
            </a:extLst>
          </p:cNvPr>
          <p:cNvSpPr txBox="1"/>
          <p:nvPr/>
        </p:nvSpPr>
        <p:spPr>
          <a:xfrm>
            <a:off x="7710488" y="202219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latin typeface="+mn-lt"/>
              </a:rPr>
              <a:t>30%</a:t>
            </a:r>
            <a:endParaRPr lang="en-US" b="1" dirty="0">
              <a:latin typeface="+mn-lt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CC78EDE-F4C7-8DBA-65F8-5506CBE28291}"/>
              </a:ext>
            </a:extLst>
          </p:cNvPr>
          <p:cNvSpPr txBox="1"/>
          <p:nvPr/>
        </p:nvSpPr>
        <p:spPr>
          <a:xfrm>
            <a:off x="9183688" y="202219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latin typeface="+mn-lt"/>
              </a:rPr>
              <a:t>20%</a:t>
            </a:r>
            <a:endParaRPr lang="en-US" b="1" dirty="0">
              <a:latin typeface="+mn-lt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EE49432-2BF3-5A95-4BCE-907A017A70C4}"/>
              </a:ext>
            </a:extLst>
          </p:cNvPr>
          <p:cNvSpPr txBox="1"/>
          <p:nvPr/>
        </p:nvSpPr>
        <p:spPr>
          <a:xfrm>
            <a:off x="9798050" y="1290353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latin typeface="+mn-lt"/>
              </a:rPr>
              <a:t>10%</a:t>
            </a:r>
            <a:endParaRPr lang="en-US" b="1" dirty="0">
              <a:latin typeface="+mn-lt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F6E9525-9168-BABA-65A2-7BD696715671}"/>
              </a:ext>
            </a:extLst>
          </p:cNvPr>
          <p:cNvSpPr txBox="1"/>
          <p:nvPr/>
        </p:nvSpPr>
        <p:spPr>
          <a:xfrm>
            <a:off x="10390188" y="2022190"/>
            <a:ext cx="8318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latin typeface="+mn-lt"/>
              </a:rPr>
              <a:t>80%</a:t>
            </a:r>
            <a:endParaRPr lang="en-US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002477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41EA55-E3ED-3F75-C3B4-7B4474A3A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D855623E-4671-4F11-B59F-8B0CEF40B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55623E-4671-4F11-B59F-8B0CEF40B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2B788D-1585-AD69-67C8-F85FC15A1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C6EE935-D4B9-94FC-C25D-E80E05151B76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7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2">
            <a:extLst>
              <a:ext uri="{FF2B5EF4-FFF2-40B4-BE49-F238E27FC236}">
                <a16:creationId xmlns:a16="http://schemas.microsoft.com/office/drawing/2014/main" id="{141DE4BA-F0EE-8035-2F2C-C387FACB9D38}"/>
              </a:ext>
            </a:extLst>
          </p:cNvPr>
          <p:cNvGraphicFramePr>
            <a:graphicFrameLocks/>
          </p:cNvGraphicFramePr>
          <p:nvPr/>
        </p:nvGraphicFramePr>
        <p:xfrm>
          <a:off x="-30163" y="1423206"/>
          <a:ext cx="6897688" cy="459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85F03A76-B526-1436-CEF6-85D64634809C}"/>
              </a:ext>
            </a:extLst>
          </p:cNvPr>
          <p:cNvSpPr/>
          <p:nvPr/>
        </p:nvSpPr>
        <p:spPr>
          <a:xfrm>
            <a:off x="3624263" y="2053444"/>
            <a:ext cx="893762" cy="8937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1"/>
                </a:solidFill>
              </a:rPr>
              <a:t>30%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32B99DF-677A-64BD-9AF9-3187208782B1}"/>
              </a:ext>
            </a:extLst>
          </p:cNvPr>
          <p:cNvSpPr/>
          <p:nvPr/>
        </p:nvSpPr>
        <p:spPr>
          <a:xfrm>
            <a:off x="2349500" y="3988606"/>
            <a:ext cx="893763" cy="8937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2"/>
                </a:solidFill>
              </a:rPr>
              <a:t>40%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C27CAF9-A11C-F41A-E8C9-72E6CD87ED22}"/>
              </a:ext>
            </a:extLst>
          </p:cNvPr>
          <p:cNvSpPr/>
          <p:nvPr/>
        </p:nvSpPr>
        <p:spPr>
          <a:xfrm>
            <a:off x="4071938" y="3356781"/>
            <a:ext cx="893762" cy="8953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3"/>
                </a:solidFill>
              </a:rPr>
              <a:t>15%</a:t>
            </a:r>
            <a:endParaRPr lang="en-US" sz="2400" b="1" dirty="0">
              <a:solidFill>
                <a:schemeClr val="accent3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8F2DE1E-9176-FBFF-0C83-AC6F3D8DBE19}"/>
              </a:ext>
            </a:extLst>
          </p:cNvPr>
          <p:cNvSpPr/>
          <p:nvPr/>
        </p:nvSpPr>
        <p:spPr>
          <a:xfrm>
            <a:off x="2178050" y="2229656"/>
            <a:ext cx="893763" cy="8937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4"/>
                </a:solidFill>
              </a:rPr>
              <a:t>15%</a:t>
            </a:r>
            <a:endParaRPr lang="en-US" sz="2400" b="1" dirty="0">
              <a:solidFill>
                <a:schemeClr val="accent4"/>
              </a:solidFill>
            </a:endParaRPr>
          </a:p>
        </p:txBody>
      </p:sp>
      <p:sp>
        <p:nvSpPr>
          <p:cNvPr id="9" name="TextBox 86">
            <a:extLst>
              <a:ext uri="{FF2B5EF4-FFF2-40B4-BE49-F238E27FC236}">
                <a16:creationId xmlns:a16="http://schemas.microsoft.com/office/drawing/2014/main" id="{A424E18A-55F8-4FA0-2BFB-0C6014A2C752}"/>
              </a:ext>
            </a:extLst>
          </p:cNvPr>
          <p:cNvSpPr txBox="1"/>
          <p:nvPr/>
        </p:nvSpPr>
        <p:spPr>
          <a:xfrm>
            <a:off x="9055100" y="257890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2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0" name="Diamond 9">
            <a:extLst>
              <a:ext uri="{FF2B5EF4-FFF2-40B4-BE49-F238E27FC236}">
                <a16:creationId xmlns:a16="http://schemas.microsoft.com/office/drawing/2014/main" id="{BA0C31C1-E7E6-309D-C294-5A2F023F78DB}"/>
              </a:ext>
            </a:extLst>
          </p:cNvPr>
          <p:cNvSpPr/>
          <p:nvPr/>
        </p:nvSpPr>
        <p:spPr>
          <a:xfrm>
            <a:off x="9815513" y="1296206"/>
            <a:ext cx="1135062" cy="113665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2</a:t>
            </a:r>
            <a:endParaRPr lang="en-US" sz="2400" b="1" dirty="0"/>
          </a:p>
        </p:txBody>
      </p:sp>
      <p:sp>
        <p:nvSpPr>
          <p:cNvPr id="11" name="TextBox 86">
            <a:extLst>
              <a:ext uri="{FF2B5EF4-FFF2-40B4-BE49-F238E27FC236}">
                <a16:creationId xmlns:a16="http://schemas.microsoft.com/office/drawing/2014/main" id="{9B12704B-1D8A-6B92-8834-5F62FD849BB5}"/>
              </a:ext>
            </a:extLst>
          </p:cNvPr>
          <p:cNvSpPr txBox="1"/>
          <p:nvPr/>
        </p:nvSpPr>
        <p:spPr>
          <a:xfrm>
            <a:off x="9055100" y="512525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4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4287430-EB86-C914-85BA-DD628FB8EBE6}"/>
              </a:ext>
            </a:extLst>
          </p:cNvPr>
          <p:cNvSpPr/>
          <p:nvPr/>
        </p:nvSpPr>
        <p:spPr>
          <a:xfrm>
            <a:off x="9815513" y="3864781"/>
            <a:ext cx="1135062" cy="1136650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4</a:t>
            </a:r>
            <a:endParaRPr lang="en-US" sz="2400" b="1" dirty="0"/>
          </a:p>
        </p:txBody>
      </p:sp>
      <p:sp>
        <p:nvSpPr>
          <p:cNvPr id="13" name="TextBox 86">
            <a:extLst>
              <a:ext uri="{FF2B5EF4-FFF2-40B4-BE49-F238E27FC236}">
                <a16:creationId xmlns:a16="http://schemas.microsoft.com/office/drawing/2014/main" id="{34461FF5-B2AD-8A96-0D24-D042C6FCAA7D}"/>
              </a:ext>
            </a:extLst>
          </p:cNvPr>
          <p:cNvSpPr txBox="1"/>
          <p:nvPr/>
        </p:nvSpPr>
        <p:spPr>
          <a:xfrm>
            <a:off x="5959475" y="257890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1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A1D29F53-1F9C-2B9A-E307-69E94F6B4C3E}"/>
              </a:ext>
            </a:extLst>
          </p:cNvPr>
          <p:cNvSpPr/>
          <p:nvPr/>
        </p:nvSpPr>
        <p:spPr>
          <a:xfrm>
            <a:off x="6719888" y="1296206"/>
            <a:ext cx="1136650" cy="113665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1</a:t>
            </a:r>
            <a:endParaRPr lang="en-US" sz="2400" b="1" dirty="0"/>
          </a:p>
        </p:txBody>
      </p:sp>
      <p:sp>
        <p:nvSpPr>
          <p:cNvPr id="15" name="TextBox 86">
            <a:extLst>
              <a:ext uri="{FF2B5EF4-FFF2-40B4-BE49-F238E27FC236}">
                <a16:creationId xmlns:a16="http://schemas.microsoft.com/office/drawing/2014/main" id="{31AA5381-C075-F410-0408-7DE6FAAAC49E}"/>
              </a:ext>
            </a:extLst>
          </p:cNvPr>
          <p:cNvSpPr txBox="1"/>
          <p:nvPr/>
        </p:nvSpPr>
        <p:spPr>
          <a:xfrm>
            <a:off x="5959475" y="512525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3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6" name="Diamond 15">
            <a:extLst>
              <a:ext uri="{FF2B5EF4-FFF2-40B4-BE49-F238E27FC236}">
                <a16:creationId xmlns:a16="http://schemas.microsoft.com/office/drawing/2014/main" id="{4A65252D-376A-4020-B35D-6813AE8A273C}"/>
              </a:ext>
            </a:extLst>
          </p:cNvPr>
          <p:cNvSpPr/>
          <p:nvPr/>
        </p:nvSpPr>
        <p:spPr>
          <a:xfrm>
            <a:off x="6719888" y="3864781"/>
            <a:ext cx="1136650" cy="11366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3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59042525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FADE3E-A79C-5A5C-6696-A2A5074141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A6944AF-82FD-82A6-B008-AA5371FD10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6944AF-82FD-82A6-B008-AA5371FD1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697B11-BCC0-CB76-A8DD-6BDB4E4C1B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D999B03-B943-34CF-4BBB-1E293A49AAE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8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8BBBFA37-08AA-3D49-6ADD-6201A525EF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6278396"/>
              </p:ext>
            </p:extLst>
          </p:nvPr>
        </p:nvGraphicFramePr>
        <p:xfrm>
          <a:off x="536391" y="949125"/>
          <a:ext cx="10667386" cy="5046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6835696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82ED0B-44D4-B6D0-9F98-274CD4A581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2EE76C0A-1BCC-9FF0-87E8-D9501B2CE3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E76C0A-1BCC-9FF0-87E8-D9501B2CE3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Chart 4">
            <a:extLst>
              <a:ext uri="{FF2B5EF4-FFF2-40B4-BE49-F238E27FC236}">
                <a16:creationId xmlns:a16="http://schemas.microsoft.com/office/drawing/2014/main" id="{7EA9AB3B-30C2-6269-437D-B1C9DDF940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6465607"/>
              </p:ext>
            </p:extLst>
          </p:nvPr>
        </p:nvGraphicFramePr>
        <p:xfrm>
          <a:off x="6492875" y="1053397"/>
          <a:ext cx="2794000" cy="1863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hart 104">
            <a:extLst>
              <a:ext uri="{FF2B5EF4-FFF2-40B4-BE49-F238E27FC236}">
                <a16:creationId xmlns:a16="http://schemas.microsoft.com/office/drawing/2014/main" id="{A29A634E-7152-A5D4-9C55-422FA4CCEA5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6032810"/>
              </p:ext>
            </p:extLst>
          </p:nvPr>
        </p:nvGraphicFramePr>
        <p:xfrm>
          <a:off x="9020175" y="1070859"/>
          <a:ext cx="2760663" cy="184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809B7B-C918-F09E-57F3-BA15681FD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D59123E-9CAB-0BC7-A342-A540009977E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9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44">
            <a:extLst>
              <a:ext uri="{FF2B5EF4-FFF2-40B4-BE49-F238E27FC236}">
                <a16:creationId xmlns:a16="http://schemas.microsoft.com/office/drawing/2014/main" id="{9AC39A14-61A9-0990-4651-D694F8EC70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7344051"/>
              </p:ext>
            </p:extLst>
          </p:nvPr>
        </p:nvGraphicFramePr>
        <p:xfrm>
          <a:off x="481013" y="851784"/>
          <a:ext cx="6194425" cy="533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6163B44-8776-22DE-954D-48643BDA58C8}"/>
              </a:ext>
            </a:extLst>
          </p:cNvPr>
          <p:cNvSpPr/>
          <p:nvPr/>
        </p:nvSpPr>
        <p:spPr>
          <a:xfrm>
            <a:off x="6656388" y="3928359"/>
            <a:ext cx="2447925" cy="21542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F1CE101-161C-EDFC-17AC-76044613F28D}"/>
              </a:ext>
            </a:extLst>
          </p:cNvPr>
          <p:cNvSpPr/>
          <p:nvPr/>
        </p:nvSpPr>
        <p:spPr>
          <a:xfrm>
            <a:off x="7354888" y="1462972"/>
            <a:ext cx="1042987" cy="104457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tx1"/>
                </a:solidFill>
              </a:rPr>
              <a:t>2023</a:t>
            </a:r>
            <a:endParaRPr lang="en-US" sz="2000" b="1" dirty="0">
              <a:solidFill>
                <a:schemeClr val="tx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4EC4AB3-B4AD-6E4B-BA24-3A614BB329ED}"/>
              </a:ext>
            </a:extLst>
          </p:cNvPr>
          <p:cNvCxnSpPr/>
          <p:nvPr/>
        </p:nvCxnSpPr>
        <p:spPr>
          <a:xfrm flipV="1">
            <a:off x="7870825" y="3352097"/>
            <a:ext cx="0" cy="511175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51B200A6-374E-8603-EF3C-E7E44DC138DB}"/>
              </a:ext>
            </a:extLst>
          </p:cNvPr>
          <p:cNvSpPr/>
          <p:nvPr/>
        </p:nvSpPr>
        <p:spPr>
          <a:xfrm>
            <a:off x="7562850" y="2950459"/>
            <a:ext cx="617538" cy="36830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/>
              <a:t>35%</a:t>
            </a:r>
          </a:p>
        </p:txBody>
      </p:sp>
      <p:sp>
        <p:nvSpPr>
          <p:cNvPr id="9" name="Rectangle 28">
            <a:extLst>
              <a:ext uri="{FF2B5EF4-FFF2-40B4-BE49-F238E27FC236}">
                <a16:creationId xmlns:a16="http://schemas.microsoft.com/office/drawing/2014/main" id="{5738A93A-1D97-DA4A-3B03-57A34F4FB3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8788" y="4258559"/>
            <a:ext cx="2155825" cy="149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fr-FR" altLang="en-US" b="1" dirty="0" err="1">
                <a:solidFill>
                  <a:schemeClr val="bg1"/>
                </a:solidFill>
                <a:latin typeface="+mn-lt"/>
              </a:rPr>
              <a:t>Your</a:t>
            </a:r>
            <a:r>
              <a:rPr lang="fr-FR" altLang="en-US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fr-FR" altLang="en-US" b="1" dirty="0" err="1">
                <a:solidFill>
                  <a:schemeClr val="bg1"/>
                </a:solidFill>
                <a:latin typeface="+mn-lt"/>
              </a:rPr>
              <a:t>Title</a:t>
            </a:r>
            <a:r>
              <a:rPr lang="fr-FR" altLang="en-US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fr-FR" altLang="en-US" b="1" dirty="0" err="1">
                <a:solidFill>
                  <a:schemeClr val="bg1"/>
                </a:solidFill>
                <a:latin typeface="+mn-lt"/>
              </a:rPr>
              <a:t>Here</a:t>
            </a:r>
            <a:endParaRPr lang="en-US" altLang="en-US" b="1" dirty="0">
              <a:solidFill>
                <a:schemeClr val="bg1"/>
              </a:solidFill>
              <a:latin typeface="+mn-lt"/>
            </a:endParaRPr>
          </a:p>
          <a:p>
            <a:pPr algn="ctr"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There are many variations of passages but the suffered alteration in some form by injected. There are many There are man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AF11C02-D86C-892A-0A33-A9CBDACA39E5}"/>
              </a:ext>
            </a:extLst>
          </p:cNvPr>
          <p:cNvSpPr/>
          <p:nvPr/>
        </p:nvSpPr>
        <p:spPr>
          <a:xfrm>
            <a:off x="9218613" y="3928359"/>
            <a:ext cx="2447925" cy="21542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Rectangle 28">
            <a:extLst>
              <a:ext uri="{FF2B5EF4-FFF2-40B4-BE49-F238E27FC236}">
                <a16:creationId xmlns:a16="http://schemas.microsoft.com/office/drawing/2014/main" id="{D1D93809-1503-D908-021F-44C2886B20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29738" y="4258559"/>
            <a:ext cx="2224087" cy="149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fr-FR" altLang="en-US" b="1">
                <a:solidFill>
                  <a:schemeClr val="bg1"/>
                </a:solidFill>
                <a:latin typeface="+mn-lt"/>
              </a:rPr>
              <a:t>Your Title Here</a:t>
            </a:r>
            <a:endParaRPr lang="en-US" altLang="en-US" b="1">
              <a:solidFill>
                <a:schemeClr val="bg1"/>
              </a:solidFill>
              <a:latin typeface="+mn-lt"/>
            </a:endParaRPr>
          </a:p>
          <a:p>
            <a:pPr algn="ctr" eaLnBrk="1" hangingPunct="1"/>
            <a:r>
              <a:rPr lang="en-US" altLang="en-US" sz="1400">
                <a:solidFill>
                  <a:schemeClr val="bg1"/>
                </a:solidFill>
                <a:latin typeface="+mn-lt"/>
              </a:rPr>
              <a:t>There are many variations of passages but the suffered alteration in some form by injected. There are many There are many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ACAF708-AFF9-B351-D549-58BB429D5CD2}"/>
              </a:ext>
            </a:extLst>
          </p:cNvPr>
          <p:cNvCxnSpPr/>
          <p:nvPr/>
        </p:nvCxnSpPr>
        <p:spPr>
          <a:xfrm flipV="1">
            <a:off x="10445750" y="3352097"/>
            <a:ext cx="0" cy="511175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1E57D5A3-0274-1D61-EC7F-5A5F44529059}"/>
              </a:ext>
            </a:extLst>
          </p:cNvPr>
          <p:cNvSpPr/>
          <p:nvPr/>
        </p:nvSpPr>
        <p:spPr>
          <a:xfrm>
            <a:off x="10137775" y="2950459"/>
            <a:ext cx="617538" cy="36830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/>
              <a:t>50%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5A7B702-26F9-3647-2B55-C4F24D7B08B2}"/>
              </a:ext>
            </a:extLst>
          </p:cNvPr>
          <p:cNvSpPr/>
          <p:nvPr/>
        </p:nvSpPr>
        <p:spPr>
          <a:xfrm>
            <a:off x="9879013" y="1466147"/>
            <a:ext cx="1042987" cy="104457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tx1"/>
                </a:solidFill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17412794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A1186B-5F84-0881-1685-7A65F4B624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A204D62-009B-05D3-0C18-C1A129DB1B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098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6E6CA0-E250-AC63-2D0E-C3F2078D33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3B8D8794-C081-7F77-D5B6-3B64B3548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 – General Layou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C3421B6-171C-8645-3437-CBDB4D6768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1096087-998F-AF0F-0ED6-19549EE7ADF6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07485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CFA786-8EDC-6526-8030-FC3DC5C6F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02CA7F9-FB67-3E74-CCB0-86A217478A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2CA7F9-FB67-3E74-CCB0-86A217478A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04FCF4-C724-458F-F656-DCBF50D8C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CFC6B49-7485-3EE3-D16F-0E13D5ABEAC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0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42" name="Chart 241">
            <a:extLst>
              <a:ext uri="{FF2B5EF4-FFF2-40B4-BE49-F238E27FC236}">
                <a16:creationId xmlns:a16="http://schemas.microsoft.com/office/drawing/2014/main" id="{00E560FA-23BD-4F6A-B2C1-AAAE79DD23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9519338"/>
              </p:ext>
            </p:extLst>
          </p:nvPr>
        </p:nvGraphicFramePr>
        <p:xfrm>
          <a:off x="837332" y="2037129"/>
          <a:ext cx="4721520" cy="3503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43" name="Chart 242">
            <a:extLst>
              <a:ext uri="{FF2B5EF4-FFF2-40B4-BE49-F238E27FC236}">
                <a16:creationId xmlns:a16="http://schemas.microsoft.com/office/drawing/2014/main" id="{57094100-E9B0-4DE4-A29F-0B36823A3E2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0506127"/>
              </p:ext>
            </p:extLst>
          </p:nvPr>
        </p:nvGraphicFramePr>
        <p:xfrm>
          <a:off x="5351604" y="1751521"/>
          <a:ext cx="2590562" cy="4201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4" name="Chart 243">
            <a:extLst>
              <a:ext uri="{FF2B5EF4-FFF2-40B4-BE49-F238E27FC236}">
                <a16:creationId xmlns:a16="http://schemas.microsoft.com/office/drawing/2014/main" id="{8CF92108-1D03-4167-9BCA-953FE29441E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7672898"/>
              </p:ext>
            </p:extLst>
          </p:nvPr>
        </p:nvGraphicFramePr>
        <p:xfrm>
          <a:off x="8837531" y="1751521"/>
          <a:ext cx="2590562" cy="4201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45" name="Rectangle 244">
            <a:extLst>
              <a:ext uri="{FF2B5EF4-FFF2-40B4-BE49-F238E27FC236}">
                <a16:creationId xmlns:a16="http://schemas.microsoft.com/office/drawing/2014/main" id="{DDCB2B55-238B-4570-B8E2-1E98B8501B7E}"/>
              </a:ext>
            </a:extLst>
          </p:cNvPr>
          <p:cNvSpPr/>
          <p:nvPr/>
        </p:nvSpPr>
        <p:spPr>
          <a:xfrm>
            <a:off x="7942168" y="1811102"/>
            <a:ext cx="971991" cy="35710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229" dirty="0">
              <a:solidFill>
                <a:srgbClr val="FFFFFF"/>
              </a:solidFill>
            </a:endParaRP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2838F579-7A93-4BBC-BB5E-735DC46E1122}"/>
              </a:ext>
            </a:extLst>
          </p:cNvPr>
          <p:cNvSpPr/>
          <p:nvPr/>
        </p:nvSpPr>
        <p:spPr>
          <a:xfrm>
            <a:off x="7942168" y="1672757"/>
            <a:ext cx="971991" cy="366564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229" dirty="0">
              <a:solidFill>
                <a:srgbClr val="FFFFFF"/>
              </a:solidFill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824CF091-9438-4F2A-8686-1A990AB5C010}"/>
              </a:ext>
            </a:extLst>
          </p:cNvPr>
          <p:cNvSpPr txBox="1"/>
          <p:nvPr/>
        </p:nvSpPr>
        <p:spPr>
          <a:xfrm>
            <a:off x="8105003" y="2037129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4EBF628F-AC5C-4470-8A57-1E0DE20E8C8A}"/>
              </a:ext>
            </a:extLst>
          </p:cNvPr>
          <p:cNvSpPr txBox="1"/>
          <p:nvPr/>
        </p:nvSpPr>
        <p:spPr>
          <a:xfrm>
            <a:off x="8105003" y="2691238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643D7CC4-0233-4DEC-80FF-92286EFE6748}"/>
              </a:ext>
            </a:extLst>
          </p:cNvPr>
          <p:cNvSpPr txBox="1"/>
          <p:nvPr/>
        </p:nvSpPr>
        <p:spPr>
          <a:xfrm>
            <a:off x="8105003" y="3345347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A07D6F1D-3FE0-4850-BC26-E9B1AF07F726}"/>
              </a:ext>
            </a:extLst>
          </p:cNvPr>
          <p:cNvSpPr txBox="1"/>
          <p:nvPr/>
        </p:nvSpPr>
        <p:spPr>
          <a:xfrm>
            <a:off x="8105003" y="3999456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CB1B3362-C37C-4051-B155-9BCB0BE3C6BE}"/>
              </a:ext>
            </a:extLst>
          </p:cNvPr>
          <p:cNvSpPr txBox="1"/>
          <p:nvPr/>
        </p:nvSpPr>
        <p:spPr>
          <a:xfrm>
            <a:off x="8105003" y="4653565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A3CB2011-B402-441B-92A1-F59B6F62E6EF}"/>
              </a:ext>
            </a:extLst>
          </p:cNvPr>
          <p:cNvSpPr txBox="1"/>
          <p:nvPr/>
        </p:nvSpPr>
        <p:spPr>
          <a:xfrm>
            <a:off x="8105003" y="5307674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7CE0558F-BEAD-478C-876E-D7581C9C7B6C}"/>
              </a:ext>
            </a:extLst>
          </p:cNvPr>
          <p:cNvSpPr txBox="1"/>
          <p:nvPr/>
        </p:nvSpPr>
        <p:spPr>
          <a:xfrm>
            <a:off x="5351604" y="1229568"/>
            <a:ext cx="6153114" cy="3186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552FA4BA-A9E9-4238-A3F1-AC53A10CF537}"/>
              </a:ext>
            </a:extLst>
          </p:cNvPr>
          <p:cNvSpPr txBox="1"/>
          <p:nvPr/>
        </p:nvSpPr>
        <p:spPr>
          <a:xfrm>
            <a:off x="837332" y="1229568"/>
            <a:ext cx="4303419" cy="3186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255" name="Freeform: Shape 254">
            <a:extLst>
              <a:ext uri="{FF2B5EF4-FFF2-40B4-BE49-F238E27FC236}">
                <a16:creationId xmlns:a16="http://schemas.microsoft.com/office/drawing/2014/main" id="{FD7AA224-1137-457A-A0DE-A06FB937E8A0}"/>
              </a:ext>
            </a:extLst>
          </p:cNvPr>
          <p:cNvSpPr>
            <a:spLocks/>
          </p:cNvSpPr>
          <p:nvPr/>
        </p:nvSpPr>
        <p:spPr>
          <a:xfrm>
            <a:off x="837332" y="1583596"/>
            <a:ext cx="4303419" cy="0"/>
          </a:xfrm>
          <a:custGeom>
            <a:avLst/>
            <a:gdLst>
              <a:gd name="connsiteX0" fmla="*/ 0 w 10754591"/>
              <a:gd name="connsiteY0" fmla="*/ 0 h 0"/>
              <a:gd name="connsiteX1" fmla="*/ 10754591 w 1075459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54591">
                <a:moveTo>
                  <a:pt x="0" y="0"/>
                </a:moveTo>
                <a:lnTo>
                  <a:pt x="10754591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2229" dirty="0">
              <a:solidFill>
                <a:schemeClr val="tx1"/>
              </a:solidFill>
            </a:endParaRPr>
          </a:p>
        </p:txBody>
      </p:sp>
      <p:sp>
        <p:nvSpPr>
          <p:cNvPr id="256" name="Freeform: Shape 255">
            <a:extLst>
              <a:ext uri="{FF2B5EF4-FFF2-40B4-BE49-F238E27FC236}">
                <a16:creationId xmlns:a16="http://schemas.microsoft.com/office/drawing/2014/main" id="{7B2D4AD3-9C7E-4FBE-8EAA-28D4732D71C3}"/>
              </a:ext>
            </a:extLst>
          </p:cNvPr>
          <p:cNvSpPr>
            <a:spLocks/>
          </p:cNvSpPr>
          <p:nvPr/>
        </p:nvSpPr>
        <p:spPr>
          <a:xfrm>
            <a:off x="5351604" y="1583596"/>
            <a:ext cx="6153114" cy="0"/>
          </a:xfrm>
          <a:custGeom>
            <a:avLst/>
            <a:gdLst>
              <a:gd name="connsiteX0" fmla="*/ 0 w 10754591"/>
              <a:gd name="connsiteY0" fmla="*/ 0 h 0"/>
              <a:gd name="connsiteX1" fmla="*/ 10754591 w 1075459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54591">
                <a:moveTo>
                  <a:pt x="0" y="0"/>
                </a:moveTo>
                <a:lnTo>
                  <a:pt x="10754591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2229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0312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58DE0-8D62-3C29-AD8E-19EF2C9AC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1AA8002-6669-7EA7-F7C3-10A0633B93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AA8002-6669-7EA7-F7C3-10A0633B9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85C7E7-D736-9CD3-B88B-5EE010981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08382C3-11CC-C3E6-7E8E-EB743D476B9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C0B414F-7721-F052-B45B-40334D7DC5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3392029"/>
              </p:ext>
            </p:extLst>
          </p:nvPr>
        </p:nvGraphicFramePr>
        <p:xfrm>
          <a:off x="762307" y="1467709"/>
          <a:ext cx="10667386" cy="3922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39218DCD-D627-3EF8-3E40-A61076B56C4F}"/>
              </a:ext>
            </a:extLst>
          </p:cNvPr>
          <p:cNvSpPr/>
          <p:nvPr/>
        </p:nvSpPr>
        <p:spPr>
          <a:xfrm>
            <a:off x="4004887" y="5411552"/>
            <a:ext cx="343482" cy="34348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7580E5-0AEC-316C-DB49-DDBE3EF140D6}"/>
              </a:ext>
            </a:extLst>
          </p:cNvPr>
          <p:cNvSpPr txBox="1"/>
          <p:nvPr/>
        </p:nvSpPr>
        <p:spPr>
          <a:xfrm>
            <a:off x="4461859" y="5470123"/>
            <a:ext cx="1419832" cy="2263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A198746-9561-546B-D5DC-EB003409C052}"/>
              </a:ext>
            </a:extLst>
          </p:cNvPr>
          <p:cNvSpPr/>
          <p:nvPr/>
        </p:nvSpPr>
        <p:spPr>
          <a:xfrm>
            <a:off x="6290018" y="5411552"/>
            <a:ext cx="343482" cy="34348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C50563-0B42-9D9F-D42F-B81FB206D6E4}"/>
              </a:ext>
            </a:extLst>
          </p:cNvPr>
          <p:cNvSpPr txBox="1"/>
          <p:nvPr/>
        </p:nvSpPr>
        <p:spPr>
          <a:xfrm>
            <a:off x="6746993" y="5470123"/>
            <a:ext cx="1476214" cy="2263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81551792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77F47A-F228-2F11-002E-A3CC410AF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15BCB12-8366-EF47-DA6D-A442FE6E5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5BCB12-8366-EF47-DA6D-A442FE6E5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172B3A-3DEB-611E-81DF-22BC9A9A4E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3424BFF-049E-1904-F9F3-7CA6AC21D37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2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16">
            <a:extLst>
              <a:ext uri="{FF2B5EF4-FFF2-40B4-BE49-F238E27FC236}">
                <a16:creationId xmlns:a16="http://schemas.microsoft.com/office/drawing/2014/main" id="{A32FD53C-7F24-F8F5-6551-31C505E1CBA5}"/>
              </a:ext>
            </a:extLst>
          </p:cNvPr>
          <p:cNvGraphicFramePr>
            <a:graphicFrameLocks/>
          </p:cNvGraphicFramePr>
          <p:nvPr/>
        </p:nvGraphicFramePr>
        <p:xfrm>
          <a:off x="481013" y="2609565"/>
          <a:ext cx="11233150" cy="3717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08BD01-D46D-7565-3F21-DE6FED8406DD}"/>
              </a:ext>
            </a:extLst>
          </p:cNvPr>
          <p:cNvCxnSpPr/>
          <p:nvPr/>
        </p:nvCxnSpPr>
        <p:spPr>
          <a:xfrm flipV="1">
            <a:off x="1386587" y="1649128"/>
            <a:ext cx="0" cy="1831975"/>
          </a:xfrm>
          <a:prstGeom prst="line">
            <a:avLst/>
          </a:prstGeom>
          <a:ln w="38100"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B0F56A23-477E-218B-75AB-5F2A6AF657F8}"/>
              </a:ext>
            </a:extLst>
          </p:cNvPr>
          <p:cNvSpPr/>
          <p:nvPr/>
        </p:nvSpPr>
        <p:spPr>
          <a:xfrm>
            <a:off x="883349" y="1271303"/>
            <a:ext cx="965200" cy="5683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2020</a:t>
            </a:r>
            <a:endParaRPr lang="en-US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EA0889-6FE4-A26C-50A6-1859BBD0EB50}"/>
              </a:ext>
            </a:extLst>
          </p:cNvPr>
          <p:cNvSpPr/>
          <p:nvPr/>
        </p:nvSpPr>
        <p:spPr>
          <a:xfrm>
            <a:off x="883349" y="2041240"/>
            <a:ext cx="965200" cy="5683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/>
              <a:t>50%</a:t>
            </a:r>
            <a:endParaRPr lang="en-US" sz="2000" b="1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ED09C53-CDA8-1EF5-42C9-4C766960204B}"/>
              </a:ext>
            </a:extLst>
          </p:cNvPr>
          <p:cNvCxnSpPr/>
          <p:nvPr/>
        </p:nvCxnSpPr>
        <p:spPr>
          <a:xfrm flipV="1">
            <a:off x="4598225" y="1649128"/>
            <a:ext cx="0" cy="1831975"/>
          </a:xfrm>
          <a:prstGeom prst="line">
            <a:avLst/>
          </a:prstGeom>
          <a:ln w="3810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673D0F0-58EF-E0DE-9A14-ED7B35603D3B}"/>
              </a:ext>
            </a:extLst>
          </p:cNvPr>
          <p:cNvSpPr/>
          <p:nvPr/>
        </p:nvSpPr>
        <p:spPr>
          <a:xfrm>
            <a:off x="4094988" y="1271303"/>
            <a:ext cx="965200" cy="568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/>
              <a:t>2021</a:t>
            </a:r>
            <a:endParaRPr lang="en-US" sz="2000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1194A4-8DD8-633D-54F2-26F3FBED8E63}"/>
              </a:ext>
            </a:extLst>
          </p:cNvPr>
          <p:cNvSpPr/>
          <p:nvPr/>
        </p:nvSpPr>
        <p:spPr>
          <a:xfrm>
            <a:off x="4094988" y="2041240"/>
            <a:ext cx="965200" cy="568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/>
              <a:t>60%</a:t>
            </a:r>
            <a:endParaRPr lang="en-US" sz="2000" b="1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E056239-03E0-5DEB-4584-F31E60333564}"/>
              </a:ext>
            </a:extLst>
          </p:cNvPr>
          <p:cNvCxnSpPr/>
          <p:nvPr/>
        </p:nvCxnSpPr>
        <p:spPr>
          <a:xfrm flipV="1">
            <a:off x="7752144" y="1649128"/>
            <a:ext cx="0" cy="2338387"/>
          </a:xfrm>
          <a:prstGeom prst="line">
            <a:avLst/>
          </a:prstGeom>
          <a:ln w="38100">
            <a:solidFill>
              <a:schemeClr val="accent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E580B02F-51CF-4ED7-2CB7-A2160F066829}"/>
              </a:ext>
            </a:extLst>
          </p:cNvPr>
          <p:cNvSpPr/>
          <p:nvPr/>
        </p:nvSpPr>
        <p:spPr>
          <a:xfrm>
            <a:off x="7248907" y="1271303"/>
            <a:ext cx="965200" cy="568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/>
              <a:t>2022</a:t>
            </a:r>
            <a:endParaRPr lang="en-US" sz="2000" b="1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F6BF9E-EBCC-BC72-F1B1-F0BF2E78BCB4}"/>
              </a:ext>
            </a:extLst>
          </p:cNvPr>
          <p:cNvSpPr/>
          <p:nvPr/>
        </p:nvSpPr>
        <p:spPr>
          <a:xfrm>
            <a:off x="7248907" y="2041240"/>
            <a:ext cx="965200" cy="568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/>
              <a:t>70%</a:t>
            </a:r>
            <a:endParaRPr lang="en-US" sz="2000" b="1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D8E01F5-4A9E-DCD9-8B39-DBDCF1847552}"/>
              </a:ext>
            </a:extLst>
          </p:cNvPr>
          <p:cNvCxnSpPr/>
          <p:nvPr/>
        </p:nvCxnSpPr>
        <p:spPr>
          <a:xfrm flipV="1">
            <a:off x="10945751" y="1649128"/>
            <a:ext cx="0" cy="2003425"/>
          </a:xfrm>
          <a:prstGeom prst="line">
            <a:avLst/>
          </a:prstGeom>
          <a:ln w="38100">
            <a:solidFill>
              <a:schemeClr val="accent4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AEE34F97-0F06-D993-155A-03093324F489}"/>
              </a:ext>
            </a:extLst>
          </p:cNvPr>
          <p:cNvSpPr/>
          <p:nvPr/>
        </p:nvSpPr>
        <p:spPr>
          <a:xfrm>
            <a:off x="10444101" y="1271303"/>
            <a:ext cx="965200" cy="5683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/>
              <a:t>2023</a:t>
            </a:r>
            <a:endParaRPr lang="en-US" sz="2000" b="1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7087B6F-8814-A432-235F-55F49235FA4D}"/>
              </a:ext>
            </a:extLst>
          </p:cNvPr>
          <p:cNvSpPr/>
          <p:nvPr/>
        </p:nvSpPr>
        <p:spPr>
          <a:xfrm>
            <a:off x="10444101" y="2041240"/>
            <a:ext cx="965200" cy="5683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/>
              <a:t>90%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82521584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95C763-BB69-21C0-7613-28BE311EED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E5825B6-3540-7034-37EF-3AE5F94F45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825B6-3540-7034-37EF-3AE5F94F4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F9CD28-66EE-B9A6-5AEB-454798924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E2A99DB-02D9-1C7C-A4B6-8258B2E338F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3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A0DBCC57-7933-EF37-A79E-4E00CF47C29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1848198"/>
              </p:ext>
            </p:extLst>
          </p:nvPr>
        </p:nvGraphicFramePr>
        <p:xfrm>
          <a:off x="8040229" y="1817847"/>
          <a:ext cx="3221420" cy="2772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0990196-4E7E-48CD-E4E3-4EFB251060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3150595"/>
              </p:ext>
            </p:extLst>
          </p:nvPr>
        </p:nvGraphicFramePr>
        <p:xfrm>
          <a:off x="4308809" y="1817847"/>
          <a:ext cx="3221420" cy="2772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93CEC43-C4B4-2F68-E96F-02FDC234E7D8}"/>
              </a:ext>
            </a:extLst>
          </p:cNvPr>
          <p:cNvSpPr txBox="1">
            <a:spLocks/>
          </p:cNvSpPr>
          <p:nvPr/>
        </p:nvSpPr>
        <p:spPr>
          <a:xfrm>
            <a:off x="638182" y="1340222"/>
            <a:ext cx="3221420" cy="3772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64E2E4-AEF9-3C09-99F8-646BCE0B2CA3}"/>
              </a:ext>
            </a:extLst>
          </p:cNvPr>
          <p:cNvSpPr txBox="1"/>
          <p:nvPr/>
        </p:nvSpPr>
        <p:spPr>
          <a:xfrm>
            <a:off x="4296619" y="1340222"/>
            <a:ext cx="3221420" cy="3772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B4CF0B-E3E3-5A11-EBE4-B5AF916E2C2A}"/>
              </a:ext>
            </a:extLst>
          </p:cNvPr>
          <p:cNvSpPr txBox="1"/>
          <p:nvPr/>
        </p:nvSpPr>
        <p:spPr>
          <a:xfrm>
            <a:off x="7955051" y="1340222"/>
            <a:ext cx="3221420" cy="3772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8DC137-BD7A-E386-3471-ADA738706E04}"/>
              </a:ext>
            </a:extLst>
          </p:cNvPr>
          <p:cNvSpPr txBox="1"/>
          <p:nvPr/>
        </p:nvSpPr>
        <p:spPr>
          <a:xfrm>
            <a:off x="594263" y="4904993"/>
            <a:ext cx="10667386" cy="7984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Insert Text Here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F252452-2124-F2D8-E7A7-BFCC012765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8560369"/>
              </p:ext>
            </p:extLst>
          </p:nvPr>
        </p:nvGraphicFramePr>
        <p:xfrm>
          <a:off x="595261" y="1817847"/>
          <a:ext cx="3221420" cy="2772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F6BC9827-17FC-2AF8-381F-E6CE929759C7}"/>
              </a:ext>
            </a:extLst>
          </p:cNvPr>
          <p:cNvGrpSpPr/>
          <p:nvPr/>
        </p:nvGrpSpPr>
        <p:grpSpPr>
          <a:xfrm>
            <a:off x="1937532" y="2780826"/>
            <a:ext cx="536871" cy="532403"/>
            <a:chOff x="1991327" y="3013610"/>
            <a:chExt cx="552242" cy="547647"/>
          </a:xfrm>
          <a:solidFill>
            <a:schemeClr val="accent1"/>
          </a:solidFill>
        </p:grpSpPr>
        <p:sp>
          <p:nvSpPr>
            <p:cNvPr id="12" name="Freeform 1532">
              <a:extLst>
                <a:ext uri="{FF2B5EF4-FFF2-40B4-BE49-F238E27FC236}">
                  <a16:creationId xmlns:a16="http://schemas.microsoft.com/office/drawing/2014/main" id="{E195F608-A5B1-A944-D256-B31435CE36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0409" y="3388679"/>
              <a:ext cx="135720" cy="133459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13" name="Freeform 1533">
              <a:extLst>
                <a:ext uri="{FF2B5EF4-FFF2-40B4-BE49-F238E27FC236}">
                  <a16:creationId xmlns:a16="http://schemas.microsoft.com/office/drawing/2014/main" id="{9F72BF90-FA80-6332-5F81-C3FB9FF5F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6006" y="3018213"/>
              <a:ext cx="152101" cy="1495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14" name="Freeform 1534">
              <a:extLst>
                <a:ext uri="{FF2B5EF4-FFF2-40B4-BE49-F238E27FC236}">
                  <a16:creationId xmlns:a16="http://schemas.microsoft.com/office/drawing/2014/main" id="{A1471522-3E18-A023-BE2E-5F400A6E1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1327" y="3098748"/>
              <a:ext cx="170822" cy="131159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15" name="Freeform 1535">
              <a:extLst>
                <a:ext uri="{FF2B5EF4-FFF2-40B4-BE49-F238E27FC236}">
                  <a16:creationId xmlns:a16="http://schemas.microsoft.com/office/drawing/2014/main" id="{9A64B7DC-3904-4E8A-DBDC-171D97D009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7908" y="3013610"/>
              <a:ext cx="140401" cy="167975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16" name="Freeform 1536">
              <a:extLst>
                <a:ext uri="{FF2B5EF4-FFF2-40B4-BE49-F238E27FC236}">
                  <a16:creationId xmlns:a16="http://schemas.microsoft.com/office/drawing/2014/main" id="{C8E86FED-5682-7990-0A13-CFB0B5472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5766" y="3202295"/>
              <a:ext cx="86581" cy="805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17" name="Freeform 1537">
              <a:extLst>
                <a:ext uri="{FF2B5EF4-FFF2-40B4-BE49-F238E27FC236}">
                  <a16:creationId xmlns:a16="http://schemas.microsoft.com/office/drawing/2014/main" id="{05B0CF30-E86E-0E74-B849-C6775DB9C1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4470" y="3328851"/>
              <a:ext cx="88920" cy="85138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18" name="Freeform 1538">
              <a:extLst>
                <a:ext uri="{FF2B5EF4-FFF2-40B4-BE49-F238E27FC236}">
                  <a16:creationId xmlns:a16="http://schemas.microsoft.com/office/drawing/2014/main" id="{CEA580A8-33A6-42E3-C5E6-091E0FA42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0868" y="3167780"/>
              <a:ext cx="217621" cy="213996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19" name="Freeform 1539">
              <a:extLst>
                <a:ext uri="{FF2B5EF4-FFF2-40B4-BE49-F238E27FC236}">
                  <a16:creationId xmlns:a16="http://schemas.microsoft.com/office/drawing/2014/main" id="{1A35FD2D-48E7-8DD8-8D77-5802B275A1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08" y="3342658"/>
              <a:ext cx="219961" cy="218599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20" name="Freeform 1540">
              <a:extLst>
                <a:ext uri="{FF2B5EF4-FFF2-40B4-BE49-F238E27FC236}">
                  <a16:creationId xmlns:a16="http://schemas.microsoft.com/office/drawing/2014/main" id="{7313ED8E-626C-99AB-CDED-A52B187FB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1069" y="3036619"/>
              <a:ext cx="273781" cy="273824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21" name="Freeform 1541">
              <a:extLst>
                <a:ext uri="{FF2B5EF4-FFF2-40B4-BE49-F238E27FC236}">
                  <a16:creationId xmlns:a16="http://schemas.microsoft.com/office/drawing/2014/main" id="{CAB9E222-F0B3-F7CF-2388-A4F6E15292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8347" y="3296637"/>
              <a:ext cx="266762" cy="255415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22" name="Freeform 1542">
              <a:extLst>
                <a:ext uri="{FF2B5EF4-FFF2-40B4-BE49-F238E27FC236}">
                  <a16:creationId xmlns:a16="http://schemas.microsoft.com/office/drawing/2014/main" id="{F94DF032-9282-C5C2-6D88-DE2CBE3CEF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7889" y="3266722"/>
              <a:ext cx="107641" cy="101245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23" name="Freeform 1543">
              <a:extLst>
                <a:ext uri="{FF2B5EF4-FFF2-40B4-BE49-F238E27FC236}">
                  <a16:creationId xmlns:a16="http://schemas.microsoft.com/office/drawing/2014/main" id="{71E2BFAA-FE36-4377-18C7-3CD87D4670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0390" y="3036619"/>
              <a:ext cx="46801" cy="46021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6479CD5-D733-56C5-A56D-D9310B7B8519}"/>
              </a:ext>
            </a:extLst>
          </p:cNvPr>
          <p:cNvGrpSpPr/>
          <p:nvPr/>
        </p:nvGrpSpPr>
        <p:grpSpPr>
          <a:xfrm>
            <a:off x="5590874" y="2719340"/>
            <a:ext cx="632906" cy="639239"/>
            <a:chOff x="5749266" y="2950364"/>
            <a:chExt cx="651027" cy="657541"/>
          </a:xfrm>
          <a:solidFill>
            <a:schemeClr val="accent1"/>
          </a:solidFill>
        </p:grpSpPr>
        <p:sp>
          <p:nvSpPr>
            <p:cNvPr id="25" name="Freeform 380">
              <a:extLst>
                <a:ext uri="{FF2B5EF4-FFF2-40B4-BE49-F238E27FC236}">
                  <a16:creationId xmlns:a16="http://schemas.microsoft.com/office/drawing/2014/main" id="{1AB250CB-17D7-4425-0B17-D41B94AAA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9266" y="2950364"/>
              <a:ext cx="507802" cy="514314"/>
            </a:xfrm>
            <a:custGeom>
              <a:avLst/>
              <a:gdLst>
                <a:gd name="T0" fmla="*/ 142 w 285"/>
                <a:gd name="T1" fmla="*/ 285 h 285"/>
                <a:gd name="T2" fmla="*/ 0 w 285"/>
                <a:gd name="T3" fmla="*/ 143 h 285"/>
                <a:gd name="T4" fmla="*/ 142 w 285"/>
                <a:gd name="T5" fmla="*/ 0 h 285"/>
                <a:gd name="T6" fmla="*/ 285 w 285"/>
                <a:gd name="T7" fmla="*/ 143 h 285"/>
                <a:gd name="T8" fmla="*/ 142 w 285"/>
                <a:gd name="T9" fmla="*/ 285 h 285"/>
                <a:gd name="T10" fmla="*/ 142 w 285"/>
                <a:gd name="T11" fmla="*/ 12 h 285"/>
                <a:gd name="T12" fmla="*/ 12 w 285"/>
                <a:gd name="T13" fmla="*/ 143 h 285"/>
                <a:gd name="T14" fmla="*/ 142 w 285"/>
                <a:gd name="T15" fmla="*/ 273 h 285"/>
                <a:gd name="T16" fmla="*/ 273 w 285"/>
                <a:gd name="T17" fmla="*/ 143 h 285"/>
                <a:gd name="T18" fmla="*/ 142 w 285"/>
                <a:gd name="T19" fmla="*/ 1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5" h="285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26" name="Freeform 381">
              <a:extLst>
                <a:ext uri="{FF2B5EF4-FFF2-40B4-BE49-F238E27FC236}">
                  <a16:creationId xmlns:a16="http://schemas.microsoft.com/office/drawing/2014/main" id="{C823578E-AC3A-1A59-80A3-62230892DD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39883" y="3340981"/>
              <a:ext cx="260410" cy="266924"/>
            </a:xfrm>
            <a:custGeom>
              <a:avLst/>
              <a:gdLst>
                <a:gd name="T0" fmla="*/ 119 w 145"/>
                <a:gd name="T1" fmla="*/ 146 h 146"/>
                <a:gd name="T2" fmla="*/ 100 w 145"/>
                <a:gd name="T3" fmla="*/ 138 h 146"/>
                <a:gd name="T4" fmla="*/ 2 w 145"/>
                <a:gd name="T5" fmla="*/ 40 h 146"/>
                <a:gd name="T6" fmla="*/ 2 w 145"/>
                <a:gd name="T7" fmla="*/ 32 h 146"/>
                <a:gd name="T8" fmla="*/ 31 w 145"/>
                <a:gd name="T9" fmla="*/ 3 h 146"/>
                <a:gd name="T10" fmla="*/ 40 w 145"/>
                <a:gd name="T11" fmla="*/ 3 h 146"/>
                <a:gd name="T12" fmla="*/ 138 w 145"/>
                <a:gd name="T13" fmla="*/ 100 h 146"/>
                <a:gd name="T14" fmla="*/ 145 w 145"/>
                <a:gd name="T15" fmla="*/ 119 h 146"/>
                <a:gd name="T16" fmla="*/ 138 w 145"/>
                <a:gd name="T17" fmla="*/ 138 h 146"/>
                <a:gd name="T18" fmla="*/ 119 w 145"/>
                <a:gd name="T19" fmla="*/ 146 h 146"/>
                <a:gd name="T20" fmla="*/ 15 w 145"/>
                <a:gd name="T21" fmla="*/ 36 h 146"/>
                <a:gd name="T22" fmla="*/ 109 w 145"/>
                <a:gd name="T23" fmla="*/ 129 h 146"/>
                <a:gd name="T24" fmla="*/ 109 w 145"/>
                <a:gd name="T25" fmla="*/ 129 h 146"/>
                <a:gd name="T26" fmla="*/ 129 w 145"/>
                <a:gd name="T27" fmla="*/ 129 h 146"/>
                <a:gd name="T28" fmla="*/ 133 w 145"/>
                <a:gd name="T29" fmla="*/ 119 h 146"/>
                <a:gd name="T30" fmla="*/ 129 w 145"/>
                <a:gd name="T31" fmla="*/ 109 h 146"/>
                <a:gd name="T32" fmla="*/ 36 w 145"/>
                <a:gd name="T33" fmla="*/ 16 h 146"/>
                <a:gd name="T34" fmla="*/ 15 w 145"/>
                <a:gd name="T35" fmla="*/ 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6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27" name="Freeform 382">
              <a:extLst>
                <a:ext uri="{FF2B5EF4-FFF2-40B4-BE49-F238E27FC236}">
                  <a16:creationId xmlns:a16="http://schemas.microsoft.com/office/drawing/2014/main" id="{596904E8-A985-F1CB-D164-BD1B98892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3898" y="3034996"/>
              <a:ext cx="182287" cy="182289"/>
            </a:xfrm>
            <a:custGeom>
              <a:avLst/>
              <a:gdLst>
                <a:gd name="T0" fmla="*/ 6 w 99"/>
                <a:gd name="T1" fmla="*/ 100 h 100"/>
                <a:gd name="T2" fmla="*/ 0 w 99"/>
                <a:gd name="T3" fmla="*/ 94 h 100"/>
                <a:gd name="T4" fmla="*/ 93 w 99"/>
                <a:gd name="T5" fmla="*/ 0 h 100"/>
                <a:gd name="T6" fmla="*/ 99 w 99"/>
                <a:gd name="T7" fmla="*/ 6 h 100"/>
                <a:gd name="T8" fmla="*/ 93 w 99"/>
                <a:gd name="T9" fmla="*/ 12 h 100"/>
                <a:gd name="T10" fmla="*/ 12 w 99"/>
                <a:gd name="T11" fmla="*/ 94 h 100"/>
                <a:gd name="T12" fmla="*/ 6 w 9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10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0B401C1-222B-3B7C-7500-8494A92491B9}"/>
              </a:ext>
            </a:extLst>
          </p:cNvPr>
          <p:cNvGrpSpPr/>
          <p:nvPr/>
        </p:nvGrpSpPr>
        <p:grpSpPr>
          <a:xfrm>
            <a:off x="9347269" y="2705545"/>
            <a:ext cx="635249" cy="629962"/>
            <a:chOff x="9613210" y="2936175"/>
            <a:chExt cx="653437" cy="647998"/>
          </a:xfrm>
          <a:solidFill>
            <a:schemeClr val="accent1"/>
          </a:solidFill>
        </p:grpSpPr>
        <p:sp>
          <p:nvSpPr>
            <p:cNvPr id="29" name="Freeform 44">
              <a:extLst>
                <a:ext uri="{FF2B5EF4-FFF2-40B4-BE49-F238E27FC236}">
                  <a16:creationId xmlns:a16="http://schemas.microsoft.com/office/drawing/2014/main" id="{EDD26B9F-7572-56D3-81C2-A87B970199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65678" y="3088643"/>
              <a:ext cx="343056" cy="343059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  <p:sp>
          <p:nvSpPr>
            <p:cNvPr id="30" name="Freeform 45">
              <a:extLst>
                <a:ext uri="{FF2B5EF4-FFF2-40B4-BE49-F238E27FC236}">
                  <a16:creationId xmlns:a16="http://schemas.microsoft.com/office/drawing/2014/main" id="{E5D1BFBB-3DEA-92E3-75E5-5EE5454529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3210" y="2936175"/>
              <a:ext cx="653437" cy="647998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3292" tIns="56646" rIns="113292" bIns="56646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229" dirty="0"/>
            </a:p>
          </p:txBody>
        </p:sp>
      </p:grpSp>
    </p:spTree>
    <p:extLst>
      <p:ext uri="{BB962C8B-B14F-4D97-AF65-F5344CB8AC3E}">
        <p14:creationId xmlns:p14="http://schemas.microsoft.com/office/powerpoint/2010/main" val="388713403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76EF1A-8FA0-48BC-B41B-28371FAA93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2D44B6E-DB61-B521-5785-4DFD551ECC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44B6E-DB61-B521-5785-4DFD551ECC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FA0E0F-E690-C86F-88B2-5596523A6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2EB0679-8EC5-67AD-271D-14EE406A1C0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0_20220516_185938">
            <a:extLst>
              <a:ext uri="{FF2B5EF4-FFF2-40B4-BE49-F238E27FC236}">
                <a16:creationId xmlns:a16="http://schemas.microsoft.com/office/drawing/2014/main" id="{933C6476-1A8B-D4AB-FB93-A4BEB002069B}"/>
              </a:ext>
            </a:extLst>
          </p:cNvPr>
          <p:cNvSpPr/>
          <p:nvPr/>
        </p:nvSpPr>
        <p:spPr>
          <a:xfrm>
            <a:off x="629818" y="1201419"/>
            <a:ext cx="11091889" cy="4271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lt1"/>
              </a:buClr>
              <a:buSzPts val="1600"/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5" name="Google Shape;1898;p30">
            <a:extLst>
              <a:ext uri="{FF2B5EF4-FFF2-40B4-BE49-F238E27FC236}">
                <a16:creationId xmlns:a16="http://schemas.microsoft.com/office/drawing/2014/main" id="{9A334369-44F9-0EF4-C6B9-397B0ECAD6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5051506"/>
              </p:ext>
            </p:extLst>
          </p:nvPr>
        </p:nvGraphicFramePr>
        <p:xfrm>
          <a:off x="507514" y="1790032"/>
          <a:ext cx="11182161" cy="3927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6318919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22A858-10B0-7B35-C24C-AB419CB1CF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C9CEAE5-B7AC-3593-1135-728500BECE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9CEAE5-B7AC-3593-1135-728500BEC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01AA82-D68C-D564-CC0B-81BFBB8F6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B76F52D-36CC-C007-D774-D01CB9F58D3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5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4">
            <a:extLst>
              <a:ext uri="{FF2B5EF4-FFF2-40B4-BE49-F238E27FC236}">
                <a16:creationId xmlns:a16="http://schemas.microsoft.com/office/drawing/2014/main" id="{CF9CD9C9-0BEF-47E0-4396-539842FA21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543631"/>
              </p:ext>
            </p:extLst>
          </p:nvPr>
        </p:nvGraphicFramePr>
        <p:xfrm>
          <a:off x="5932488" y="1365759"/>
          <a:ext cx="5781675" cy="486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7738F44-8D1B-BDE0-E69C-1A3D2C4B0807}"/>
              </a:ext>
            </a:extLst>
          </p:cNvPr>
          <p:cNvSpPr/>
          <p:nvPr/>
        </p:nvSpPr>
        <p:spPr bwMode="auto">
          <a:xfrm>
            <a:off x="481013" y="1430847"/>
            <a:ext cx="965200" cy="965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Freeform 120">
            <a:extLst>
              <a:ext uri="{FF2B5EF4-FFF2-40B4-BE49-F238E27FC236}">
                <a16:creationId xmlns:a16="http://schemas.microsoft.com/office/drawing/2014/main" id="{F0A2D2B7-52FF-BCE6-4CE0-64C6164E8C3F}"/>
              </a:ext>
            </a:extLst>
          </p:cNvPr>
          <p:cNvSpPr>
            <a:spLocks noEditPoints="1"/>
          </p:cNvSpPr>
          <p:nvPr/>
        </p:nvSpPr>
        <p:spPr bwMode="auto">
          <a:xfrm>
            <a:off x="732904" y="1662101"/>
            <a:ext cx="461418" cy="461418"/>
          </a:xfrm>
          <a:custGeom>
            <a:avLst/>
            <a:gdLst>
              <a:gd name="T0" fmla="*/ 249238 w 62"/>
              <a:gd name="T1" fmla="*/ 498476 h 62"/>
              <a:gd name="T2" fmla="*/ 0 w 62"/>
              <a:gd name="T3" fmla="*/ 249238 h 62"/>
              <a:gd name="T4" fmla="*/ 249238 w 62"/>
              <a:gd name="T5" fmla="*/ 0 h 62"/>
              <a:gd name="T6" fmla="*/ 498476 w 62"/>
              <a:gd name="T7" fmla="*/ 249238 h 62"/>
              <a:gd name="T8" fmla="*/ 249238 w 62"/>
              <a:gd name="T9" fmla="*/ 498476 h 62"/>
              <a:gd name="T10" fmla="*/ 249238 w 62"/>
              <a:gd name="T11" fmla="*/ 72359 h 62"/>
              <a:gd name="T12" fmla="*/ 72359 w 62"/>
              <a:gd name="T13" fmla="*/ 249238 h 62"/>
              <a:gd name="T14" fmla="*/ 249238 w 62"/>
              <a:gd name="T15" fmla="*/ 426117 h 62"/>
              <a:gd name="T16" fmla="*/ 426117 w 62"/>
              <a:gd name="T17" fmla="*/ 249238 h 62"/>
              <a:gd name="T18" fmla="*/ 249238 w 62"/>
              <a:gd name="T19" fmla="*/ 72359 h 62"/>
              <a:gd name="T20" fmla="*/ 377877 w 62"/>
              <a:gd name="T21" fmla="*/ 273358 h 62"/>
              <a:gd name="T22" fmla="*/ 200998 w 62"/>
              <a:gd name="T23" fmla="*/ 369837 h 62"/>
              <a:gd name="T24" fmla="*/ 192958 w 62"/>
              <a:gd name="T25" fmla="*/ 377877 h 62"/>
              <a:gd name="T26" fmla="*/ 176879 w 62"/>
              <a:gd name="T27" fmla="*/ 369837 h 62"/>
              <a:gd name="T28" fmla="*/ 168839 w 62"/>
              <a:gd name="T29" fmla="*/ 353757 h 62"/>
              <a:gd name="T30" fmla="*/ 168839 w 62"/>
              <a:gd name="T31" fmla="*/ 144719 h 62"/>
              <a:gd name="T32" fmla="*/ 176879 w 62"/>
              <a:gd name="T33" fmla="*/ 128639 h 62"/>
              <a:gd name="T34" fmla="*/ 200998 w 62"/>
              <a:gd name="T35" fmla="*/ 128639 h 62"/>
              <a:gd name="T36" fmla="*/ 377877 w 62"/>
              <a:gd name="T37" fmla="*/ 233158 h 62"/>
              <a:gd name="T38" fmla="*/ 385917 w 62"/>
              <a:gd name="T39" fmla="*/ 249238 h 62"/>
              <a:gd name="T40" fmla="*/ 377877 w 62"/>
              <a:gd name="T41" fmla="*/ 273358 h 6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62" h="62">
                <a:moveTo>
                  <a:pt x="31" y="62"/>
                </a:moveTo>
                <a:cubicBezTo>
                  <a:pt x="14" y="62"/>
                  <a:pt x="0" y="48"/>
                  <a:pt x="0" y="31"/>
                </a:cubicBezTo>
                <a:cubicBezTo>
                  <a:pt x="0" y="14"/>
                  <a:pt x="14" y="0"/>
                  <a:pt x="31" y="0"/>
                </a:cubicBezTo>
                <a:cubicBezTo>
                  <a:pt x="48" y="0"/>
                  <a:pt x="62" y="14"/>
                  <a:pt x="62" y="31"/>
                </a:cubicBezTo>
                <a:cubicBezTo>
                  <a:pt x="62" y="48"/>
                  <a:pt x="48" y="62"/>
                  <a:pt x="31" y="62"/>
                </a:cubicBezTo>
                <a:close/>
                <a:moveTo>
                  <a:pt x="31" y="9"/>
                </a:moveTo>
                <a:cubicBezTo>
                  <a:pt x="19" y="9"/>
                  <a:pt x="9" y="19"/>
                  <a:pt x="9" y="31"/>
                </a:cubicBezTo>
                <a:cubicBezTo>
                  <a:pt x="9" y="43"/>
                  <a:pt x="19" y="53"/>
                  <a:pt x="31" y="53"/>
                </a:cubicBezTo>
                <a:cubicBezTo>
                  <a:pt x="43" y="53"/>
                  <a:pt x="53" y="43"/>
                  <a:pt x="53" y="31"/>
                </a:cubicBezTo>
                <a:cubicBezTo>
                  <a:pt x="53" y="19"/>
                  <a:pt x="43" y="9"/>
                  <a:pt x="31" y="9"/>
                </a:cubicBezTo>
                <a:close/>
                <a:moveTo>
                  <a:pt x="47" y="34"/>
                </a:moveTo>
                <a:cubicBezTo>
                  <a:pt x="25" y="46"/>
                  <a:pt x="25" y="46"/>
                  <a:pt x="25" y="46"/>
                </a:cubicBezTo>
                <a:cubicBezTo>
                  <a:pt x="24" y="47"/>
                  <a:pt x="24" y="47"/>
                  <a:pt x="24" y="47"/>
                </a:cubicBezTo>
                <a:cubicBezTo>
                  <a:pt x="23" y="47"/>
                  <a:pt x="23" y="47"/>
                  <a:pt x="22" y="46"/>
                </a:cubicBezTo>
                <a:cubicBezTo>
                  <a:pt x="22" y="46"/>
                  <a:pt x="21" y="45"/>
                  <a:pt x="21" y="44"/>
                </a:cubicBezTo>
                <a:cubicBezTo>
                  <a:pt x="21" y="18"/>
                  <a:pt x="21" y="18"/>
                  <a:pt x="21" y="18"/>
                </a:cubicBezTo>
                <a:cubicBezTo>
                  <a:pt x="21" y="18"/>
                  <a:pt x="22" y="17"/>
                  <a:pt x="22" y="16"/>
                </a:cubicBezTo>
                <a:cubicBezTo>
                  <a:pt x="23" y="16"/>
                  <a:pt x="24" y="16"/>
                  <a:pt x="25" y="16"/>
                </a:cubicBezTo>
                <a:cubicBezTo>
                  <a:pt x="47" y="29"/>
                  <a:pt x="47" y="29"/>
                  <a:pt x="47" y="29"/>
                </a:cubicBezTo>
                <a:cubicBezTo>
                  <a:pt x="48" y="30"/>
                  <a:pt x="48" y="30"/>
                  <a:pt x="48" y="31"/>
                </a:cubicBezTo>
                <a:cubicBezTo>
                  <a:pt x="48" y="32"/>
                  <a:pt x="48" y="33"/>
                  <a:pt x="47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A2EB58-DAE0-AA71-BEB8-834802686FE8}"/>
              </a:ext>
            </a:extLst>
          </p:cNvPr>
          <p:cNvSpPr/>
          <p:nvPr/>
        </p:nvSpPr>
        <p:spPr>
          <a:xfrm>
            <a:off x="481013" y="2608116"/>
            <a:ext cx="965201" cy="9652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05FADB-0F9F-0616-EA23-90502FD1C862}"/>
              </a:ext>
            </a:extLst>
          </p:cNvPr>
          <p:cNvSpPr/>
          <p:nvPr/>
        </p:nvSpPr>
        <p:spPr>
          <a:xfrm>
            <a:off x="481013" y="3786043"/>
            <a:ext cx="965201" cy="9652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374995-1526-8DD3-408F-F4317F34D5ED}"/>
              </a:ext>
            </a:extLst>
          </p:cNvPr>
          <p:cNvSpPr/>
          <p:nvPr/>
        </p:nvSpPr>
        <p:spPr>
          <a:xfrm>
            <a:off x="481013" y="4963970"/>
            <a:ext cx="965201" cy="9652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8" name="TextBox 86">
            <a:extLst>
              <a:ext uri="{FF2B5EF4-FFF2-40B4-BE49-F238E27FC236}">
                <a16:creationId xmlns:a16="http://schemas.microsoft.com/office/drawing/2014/main" id="{1B6CD638-4331-369E-8884-26F78C5F2A8D}"/>
              </a:ext>
            </a:extLst>
          </p:cNvPr>
          <p:cNvSpPr txBox="1"/>
          <p:nvPr/>
        </p:nvSpPr>
        <p:spPr>
          <a:xfrm>
            <a:off x="1585912" y="1554672"/>
            <a:ext cx="393541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1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/>
          </a:p>
        </p:txBody>
      </p:sp>
      <p:sp>
        <p:nvSpPr>
          <p:cNvPr id="19" name="TextBox 86">
            <a:extLst>
              <a:ext uri="{FF2B5EF4-FFF2-40B4-BE49-F238E27FC236}">
                <a16:creationId xmlns:a16="http://schemas.microsoft.com/office/drawing/2014/main" id="{484AD547-C615-C438-3BDC-14935971192E}"/>
              </a:ext>
            </a:extLst>
          </p:cNvPr>
          <p:cNvSpPr txBox="1"/>
          <p:nvPr/>
        </p:nvSpPr>
        <p:spPr>
          <a:xfrm>
            <a:off x="1585912" y="2732597"/>
            <a:ext cx="3887788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2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0" name="TextBox 86">
            <a:extLst>
              <a:ext uri="{FF2B5EF4-FFF2-40B4-BE49-F238E27FC236}">
                <a16:creationId xmlns:a16="http://schemas.microsoft.com/office/drawing/2014/main" id="{A7BFA0DE-0719-52E0-35A8-D8A6BB2460A0}"/>
              </a:ext>
            </a:extLst>
          </p:cNvPr>
          <p:cNvSpPr txBox="1"/>
          <p:nvPr/>
        </p:nvSpPr>
        <p:spPr>
          <a:xfrm>
            <a:off x="1581150" y="3910522"/>
            <a:ext cx="3892550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3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1" name="TextBox 86">
            <a:extLst>
              <a:ext uri="{FF2B5EF4-FFF2-40B4-BE49-F238E27FC236}">
                <a16:creationId xmlns:a16="http://schemas.microsoft.com/office/drawing/2014/main" id="{E2601324-DAE6-D402-57CF-74E1142C0A3E}"/>
              </a:ext>
            </a:extLst>
          </p:cNvPr>
          <p:cNvSpPr txBox="1"/>
          <p:nvPr/>
        </p:nvSpPr>
        <p:spPr>
          <a:xfrm>
            <a:off x="1581150" y="5093209"/>
            <a:ext cx="3892550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4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2" name="Freeform 117">
            <a:extLst>
              <a:ext uri="{FF2B5EF4-FFF2-40B4-BE49-F238E27FC236}">
                <a16:creationId xmlns:a16="http://schemas.microsoft.com/office/drawing/2014/main" id="{A71F66AD-E615-C0AB-FB06-61D449F07931}"/>
              </a:ext>
            </a:extLst>
          </p:cNvPr>
          <p:cNvSpPr>
            <a:spLocks/>
          </p:cNvSpPr>
          <p:nvPr/>
        </p:nvSpPr>
        <p:spPr bwMode="auto">
          <a:xfrm>
            <a:off x="797100" y="2886759"/>
            <a:ext cx="399700" cy="399700"/>
          </a:xfrm>
          <a:custGeom>
            <a:avLst/>
            <a:gdLst>
              <a:gd name="T0" fmla="*/ 424421 w 57"/>
              <a:gd name="T1" fmla="*/ 386526 h 57"/>
              <a:gd name="T2" fmla="*/ 386526 w 57"/>
              <a:gd name="T3" fmla="*/ 416842 h 57"/>
              <a:gd name="T4" fmla="*/ 325895 w 57"/>
              <a:gd name="T5" fmla="*/ 432000 h 57"/>
              <a:gd name="T6" fmla="*/ 250105 w 57"/>
              <a:gd name="T7" fmla="*/ 409263 h 57"/>
              <a:gd name="T8" fmla="*/ 197053 w 57"/>
              <a:gd name="T9" fmla="*/ 386526 h 57"/>
              <a:gd name="T10" fmla="*/ 53053 w 57"/>
              <a:gd name="T11" fmla="*/ 242526 h 57"/>
              <a:gd name="T12" fmla="*/ 22737 w 57"/>
              <a:gd name="T13" fmla="*/ 189474 h 57"/>
              <a:gd name="T14" fmla="*/ 0 w 57"/>
              <a:gd name="T15" fmla="*/ 106105 h 57"/>
              <a:gd name="T16" fmla="*/ 22737 w 57"/>
              <a:gd name="T17" fmla="*/ 53053 h 57"/>
              <a:gd name="T18" fmla="*/ 53053 w 57"/>
              <a:gd name="T19" fmla="*/ 15158 h 57"/>
              <a:gd name="T20" fmla="*/ 90947 w 57"/>
              <a:gd name="T21" fmla="*/ 0 h 57"/>
              <a:gd name="T22" fmla="*/ 98526 w 57"/>
              <a:gd name="T23" fmla="*/ 7579 h 57"/>
              <a:gd name="T24" fmla="*/ 113684 w 57"/>
              <a:gd name="T25" fmla="*/ 30316 h 57"/>
              <a:gd name="T26" fmla="*/ 144000 w 57"/>
              <a:gd name="T27" fmla="*/ 75789 h 57"/>
              <a:gd name="T28" fmla="*/ 159158 w 57"/>
              <a:gd name="T29" fmla="*/ 106105 h 57"/>
              <a:gd name="T30" fmla="*/ 106105 w 57"/>
              <a:gd name="T31" fmla="*/ 166737 h 57"/>
              <a:gd name="T32" fmla="*/ 113684 w 57"/>
              <a:gd name="T33" fmla="*/ 197053 h 57"/>
              <a:gd name="T34" fmla="*/ 242526 w 57"/>
              <a:gd name="T35" fmla="*/ 318316 h 57"/>
              <a:gd name="T36" fmla="*/ 265263 w 57"/>
              <a:gd name="T37" fmla="*/ 333474 h 57"/>
              <a:gd name="T38" fmla="*/ 325895 w 57"/>
              <a:gd name="T39" fmla="*/ 272842 h 57"/>
              <a:gd name="T40" fmla="*/ 356211 w 57"/>
              <a:gd name="T41" fmla="*/ 288000 h 57"/>
              <a:gd name="T42" fmla="*/ 409263 w 57"/>
              <a:gd name="T43" fmla="*/ 318316 h 57"/>
              <a:gd name="T44" fmla="*/ 432000 w 57"/>
              <a:gd name="T45" fmla="*/ 333474 h 57"/>
              <a:gd name="T46" fmla="*/ 432000 w 57"/>
              <a:gd name="T47" fmla="*/ 341053 h 57"/>
              <a:gd name="T48" fmla="*/ 424421 w 57"/>
              <a:gd name="T49" fmla="*/ 386526 h 5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7" h="57">
                <a:moveTo>
                  <a:pt x="56" y="51"/>
                </a:moveTo>
                <a:cubicBezTo>
                  <a:pt x="55" y="53"/>
                  <a:pt x="53" y="54"/>
                  <a:pt x="51" y="55"/>
                </a:cubicBezTo>
                <a:cubicBezTo>
                  <a:pt x="49" y="56"/>
                  <a:pt x="46" y="57"/>
                  <a:pt x="43" y="57"/>
                </a:cubicBezTo>
                <a:cubicBezTo>
                  <a:pt x="40" y="57"/>
                  <a:pt x="36" y="55"/>
                  <a:pt x="33" y="54"/>
                </a:cubicBezTo>
                <a:cubicBezTo>
                  <a:pt x="30" y="53"/>
                  <a:pt x="28" y="52"/>
                  <a:pt x="26" y="51"/>
                </a:cubicBezTo>
                <a:cubicBezTo>
                  <a:pt x="19" y="47"/>
                  <a:pt x="11" y="38"/>
                  <a:pt x="7" y="32"/>
                </a:cubicBezTo>
                <a:cubicBezTo>
                  <a:pt x="5" y="29"/>
                  <a:pt x="4" y="27"/>
                  <a:pt x="3" y="25"/>
                </a:cubicBezTo>
                <a:cubicBezTo>
                  <a:pt x="2" y="21"/>
                  <a:pt x="0" y="18"/>
                  <a:pt x="0" y="14"/>
                </a:cubicBezTo>
                <a:cubicBezTo>
                  <a:pt x="0" y="11"/>
                  <a:pt x="1" y="9"/>
                  <a:pt x="3" y="7"/>
                </a:cubicBezTo>
                <a:cubicBezTo>
                  <a:pt x="4" y="5"/>
                  <a:pt x="5" y="3"/>
                  <a:pt x="7" y="2"/>
                </a:cubicBezTo>
                <a:cubicBezTo>
                  <a:pt x="8" y="1"/>
                  <a:pt x="11" y="0"/>
                  <a:pt x="12" y="0"/>
                </a:cubicBezTo>
                <a:cubicBezTo>
                  <a:pt x="13" y="0"/>
                  <a:pt x="13" y="0"/>
                  <a:pt x="13" y="1"/>
                </a:cubicBezTo>
                <a:cubicBezTo>
                  <a:pt x="14" y="1"/>
                  <a:pt x="15" y="3"/>
                  <a:pt x="15" y="4"/>
                </a:cubicBezTo>
                <a:cubicBezTo>
                  <a:pt x="17" y="6"/>
                  <a:pt x="18" y="8"/>
                  <a:pt x="19" y="10"/>
                </a:cubicBezTo>
                <a:cubicBezTo>
                  <a:pt x="20" y="12"/>
                  <a:pt x="21" y="13"/>
                  <a:pt x="21" y="14"/>
                </a:cubicBezTo>
                <a:cubicBezTo>
                  <a:pt x="21" y="17"/>
                  <a:pt x="14" y="20"/>
                  <a:pt x="14" y="22"/>
                </a:cubicBezTo>
                <a:cubicBezTo>
                  <a:pt x="14" y="23"/>
                  <a:pt x="15" y="25"/>
                  <a:pt x="15" y="26"/>
                </a:cubicBezTo>
                <a:cubicBezTo>
                  <a:pt x="19" y="33"/>
                  <a:pt x="24" y="38"/>
                  <a:pt x="32" y="42"/>
                </a:cubicBezTo>
                <a:cubicBezTo>
                  <a:pt x="33" y="43"/>
                  <a:pt x="34" y="44"/>
                  <a:pt x="35" y="44"/>
                </a:cubicBezTo>
                <a:cubicBezTo>
                  <a:pt x="37" y="44"/>
                  <a:pt x="41" y="36"/>
                  <a:pt x="43" y="36"/>
                </a:cubicBezTo>
                <a:cubicBezTo>
                  <a:pt x="45" y="36"/>
                  <a:pt x="46" y="38"/>
                  <a:pt x="47" y="38"/>
                </a:cubicBezTo>
                <a:cubicBezTo>
                  <a:pt x="49" y="40"/>
                  <a:pt x="52" y="41"/>
                  <a:pt x="54" y="42"/>
                </a:cubicBezTo>
                <a:cubicBezTo>
                  <a:pt x="55" y="43"/>
                  <a:pt x="57" y="43"/>
                  <a:pt x="57" y="44"/>
                </a:cubicBezTo>
                <a:cubicBezTo>
                  <a:pt x="57" y="45"/>
                  <a:pt x="57" y="45"/>
                  <a:pt x="57" y="45"/>
                </a:cubicBezTo>
                <a:cubicBezTo>
                  <a:pt x="57" y="47"/>
                  <a:pt x="56" y="49"/>
                  <a:pt x="56" y="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3" name="Freeform 90">
            <a:extLst>
              <a:ext uri="{FF2B5EF4-FFF2-40B4-BE49-F238E27FC236}">
                <a16:creationId xmlns:a16="http://schemas.microsoft.com/office/drawing/2014/main" id="{268C3917-0309-5459-76FC-5DEEB86AF8A8}"/>
              </a:ext>
            </a:extLst>
          </p:cNvPr>
          <p:cNvSpPr>
            <a:spLocks noEditPoints="1"/>
          </p:cNvSpPr>
          <p:nvPr/>
        </p:nvSpPr>
        <p:spPr bwMode="auto">
          <a:xfrm>
            <a:off x="797986" y="4089784"/>
            <a:ext cx="421742" cy="352676"/>
          </a:xfrm>
          <a:custGeom>
            <a:avLst/>
            <a:gdLst>
              <a:gd name="T0" fmla="*/ 435274 w 67"/>
              <a:gd name="T1" fmla="*/ 298590 h 56"/>
              <a:gd name="T2" fmla="*/ 231239 w 67"/>
              <a:gd name="T3" fmla="*/ 380024 h 56"/>
              <a:gd name="T4" fmla="*/ 13602 w 67"/>
              <a:gd name="T5" fmla="*/ 298590 h 56"/>
              <a:gd name="T6" fmla="*/ 0 w 67"/>
              <a:gd name="T7" fmla="*/ 210370 h 56"/>
              <a:gd name="T8" fmla="*/ 34006 w 67"/>
              <a:gd name="T9" fmla="*/ 101792 h 56"/>
              <a:gd name="T10" fmla="*/ 27205 w 67"/>
              <a:gd name="T11" fmla="*/ 54289 h 56"/>
              <a:gd name="T12" fmla="*/ 40807 w 67"/>
              <a:gd name="T13" fmla="*/ 0 h 56"/>
              <a:gd name="T14" fmla="*/ 142824 w 67"/>
              <a:gd name="T15" fmla="*/ 40717 h 56"/>
              <a:gd name="T16" fmla="*/ 231239 w 67"/>
              <a:gd name="T17" fmla="*/ 33931 h 56"/>
              <a:gd name="T18" fmla="*/ 306052 w 67"/>
              <a:gd name="T19" fmla="*/ 40717 h 56"/>
              <a:gd name="T20" fmla="*/ 408069 w 67"/>
              <a:gd name="T21" fmla="*/ 0 h 56"/>
              <a:gd name="T22" fmla="*/ 421671 w 67"/>
              <a:gd name="T23" fmla="*/ 54289 h 56"/>
              <a:gd name="T24" fmla="*/ 414870 w 67"/>
              <a:gd name="T25" fmla="*/ 101792 h 56"/>
              <a:gd name="T26" fmla="*/ 455677 w 67"/>
              <a:gd name="T27" fmla="*/ 210370 h 56"/>
              <a:gd name="T28" fmla="*/ 435274 w 67"/>
              <a:gd name="T29" fmla="*/ 298590 h 56"/>
              <a:gd name="T30" fmla="*/ 319654 w 67"/>
              <a:gd name="T31" fmla="*/ 183226 h 56"/>
              <a:gd name="T32" fmla="*/ 265245 w 67"/>
              <a:gd name="T33" fmla="*/ 183226 h 56"/>
              <a:gd name="T34" fmla="*/ 224438 w 67"/>
              <a:gd name="T35" fmla="*/ 190012 h 56"/>
              <a:gd name="T36" fmla="*/ 183631 w 67"/>
              <a:gd name="T37" fmla="*/ 183226 h 56"/>
              <a:gd name="T38" fmla="*/ 129222 w 67"/>
              <a:gd name="T39" fmla="*/ 183226 h 56"/>
              <a:gd name="T40" fmla="*/ 61210 w 67"/>
              <a:gd name="T41" fmla="*/ 257873 h 56"/>
              <a:gd name="T42" fmla="*/ 204034 w 67"/>
              <a:gd name="T43" fmla="*/ 352879 h 56"/>
              <a:gd name="T44" fmla="*/ 251643 w 67"/>
              <a:gd name="T45" fmla="*/ 352879 h 56"/>
              <a:gd name="T46" fmla="*/ 394467 w 67"/>
              <a:gd name="T47" fmla="*/ 257873 h 56"/>
              <a:gd name="T48" fmla="*/ 319654 w 67"/>
              <a:gd name="T49" fmla="*/ 183226 h 56"/>
              <a:gd name="T50" fmla="*/ 136023 w 67"/>
              <a:gd name="T51" fmla="*/ 312163 h 56"/>
              <a:gd name="T52" fmla="*/ 102017 w 67"/>
              <a:gd name="T53" fmla="*/ 257873 h 56"/>
              <a:gd name="T54" fmla="*/ 136023 w 67"/>
              <a:gd name="T55" fmla="*/ 203584 h 56"/>
              <a:gd name="T56" fmla="*/ 170029 w 67"/>
              <a:gd name="T57" fmla="*/ 257873 h 56"/>
              <a:gd name="T58" fmla="*/ 136023 w 67"/>
              <a:gd name="T59" fmla="*/ 312163 h 56"/>
              <a:gd name="T60" fmla="*/ 312853 w 67"/>
              <a:gd name="T61" fmla="*/ 312163 h 56"/>
              <a:gd name="T62" fmla="*/ 278847 w 67"/>
              <a:gd name="T63" fmla="*/ 257873 h 56"/>
              <a:gd name="T64" fmla="*/ 312853 w 67"/>
              <a:gd name="T65" fmla="*/ 203584 h 56"/>
              <a:gd name="T66" fmla="*/ 346859 w 67"/>
              <a:gd name="T67" fmla="*/ 257873 h 56"/>
              <a:gd name="T68" fmla="*/ 312853 w 67"/>
              <a:gd name="T69" fmla="*/ 312163 h 5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67" h="56">
                <a:moveTo>
                  <a:pt x="64" y="44"/>
                </a:moveTo>
                <a:cubicBezTo>
                  <a:pt x="59" y="55"/>
                  <a:pt x="44" y="56"/>
                  <a:pt x="34" y="56"/>
                </a:cubicBezTo>
                <a:cubicBezTo>
                  <a:pt x="23" y="56"/>
                  <a:pt x="8" y="55"/>
                  <a:pt x="2" y="44"/>
                </a:cubicBezTo>
                <a:cubicBezTo>
                  <a:pt x="0" y="40"/>
                  <a:pt x="0" y="36"/>
                  <a:pt x="0" y="31"/>
                </a:cubicBezTo>
                <a:cubicBezTo>
                  <a:pt x="0" y="25"/>
                  <a:pt x="1" y="20"/>
                  <a:pt x="5" y="15"/>
                </a:cubicBezTo>
                <a:cubicBezTo>
                  <a:pt x="4" y="13"/>
                  <a:pt x="4" y="11"/>
                  <a:pt x="4" y="8"/>
                </a:cubicBezTo>
                <a:cubicBezTo>
                  <a:pt x="4" y="5"/>
                  <a:pt x="5" y="2"/>
                  <a:pt x="6" y="0"/>
                </a:cubicBezTo>
                <a:cubicBezTo>
                  <a:pt x="13" y="0"/>
                  <a:pt x="17" y="2"/>
                  <a:pt x="21" y="6"/>
                </a:cubicBezTo>
                <a:cubicBezTo>
                  <a:pt x="25" y="5"/>
                  <a:pt x="30" y="5"/>
                  <a:pt x="34" y="5"/>
                </a:cubicBezTo>
                <a:cubicBezTo>
                  <a:pt x="38" y="5"/>
                  <a:pt x="41" y="5"/>
                  <a:pt x="45" y="6"/>
                </a:cubicBezTo>
                <a:cubicBezTo>
                  <a:pt x="50" y="2"/>
                  <a:pt x="54" y="0"/>
                  <a:pt x="60" y="0"/>
                </a:cubicBezTo>
                <a:cubicBezTo>
                  <a:pt x="62" y="2"/>
                  <a:pt x="62" y="5"/>
                  <a:pt x="62" y="8"/>
                </a:cubicBezTo>
                <a:cubicBezTo>
                  <a:pt x="62" y="11"/>
                  <a:pt x="62" y="13"/>
                  <a:pt x="61" y="15"/>
                </a:cubicBezTo>
                <a:cubicBezTo>
                  <a:pt x="65" y="20"/>
                  <a:pt x="67" y="25"/>
                  <a:pt x="67" y="31"/>
                </a:cubicBezTo>
                <a:cubicBezTo>
                  <a:pt x="67" y="36"/>
                  <a:pt x="66" y="40"/>
                  <a:pt x="64" y="44"/>
                </a:cubicBezTo>
                <a:close/>
                <a:moveTo>
                  <a:pt x="47" y="27"/>
                </a:moveTo>
                <a:cubicBezTo>
                  <a:pt x="45" y="27"/>
                  <a:pt x="42" y="27"/>
                  <a:pt x="39" y="27"/>
                </a:cubicBezTo>
                <a:cubicBezTo>
                  <a:pt x="37" y="28"/>
                  <a:pt x="35" y="28"/>
                  <a:pt x="33" y="28"/>
                </a:cubicBezTo>
                <a:cubicBezTo>
                  <a:pt x="31" y="28"/>
                  <a:pt x="29" y="28"/>
                  <a:pt x="27" y="27"/>
                </a:cubicBezTo>
                <a:cubicBezTo>
                  <a:pt x="24" y="27"/>
                  <a:pt x="22" y="27"/>
                  <a:pt x="19" y="27"/>
                </a:cubicBezTo>
                <a:cubicBezTo>
                  <a:pt x="12" y="27"/>
                  <a:pt x="9" y="32"/>
                  <a:pt x="9" y="38"/>
                </a:cubicBezTo>
                <a:cubicBezTo>
                  <a:pt x="9" y="50"/>
                  <a:pt x="20" y="52"/>
                  <a:pt x="30" y="52"/>
                </a:cubicBezTo>
                <a:cubicBezTo>
                  <a:pt x="37" y="52"/>
                  <a:pt x="37" y="52"/>
                  <a:pt x="37" y="52"/>
                </a:cubicBezTo>
                <a:cubicBezTo>
                  <a:pt x="46" y="52"/>
                  <a:pt x="58" y="50"/>
                  <a:pt x="58" y="38"/>
                </a:cubicBezTo>
                <a:cubicBezTo>
                  <a:pt x="58" y="32"/>
                  <a:pt x="54" y="27"/>
                  <a:pt x="47" y="27"/>
                </a:cubicBezTo>
                <a:close/>
                <a:moveTo>
                  <a:pt x="20" y="46"/>
                </a:moveTo>
                <a:cubicBezTo>
                  <a:pt x="17" y="46"/>
                  <a:pt x="15" y="41"/>
                  <a:pt x="15" y="38"/>
                </a:cubicBezTo>
                <a:cubicBezTo>
                  <a:pt x="15" y="35"/>
                  <a:pt x="17" y="30"/>
                  <a:pt x="20" y="30"/>
                </a:cubicBezTo>
                <a:cubicBezTo>
                  <a:pt x="24" y="30"/>
                  <a:pt x="25" y="35"/>
                  <a:pt x="25" y="38"/>
                </a:cubicBezTo>
                <a:cubicBezTo>
                  <a:pt x="25" y="41"/>
                  <a:pt x="24" y="46"/>
                  <a:pt x="20" y="46"/>
                </a:cubicBezTo>
                <a:close/>
                <a:moveTo>
                  <a:pt x="46" y="46"/>
                </a:moveTo>
                <a:cubicBezTo>
                  <a:pt x="42" y="46"/>
                  <a:pt x="41" y="41"/>
                  <a:pt x="41" y="38"/>
                </a:cubicBezTo>
                <a:cubicBezTo>
                  <a:pt x="41" y="35"/>
                  <a:pt x="42" y="30"/>
                  <a:pt x="46" y="30"/>
                </a:cubicBezTo>
                <a:cubicBezTo>
                  <a:pt x="50" y="30"/>
                  <a:pt x="51" y="35"/>
                  <a:pt x="51" y="38"/>
                </a:cubicBezTo>
                <a:cubicBezTo>
                  <a:pt x="51" y="41"/>
                  <a:pt x="50" y="46"/>
                  <a:pt x="46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4" name="Freeform 122">
            <a:extLst>
              <a:ext uri="{FF2B5EF4-FFF2-40B4-BE49-F238E27FC236}">
                <a16:creationId xmlns:a16="http://schemas.microsoft.com/office/drawing/2014/main" id="{9515B83F-3DC4-D8E4-1E3A-02E41BAFC2E3}"/>
              </a:ext>
            </a:extLst>
          </p:cNvPr>
          <p:cNvSpPr>
            <a:spLocks noEditPoints="1"/>
          </p:cNvSpPr>
          <p:nvPr/>
        </p:nvSpPr>
        <p:spPr bwMode="auto">
          <a:xfrm>
            <a:off x="838364" y="5216454"/>
            <a:ext cx="320348" cy="459948"/>
          </a:xfrm>
          <a:custGeom>
            <a:avLst/>
            <a:gdLst>
              <a:gd name="T0" fmla="*/ 346075 w 41"/>
              <a:gd name="T1" fmla="*/ 244233 h 59"/>
              <a:gd name="T2" fmla="*/ 194140 w 41"/>
              <a:gd name="T3" fmla="*/ 421091 h 59"/>
              <a:gd name="T4" fmla="*/ 194140 w 41"/>
              <a:gd name="T5" fmla="*/ 463200 h 59"/>
              <a:gd name="T6" fmla="*/ 270107 w 41"/>
              <a:gd name="T7" fmla="*/ 463200 h 59"/>
              <a:gd name="T8" fmla="*/ 286989 w 41"/>
              <a:gd name="T9" fmla="*/ 480043 h 59"/>
              <a:gd name="T10" fmla="*/ 270107 w 41"/>
              <a:gd name="T11" fmla="*/ 496887 h 59"/>
              <a:gd name="T12" fmla="*/ 75968 w 41"/>
              <a:gd name="T13" fmla="*/ 496887 h 59"/>
              <a:gd name="T14" fmla="*/ 59086 w 41"/>
              <a:gd name="T15" fmla="*/ 480043 h 59"/>
              <a:gd name="T16" fmla="*/ 75968 w 41"/>
              <a:gd name="T17" fmla="*/ 463200 h 59"/>
              <a:gd name="T18" fmla="*/ 151935 w 41"/>
              <a:gd name="T19" fmla="*/ 463200 h 59"/>
              <a:gd name="T20" fmla="*/ 151935 w 41"/>
              <a:gd name="T21" fmla="*/ 421091 h 59"/>
              <a:gd name="T22" fmla="*/ 0 w 41"/>
              <a:gd name="T23" fmla="*/ 244233 h 59"/>
              <a:gd name="T24" fmla="*/ 0 w 41"/>
              <a:gd name="T25" fmla="*/ 210545 h 59"/>
              <a:gd name="T26" fmla="*/ 16882 w 41"/>
              <a:gd name="T27" fmla="*/ 193702 h 59"/>
              <a:gd name="T28" fmla="*/ 33763 w 41"/>
              <a:gd name="T29" fmla="*/ 210545 h 59"/>
              <a:gd name="T30" fmla="*/ 33763 w 41"/>
              <a:gd name="T31" fmla="*/ 244233 h 59"/>
              <a:gd name="T32" fmla="*/ 168817 w 41"/>
              <a:gd name="T33" fmla="*/ 378982 h 59"/>
              <a:gd name="T34" fmla="*/ 303871 w 41"/>
              <a:gd name="T35" fmla="*/ 244233 h 59"/>
              <a:gd name="T36" fmla="*/ 303871 w 41"/>
              <a:gd name="T37" fmla="*/ 210545 h 59"/>
              <a:gd name="T38" fmla="*/ 329193 w 41"/>
              <a:gd name="T39" fmla="*/ 193702 h 59"/>
              <a:gd name="T40" fmla="*/ 346075 w 41"/>
              <a:gd name="T41" fmla="*/ 210545 h 59"/>
              <a:gd name="T42" fmla="*/ 346075 w 41"/>
              <a:gd name="T43" fmla="*/ 244233 h 59"/>
              <a:gd name="T44" fmla="*/ 270107 w 41"/>
              <a:gd name="T45" fmla="*/ 244233 h 59"/>
              <a:gd name="T46" fmla="*/ 168817 w 41"/>
              <a:gd name="T47" fmla="*/ 345294 h 59"/>
              <a:gd name="T48" fmla="*/ 75968 w 41"/>
              <a:gd name="T49" fmla="*/ 244233 h 59"/>
              <a:gd name="T50" fmla="*/ 75968 w 41"/>
              <a:gd name="T51" fmla="*/ 92640 h 59"/>
              <a:gd name="T52" fmla="*/ 168817 w 41"/>
              <a:gd name="T53" fmla="*/ 0 h 59"/>
              <a:gd name="T54" fmla="*/ 270107 w 41"/>
              <a:gd name="T55" fmla="*/ 92640 h 59"/>
              <a:gd name="T56" fmla="*/ 270107 w 41"/>
              <a:gd name="T57" fmla="*/ 244233 h 5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41" h="59">
                <a:moveTo>
                  <a:pt x="41" y="29"/>
                </a:moveTo>
                <a:cubicBezTo>
                  <a:pt x="41" y="40"/>
                  <a:pt x="33" y="49"/>
                  <a:pt x="23" y="50"/>
                </a:cubicBezTo>
                <a:cubicBezTo>
                  <a:pt x="23" y="55"/>
                  <a:pt x="23" y="55"/>
                  <a:pt x="23" y="55"/>
                </a:cubicBezTo>
                <a:cubicBezTo>
                  <a:pt x="32" y="55"/>
                  <a:pt x="32" y="55"/>
                  <a:pt x="32" y="55"/>
                </a:cubicBezTo>
                <a:cubicBezTo>
                  <a:pt x="33" y="55"/>
                  <a:pt x="34" y="56"/>
                  <a:pt x="34" y="57"/>
                </a:cubicBezTo>
                <a:cubicBezTo>
                  <a:pt x="34" y="58"/>
                  <a:pt x="33" y="59"/>
                  <a:pt x="32" y="59"/>
                </a:cubicBezTo>
                <a:cubicBezTo>
                  <a:pt x="9" y="59"/>
                  <a:pt x="9" y="59"/>
                  <a:pt x="9" y="59"/>
                </a:cubicBezTo>
                <a:cubicBezTo>
                  <a:pt x="8" y="59"/>
                  <a:pt x="7" y="58"/>
                  <a:pt x="7" y="57"/>
                </a:cubicBezTo>
                <a:cubicBezTo>
                  <a:pt x="7" y="56"/>
                  <a:pt x="8" y="55"/>
                  <a:pt x="9" y="55"/>
                </a:cubicBezTo>
                <a:cubicBezTo>
                  <a:pt x="18" y="55"/>
                  <a:pt x="18" y="55"/>
                  <a:pt x="18" y="55"/>
                </a:cubicBezTo>
                <a:cubicBezTo>
                  <a:pt x="18" y="50"/>
                  <a:pt x="18" y="50"/>
                  <a:pt x="18" y="50"/>
                </a:cubicBezTo>
                <a:cubicBezTo>
                  <a:pt x="8" y="49"/>
                  <a:pt x="0" y="40"/>
                  <a:pt x="0" y="29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4"/>
                  <a:pt x="1" y="23"/>
                  <a:pt x="2" y="23"/>
                </a:cubicBezTo>
                <a:cubicBezTo>
                  <a:pt x="3" y="23"/>
                  <a:pt x="4" y="24"/>
                  <a:pt x="4" y="25"/>
                </a:cubicBezTo>
                <a:cubicBezTo>
                  <a:pt x="4" y="29"/>
                  <a:pt x="4" y="29"/>
                  <a:pt x="4" y="29"/>
                </a:cubicBezTo>
                <a:cubicBezTo>
                  <a:pt x="4" y="38"/>
                  <a:pt x="12" y="45"/>
                  <a:pt x="20" y="45"/>
                </a:cubicBezTo>
                <a:cubicBezTo>
                  <a:pt x="29" y="45"/>
                  <a:pt x="36" y="38"/>
                  <a:pt x="36" y="29"/>
                </a:cubicBezTo>
                <a:cubicBezTo>
                  <a:pt x="36" y="25"/>
                  <a:pt x="36" y="25"/>
                  <a:pt x="36" y="25"/>
                </a:cubicBezTo>
                <a:cubicBezTo>
                  <a:pt x="36" y="24"/>
                  <a:pt x="37" y="23"/>
                  <a:pt x="39" y="23"/>
                </a:cubicBezTo>
                <a:cubicBezTo>
                  <a:pt x="40" y="23"/>
                  <a:pt x="41" y="24"/>
                  <a:pt x="41" y="25"/>
                </a:cubicBezTo>
                <a:lnTo>
                  <a:pt x="41" y="29"/>
                </a:lnTo>
                <a:close/>
                <a:moveTo>
                  <a:pt x="32" y="29"/>
                </a:moveTo>
                <a:cubicBezTo>
                  <a:pt x="32" y="36"/>
                  <a:pt x="27" y="41"/>
                  <a:pt x="20" y="41"/>
                </a:cubicBezTo>
                <a:cubicBezTo>
                  <a:pt x="14" y="41"/>
                  <a:pt x="9" y="36"/>
                  <a:pt x="9" y="29"/>
                </a:cubicBezTo>
                <a:cubicBezTo>
                  <a:pt x="9" y="11"/>
                  <a:pt x="9" y="11"/>
                  <a:pt x="9" y="11"/>
                </a:cubicBezTo>
                <a:cubicBezTo>
                  <a:pt x="9" y="5"/>
                  <a:pt x="14" y="0"/>
                  <a:pt x="20" y="0"/>
                </a:cubicBezTo>
                <a:cubicBezTo>
                  <a:pt x="27" y="0"/>
                  <a:pt x="32" y="5"/>
                  <a:pt x="32" y="11"/>
                </a:cubicBezTo>
                <a:lnTo>
                  <a:pt x="32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8739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161294-3228-7328-B6F0-3CB0E02ED8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3DF6BB6-95E6-DFB1-1C11-A05CF77FED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DF6BB6-95E6-DFB1-1C11-A05CF77FE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BDE0C8-C3E3-5EB8-2B07-8E342E8D6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54AE426-559F-6155-036D-79EDCC7D9A0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760BF3-6018-B9EC-D80D-64ADF53735B4}"/>
              </a:ext>
            </a:extLst>
          </p:cNvPr>
          <p:cNvSpPr txBox="1">
            <a:spLocks/>
          </p:cNvSpPr>
          <p:nvPr/>
        </p:nvSpPr>
        <p:spPr>
          <a:xfrm>
            <a:off x="882319" y="1332707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7B6503-57F3-CDC1-6D75-1B87C081CD1A}"/>
              </a:ext>
            </a:extLst>
          </p:cNvPr>
          <p:cNvSpPr txBox="1">
            <a:spLocks/>
          </p:cNvSpPr>
          <p:nvPr/>
        </p:nvSpPr>
        <p:spPr>
          <a:xfrm>
            <a:off x="882319" y="1614263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C1F8B3-0C71-8D4D-AE32-5048E0800DC5}"/>
              </a:ext>
            </a:extLst>
          </p:cNvPr>
          <p:cNvSpPr txBox="1">
            <a:spLocks/>
          </p:cNvSpPr>
          <p:nvPr/>
        </p:nvSpPr>
        <p:spPr>
          <a:xfrm>
            <a:off x="3607367" y="1332707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2B012F-ABF4-AF0F-677C-45DC4E715341}"/>
              </a:ext>
            </a:extLst>
          </p:cNvPr>
          <p:cNvSpPr txBox="1">
            <a:spLocks/>
          </p:cNvSpPr>
          <p:nvPr/>
        </p:nvSpPr>
        <p:spPr>
          <a:xfrm>
            <a:off x="3607367" y="1614263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A31A329-8A37-EAF9-85F7-3C61E51D72C4}"/>
              </a:ext>
            </a:extLst>
          </p:cNvPr>
          <p:cNvSpPr txBox="1">
            <a:spLocks/>
          </p:cNvSpPr>
          <p:nvPr/>
        </p:nvSpPr>
        <p:spPr>
          <a:xfrm>
            <a:off x="6332411" y="1332707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3DFD5B-7340-66AA-A00C-1392F838A17B}"/>
              </a:ext>
            </a:extLst>
          </p:cNvPr>
          <p:cNvSpPr txBox="1">
            <a:spLocks/>
          </p:cNvSpPr>
          <p:nvPr/>
        </p:nvSpPr>
        <p:spPr>
          <a:xfrm>
            <a:off x="6332411" y="1614263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4578789-830F-3824-50C7-E3ADEAF9812E}"/>
              </a:ext>
            </a:extLst>
          </p:cNvPr>
          <p:cNvSpPr txBox="1">
            <a:spLocks/>
          </p:cNvSpPr>
          <p:nvPr/>
        </p:nvSpPr>
        <p:spPr>
          <a:xfrm>
            <a:off x="9057455" y="1332707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13D2EA4-F57A-A739-555B-06C7047A84B1}"/>
              </a:ext>
            </a:extLst>
          </p:cNvPr>
          <p:cNvSpPr txBox="1">
            <a:spLocks/>
          </p:cNvSpPr>
          <p:nvPr/>
        </p:nvSpPr>
        <p:spPr>
          <a:xfrm>
            <a:off x="9057455" y="1614263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6F892689-7782-141C-68DF-3561F95495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4263097"/>
              </p:ext>
            </p:extLst>
          </p:nvPr>
        </p:nvGraphicFramePr>
        <p:xfrm>
          <a:off x="837332" y="1942634"/>
          <a:ext cx="2447262" cy="371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80E60720-0EA8-1059-5F2D-403FF57FD0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10132"/>
              </p:ext>
            </p:extLst>
          </p:nvPr>
        </p:nvGraphicFramePr>
        <p:xfrm>
          <a:off x="3607367" y="1942634"/>
          <a:ext cx="2447262" cy="371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C9DC4BAE-085A-C9D0-21D2-42E21BFA90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2114673"/>
              </p:ext>
            </p:extLst>
          </p:nvPr>
        </p:nvGraphicFramePr>
        <p:xfrm>
          <a:off x="6332412" y="1942634"/>
          <a:ext cx="2447262" cy="371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8EA72CB0-151D-BB2C-2EB5-130A1B1CBA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6954061"/>
              </p:ext>
            </p:extLst>
          </p:nvPr>
        </p:nvGraphicFramePr>
        <p:xfrm>
          <a:off x="9057456" y="1942634"/>
          <a:ext cx="2447262" cy="371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2A385F6-18D5-BF6D-1A45-1466F29BB51C}"/>
              </a:ext>
            </a:extLst>
          </p:cNvPr>
          <p:cNvCxnSpPr/>
          <p:nvPr/>
        </p:nvCxnSpPr>
        <p:spPr>
          <a:xfrm>
            <a:off x="837332" y="1942634"/>
            <a:ext cx="21257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B0BEB81-FEAF-6EC1-C47B-CD3648C24F7B}"/>
              </a:ext>
            </a:extLst>
          </p:cNvPr>
          <p:cNvCxnSpPr/>
          <p:nvPr/>
        </p:nvCxnSpPr>
        <p:spPr>
          <a:xfrm>
            <a:off x="3607367" y="1942634"/>
            <a:ext cx="21257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FFF4A67-148A-BE52-ADBA-1BDB89C584DA}"/>
              </a:ext>
            </a:extLst>
          </p:cNvPr>
          <p:cNvCxnSpPr/>
          <p:nvPr/>
        </p:nvCxnSpPr>
        <p:spPr>
          <a:xfrm>
            <a:off x="6332411" y="1942634"/>
            <a:ext cx="21257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D8F736D-1885-DD26-52CD-0CA03ED87963}"/>
              </a:ext>
            </a:extLst>
          </p:cNvPr>
          <p:cNvCxnSpPr/>
          <p:nvPr/>
        </p:nvCxnSpPr>
        <p:spPr>
          <a:xfrm>
            <a:off x="9057455" y="1942634"/>
            <a:ext cx="21257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777455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BC900F-78E7-7B8C-31E8-636530825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1647BF7-CE11-B202-E9C7-5201ED0F8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647BF7-CE11-B202-E9C7-5201ED0F8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C57E76-BA29-F462-17BC-C86DD5FFF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694D4A8-2554-A49A-BE21-C887356D8D7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7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271A5A2-D29E-FCBD-6D34-96ECFE612D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8104655"/>
              </p:ext>
            </p:extLst>
          </p:nvPr>
        </p:nvGraphicFramePr>
        <p:xfrm>
          <a:off x="825459" y="1051984"/>
          <a:ext cx="10667999" cy="4631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21512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B5124-5646-54C6-DE35-5EAF2723F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D9CCF0D-5EB8-1EAA-E0B1-D8D4BCB61A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9CCF0D-5EB8-1EAA-E0B1-D8D4BCB61A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F82BAD-C380-9871-0AD3-6D98AE4B6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FCE1ACA-2B37-0449-EB5F-76DB93C22E8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8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Google Shape;1513;p21">
            <a:extLst>
              <a:ext uri="{FF2B5EF4-FFF2-40B4-BE49-F238E27FC236}">
                <a16:creationId xmlns:a16="http://schemas.microsoft.com/office/drawing/2014/main" id="{EACA3A77-EA50-F451-C1F9-5C688B0438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9286363"/>
              </p:ext>
            </p:extLst>
          </p:nvPr>
        </p:nvGraphicFramePr>
        <p:xfrm>
          <a:off x="1044402" y="1717677"/>
          <a:ext cx="3346243" cy="35526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Google Shape;1496;p36">
            <a:extLst>
              <a:ext uri="{FF2B5EF4-FFF2-40B4-BE49-F238E27FC236}">
                <a16:creationId xmlns:a16="http://schemas.microsoft.com/office/drawing/2014/main" id="{1535DF5B-548F-2D8D-CDEF-9F491BB203F3}"/>
              </a:ext>
            </a:extLst>
          </p:cNvPr>
          <p:cNvSpPr/>
          <p:nvPr/>
        </p:nvSpPr>
        <p:spPr>
          <a:xfrm rot="5400000">
            <a:off x="8240700" y="-758865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6" name="Shape0_20220502_104935">
            <a:extLst>
              <a:ext uri="{FF2B5EF4-FFF2-40B4-BE49-F238E27FC236}">
                <a16:creationId xmlns:a16="http://schemas.microsoft.com/office/drawing/2014/main" id="{E67CA5C5-ECE5-5304-D8DF-33FFFCE1B455}"/>
              </a:ext>
            </a:extLst>
          </p:cNvPr>
          <p:cNvSpPr txBox="1"/>
          <p:nvPr/>
        </p:nvSpPr>
        <p:spPr>
          <a:xfrm>
            <a:off x="6364666" y="1688006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rgbClr val="FFFFFF"/>
                </a:solidFill>
              </a:rPr>
              <a:t>Insert Text Here</a:t>
            </a:r>
            <a:endParaRPr sz="1537" dirty="0">
              <a:solidFill>
                <a:srgbClr val="FFFFFF"/>
              </a:solidFill>
            </a:endParaRPr>
          </a:p>
        </p:txBody>
      </p:sp>
      <p:sp>
        <p:nvSpPr>
          <p:cNvPr id="7" name="Google Shape;1498;p36">
            <a:extLst>
              <a:ext uri="{FF2B5EF4-FFF2-40B4-BE49-F238E27FC236}">
                <a16:creationId xmlns:a16="http://schemas.microsoft.com/office/drawing/2014/main" id="{CB1D3601-0C99-13CF-94A5-B9035B955F1E}"/>
              </a:ext>
            </a:extLst>
          </p:cNvPr>
          <p:cNvSpPr/>
          <p:nvPr/>
        </p:nvSpPr>
        <p:spPr>
          <a:xfrm rot="5400000">
            <a:off x="8240700" y="868607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8" name="Shape1_20220502_104935">
            <a:extLst>
              <a:ext uri="{FF2B5EF4-FFF2-40B4-BE49-F238E27FC236}">
                <a16:creationId xmlns:a16="http://schemas.microsoft.com/office/drawing/2014/main" id="{7A194269-8937-DB58-7A59-C458C707C78C}"/>
              </a:ext>
            </a:extLst>
          </p:cNvPr>
          <p:cNvSpPr txBox="1"/>
          <p:nvPr/>
        </p:nvSpPr>
        <p:spPr>
          <a:xfrm>
            <a:off x="6364666" y="3315482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rgbClr val="FFFFFF"/>
                </a:solidFill>
              </a:rPr>
              <a:t>Insert Text Here</a:t>
            </a:r>
            <a:endParaRPr sz="1537" dirty="0">
              <a:solidFill>
                <a:srgbClr val="FFFFFF"/>
              </a:solidFill>
            </a:endParaRPr>
          </a:p>
        </p:txBody>
      </p:sp>
      <p:sp>
        <p:nvSpPr>
          <p:cNvPr id="9" name="Google Shape;1500;p36">
            <a:extLst>
              <a:ext uri="{FF2B5EF4-FFF2-40B4-BE49-F238E27FC236}">
                <a16:creationId xmlns:a16="http://schemas.microsoft.com/office/drawing/2014/main" id="{28556D13-4E51-B6CA-3BE7-2593ABEA94AA}"/>
              </a:ext>
            </a:extLst>
          </p:cNvPr>
          <p:cNvSpPr/>
          <p:nvPr/>
        </p:nvSpPr>
        <p:spPr>
          <a:xfrm rot="5400000">
            <a:off x="8240700" y="2496078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10" name="Shape2_20220502_104935">
            <a:extLst>
              <a:ext uri="{FF2B5EF4-FFF2-40B4-BE49-F238E27FC236}">
                <a16:creationId xmlns:a16="http://schemas.microsoft.com/office/drawing/2014/main" id="{780A1EA7-1174-5270-20B0-869A737B0BD4}"/>
              </a:ext>
            </a:extLst>
          </p:cNvPr>
          <p:cNvSpPr txBox="1"/>
          <p:nvPr/>
        </p:nvSpPr>
        <p:spPr>
          <a:xfrm>
            <a:off x="6364666" y="4942922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rgbClr val="FFFFFF"/>
                </a:solidFill>
              </a:rPr>
              <a:t>Insert Text Here</a:t>
            </a:r>
            <a:endParaRPr sz="1537" dirty="0">
              <a:solidFill>
                <a:srgbClr val="FFFFFF"/>
              </a:solidFill>
            </a:endParaRPr>
          </a:p>
        </p:txBody>
      </p:sp>
      <p:sp>
        <p:nvSpPr>
          <p:cNvPr id="11" name="Shape0_20210628_180235">
            <a:extLst>
              <a:ext uri="{FF2B5EF4-FFF2-40B4-BE49-F238E27FC236}">
                <a16:creationId xmlns:a16="http://schemas.microsoft.com/office/drawing/2014/main" id="{52FFC48A-A8EC-6478-31CA-925553A7F061}"/>
              </a:ext>
            </a:extLst>
          </p:cNvPr>
          <p:cNvSpPr/>
          <p:nvPr/>
        </p:nvSpPr>
        <p:spPr>
          <a:xfrm>
            <a:off x="10602108" y="1504432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2" name="Shape1_20210628_180235">
            <a:extLst>
              <a:ext uri="{FF2B5EF4-FFF2-40B4-BE49-F238E27FC236}">
                <a16:creationId xmlns:a16="http://schemas.microsoft.com/office/drawing/2014/main" id="{59C68593-EEC5-4BF5-A77F-D948971790A3}"/>
              </a:ext>
            </a:extLst>
          </p:cNvPr>
          <p:cNvSpPr/>
          <p:nvPr/>
        </p:nvSpPr>
        <p:spPr>
          <a:xfrm>
            <a:off x="10602108" y="4759377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3" name="Shape2_20210628_180235">
            <a:extLst>
              <a:ext uri="{FF2B5EF4-FFF2-40B4-BE49-F238E27FC236}">
                <a16:creationId xmlns:a16="http://schemas.microsoft.com/office/drawing/2014/main" id="{BBA4A6DB-8F38-5244-3C09-9A13A8EB5850}"/>
              </a:ext>
            </a:extLst>
          </p:cNvPr>
          <p:cNvSpPr/>
          <p:nvPr/>
        </p:nvSpPr>
        <p:spPr>
          <a:xfrm>
            <a:off x="10602108" y="3131904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4" name="Freeform 884">
            <a:extLst>
              <a:ext uri="{FF2B5EF4-FFF2-40B4-BE49-F238E27FC236}">
                <a16:creationId xmlns:a16="http://schemas.microsoft.com/office/drawing/2014/main" id="{058B1767-34B2-3DEF-0906-2D518BA1832E}"/>
              </a:ext>
            </a:extLst>
          </p:cNvPr>
          <p:cNvSpPr>
            <a:spLocks noEditPoints="1"/>
          </p:cNvSpPr>
          <p:nvPr/>
        </p:nvSpPr>
        <p:spPr bwMode="auto">
          <a:xfrm>
            <a:off x="10749862" y="3322383"/>
            <a:ext cx="397736" cy="268104"/>
          </a:xfrm>
          <a:custGeom>
            <a:avLst/>
            <a:gdLst>
              <a:gd name="T0" fmla="*/ 387 w 413"/>
              <a:gd name="T1" fmla="*/ 279 h 279"/>
              <a:gd name="T2" fmla="*/ 27 w 413"/>
              <a:gd name="T3" fmla="*/ 279 h 279"/>
              <a:gd name="T4" fmla="*/ 0 w 413"/>
              <a:gd name="T5" fmla="*/ 252 h 279"/>
              <a:gd name="T6" fmla="*/ 0 w 413"/>
              <a:gd name="T7" fmla="*/ 27 h 279"/>
              <a:gd name="T8" fmla="*/ 27 w 413"/>
              <a:gd name="T9" fmla="*/ 0 h 279"/>
              <a:gd name="T10" fmla="*/ 387 w 413"/>
              <a:gd name="T11" fmla="*/ 0 h 279"/>
              <a:gd name="T12" fmla="*/ 413 w 413"/>
              <a:gd name="T13" fmla="*/ 27 h 279"/>
              <a:gd name="T14" fmla="*/ 413 w 413"/>
              <a:gd name="T15" fmla="*/ 252 h 279"/>
              <a:gd name="T16" fmla="*/ 387 w 413"/>
              <a:gd name="T17" fmla="*/ 279 h 279"/>
              <a:gd name="T18" fmla="*/ 27 w 413"/>
              <a:gd name="T19" fmla="*/ 11 h 279"/>
              <a:gd name="T20" fmla="*/ 11 w 413"/>
              <a:gd name="T21" fmla="*/ 27 h 279"/>
              <a:gd name="T22" fmla="*/ 11 w 413"/>
              <a:gd name="T23" fmla="*/ 252 h 279"/>
              <a:gd name="T24" fmla="*/ 27 w 413"/>
              <a:gd name="T25" fmla="*/ 268 h 279"/>
              <a:gd name="T26" fmla="*/ 387 w 413"/>
              <a:gd name="T27" fmla="*/ 268 h 279"/>
              <a:gd name="T28" fmla="*/ 402 w 413"/>
              <a:gd name="T29" fmla="*/ 252 h 279"/>
              <a:gd name="T30" fmla="*/ 402 w 413"/>
              <a:gd name="T31" fmla="*/ 27 h 279"/>
              <a:gd name="T32" fmla="*/ 387 w 413"/>
              <a:gd name="T33" fmla="*/ 11 h 279"/>
              <a:gd name="T34" fmla="*/ 27 w 413"/>
              <a:gd name="T35" fmla="*/ 11 h 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13" h="279">
                <a:moveTo>
                  <a:pt x="387" y="279"/>
                </a:moveTo>
                <a:cubicBezTo>
                  <a:pt x="27" y="279"/>
                  <a:pt x="27" y="279"/>
                  <a:pt x="27" y="279"/>
                </a:cubicBezTo>
                <a:cubicBezTo>
                  <a:pt x="12" y="279"/>
                  <a:pt x="0" y="267"/>
                  <a:pt x="0" y="252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387" y="0"/>
                  <a:pt x="387" y="0"/>
                  <a:pt x="387" y="0"/>
                </a:cubicBezTo>
                <a:cubicBezTo>
                  <a:pt x="401" y="0"/>
                  <a:pt x="413" y="12"/>
                  <a:pt x="413" y="27"/>
                </a:cubicBezTo>
                <a:cubicBezTo>
                  <a:pt x="413" y="252"/>
                  <a:pt x="413" y="252"/>
                  <a:pt x="413" y="252"/>
                </a:cubicBezTo>
                <a:cubicBezTo>
                  <a:pt x="413" y="267"/>
                  <a:pt x="401" y="279"/>
                  <a:pt x="387" y="279"/>
                </a:cubicBezTo>
                <a:close/>
                <a:moveTo>
                  <a:pt x="27" y="11"/>
                </a:moveTo>
                <a:cubicBezTo>
                  <a:pt x="18" y="11"/>
                  <a:pt x="11" y="18"/>
                  <a:pt x="11" y="27"/>
                </a:cubicBezTo>
                <a:cubicBezTo>
                  <a:pt x="11" y="252"/>
                  <a:pt x="11" y="252"/>
                  <a:pt x="11" y="252"/>
                </a:cubicBezTo>
                <a:cubicBezTo>
                  <a:pt x="11" y="261"/>
                  <a:pt x="18" y="268"/>
                  <a:pt x="27" y="268"/>
                </a:cubicBezTo>
                <a:cubicBezTo>
                  <a:pt x="387" y="268"/>
                  <a:pt x="387" y="268"/>
                  <a:pt x="387" y="268"/>
                </a:cubicBezTo>
                <a:cubicBezTo>
                  <a:pt x="395" y="268"/>
                  <a:pt x="402" y="261"/>
                  <a:pt x="402" y="252"/>
                </a:cubicBezTo>
                <a:cubicBezTo>
                  <a:pt x="402" y="27"/>
                  <a:pt x="402" y="27"/>
                  <a:pt x="402" y="27"/>
                </a:cubicBezTo>
                <a:cubicBezTo>
                  <a:pt x="402" y="18"/>
                  <a:pt x="395" y="11"/>
                  <a:pt x="387" y="11"/>
                </a:cubicBezTo>
                <a:lnTo>
                  <a:pt x="27" y="1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5" name="Freeform 885">
            <a:extLst>
              <a:ext uri="{FF2B5EF4-FFF2-40B4-BE49-F238E27FC236}">
                <a16:creationId xmlns:a16="http://schemas.microsoft.com/office/drawing/2014/main" id="{C2E076C1-E9AD-2798-5999-D0DE3C1F0A91}"/>
              </a:ext>
            </a:extLst>
          </p:cNvPr>
          <p:cNvSpPr>
            <a:spLocks noEditPoints="1"/>
          </p:cNvSpPr>
          <p:nvPr/>
        </p:nvSpPr>
        <p:spPr bwMode="auto">
          <a:xfrm>
            <a:off x="10919270" y="3580177"/>
            <a:ext cx="61872" cy="54506"/>
          </a:xfrm>
          <a:custGeom>
            <a:avLst/>
            <a:gdLst>
              <a:gd name="T0" fmla="*/ 58 w 64"/>
              <a:gd name="T1" fmla="*/ 57 h 57"/>
              <a:gd name="T2" fmla="*/ 5 w 64"/>
              <a:gd name="T3" fmla="*/ 57 h 57"/>
              <a:gd name="T4" fmla="*/ 0 w 64"/>
              <a:gd name="T5" fmla="*/ 51 h 57"/>
              <a:gd name="T6" fmla="*/ 0 w 64"/>
              <a:gd name="T7" fmla="*/ 5 h 57"/>
              <a:gd name="T8" fmla="*/ 5 w 64"/>
              <a:gd name="T9" fmla="*/ 0 h 57"/>
              <a:gd name="T10" fmla="*/ 58 w 64"/>
              <a:gd name="T11" fmla="*/ 0 h 57"/>
              <a:gd name="T12" fmla="*/ 64 w 64"/>
              <a:gd name="T13" fmla="*/ 5 h 57"/>
              <a:gd name="T14" fmla="*/ 64 w 64"/>
              <a:gd name="T15" fmla="*/ 51 h 57"/>
              <a:gd name="T16" fmla="*/ 58 w 64"/>
              <a:gd name="T17" fmla="*/ 57 h 57"/>
              <a:gd name="T18" fmla="*/ 11 w 64"/>
              <a:gd name="T19" fmla="*/ 46 h 57"/>
              <a:gd name="T20" fmla="*/ 53 w 64"/>
              <a:gd name="T21" fmla="*/ 46 h 57"/>
              <a:gd name="T22" fmla="*/ 53 w 64"/>
              <a:gd name="T23" fmla="*/ 11 h 57"/>
              <a:gd name="T24" fmla="*/ 11 w 64"/>
              <a:gd name="T25" fmla="*/ 11 h 57"/>
              <a:gd name="T26" fmla="*/ 11 w 64"/>
              <a:gd name="T27" fmla="*/ 46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" h="57">
                <a:moveTo>
                  <a:pt x="58" y="57"/>
                </a:moveTo>
                <a:cubicBezTo>
                  <a:pt x="5" y="57"/>
                  <a:pt x="5" y="57"/>
                  <a:pt x="5" y="57"/>
                </a:cubicBezTo>
                <a:cubicBezTo>
                  <a:pt x="2" y="57"/>
                  <a:pt x="0" y="54"/>
                  <a:pt x="0" y="51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5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61" y="0"/>
                  <a:pt x="64" y="2"/>
                  <a:pt x="64" y="5"/>
                </a:cubicBezTo>
                <a:cubicBezTo>
                  <a:pt x="64" y="51"/>
                  <a:pt x="64" y="51"/>
                  <a:pt x="64" y="51"/>
                </a:cubicBezTo>
                <a:cubicBezTo>
                  <a:pt x="64" y="54"/>
                  <a:pt x="61" y="57"/>
                  <a:pt x="58" y="57"/>
                </a:cubicBezTo>
                <a:close/>
                <a:moveTo>
                  <a:pt x="11" y="46"/>
                </a:moveTo>
                <a:cubicBezTo>
                  <a:pt x="53" y="46"/>
                  <a:pt x="53" y="46"/>
                  <a:pt x="53" y="46"/>
                </a:cubicBezTo>
                <a:cubicBezTo>
                  <a:pt x="53" y="11"/>
                  <a:pt x="53" y="11"/>
                  <a:pt x="53" y="11"/>
                </a:cubicBezTo>
                <a:cubicBezTo>
                  <a:pt x="11" y="11"/>
                  <a:pt x="11" y="11"/>
                  <a:pt x="11" y="11"/>
                </a:cubicBezTo>
                <a:lnTo>
                  <a:pt x="11" y="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6" name="Freeform 886">
            <a:extLst>
              <a:ext uri="{FF2B5EF4-FFF2-40B4-BE49-F238E27FC236}">
                <a16:creationId xmlns:a16="http://schemas.microsoft.com/office/drawing/2014/main" id="{7CC64E4C-4F8A-D146-A2E0-72F244D573B8}"/>
              </a:ext>
            </a:extLst>
          </p:cNvPr>
          <p:cNvSpPr>
            <a:spLocks/>
          </p:cNvSpPr>
          <p:nvPr/>
        </p:nvSpPr>
        <p:spPr bwMode="auto">
          <a:xfrm>
            <a:off x="10749862" y="3533042"/>
            <a:ext cx="397736" cy="10313"/>
          </a:xfrm>
          <a:custGeom>
            <a:avLst/>
            <a:gdLst>
              <a:gd name="T0" fmla="*/ 408 w 413"/>
              <a:gd name="T1" fmla="*/ 11 h 11"/>
              <a:gd name="T2" fmla="*/ 6 w 413"/>
              <a:gd name="T3" fmla="*/ 11 h 11"/>
              <a:gd name="T4" fmla="*/ 0 w 413"/>
              <a:gd name="T5" fmla="*/ 6 h 11"/>
              <a:gd name="T6" fmla="*/ 6 w 413"/>
              <a:gd name="T7" fmla="*/ 0 h 11"/>
              <a:gd name="T8" fmla="*/ 408 w 413"/>
              <a:gd name="T9" fmla="*/ 0 h 11"/>
              <a:gd name="T10" fmla="*/ 413 w 413"/>
              <a:gd name="T11" fmla="*/ 6 h 11"/>
              <a:gd name="T12" fmla="*/ 408 w 413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3" h="11">
                <a:moveTo>
                  <a:pt x="408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9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408" y="0"/>
                  <a:pt x="408" y="0"/>
                  <a:pt x="408" y="0"/>
                </a:cubicBezTo>
                <a:cubicBezTo>
                  <a:pt x="411" y="0"/>
                  <a:pt x="413" y="3"/>
                  <a:pt x="413" y="6"/>
                </a:cubicBezTo>
                <a:cubicBezTo>
                  <a:pt x="413" y="9"/>
                  <a:pt x="411" y="11"/>
                  <a:pt x="408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7" name="Freeform 887">
            <a:extLst>
              <a:ext uri="{FF2B5EF4-FFF2-40B4-BE49-F238E27FC236}">
                <a16:creationId xmlns:a16="http://schemas.microsoft.com/office/drawing/2014/main" id="{844C5113-2DB8-3AA2-AE25-900CC1FB11FA}"/>
              </a:ext>
            </a:extLst>
          </p:cNvPr>
          <p:cNvSpPr>
            <a:spLocks/>
          </p:cNvSpPr>
          <p:nvPr/>
        </p:nvSpPr>
        <p:spPr bwMode="auto">
          <a:xfrm>
            <a:off x="10879499" y="3624373"/>
            <a:ext cx="139946" cy="10313"/>
          </a:xfrm>
          <a:custGeom>
            <a:avLst/>
            <a:gdLst>
              <a:gd name="T0" fmla="*/ 140 w 145"/>
              <a:gd name="T1" fmla="*/ 11 h 11"/>
              <a:gd name="T2" fmla="*/ 6 w 145"/>
              <a:gd name="T3" fmla="*/ 11 h 11"/>
              <a:gd name="T4" fmla="*/ 0 w 145"/>
              <a:gd name="T5" fmla="*/ 5 h 11"/>
              <a:gd name="T6" fmla="*/ 6 w 145"/>
              <a:gd name="T7" fmla="*/ 0 h 11"/>
              <a:gd name="T8" fmla="*/ 140 w 145"/>
              <a:gd name="T9" fmla="*/ 0 h 11"/>
              <a:gd name="T10" fmla="*/ 145 w 145"/>
              <a:gd name="T11" fmla="*/ 5 h 11"/>
              <a:gd name="T12" fmla="*/ 140 w 145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5" h="11">
                <a:moveTo>
                  <a:pt x="140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8"/>
                  <a:pt x="0" y="5"/>
                </a:cubicBezTo>
                <a:cubicBezTo>
                  <a:pt x="0" y="2"/>
                  <a:pt x="3" y="0"/>
                  <a:pt x="6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43" y="0"/>
                  <a:pt x="145" y="2"/>
                  <a:pt x="145" y="5"/>
                </a:cubicBezTo>
                <a:cubicBezTo>
                  <a:pt x="145" y="8"/>
                  <a:pt x="143" y="11"/>
                  <a:pt x="140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8" name="Freeform 888">
            <a:extLst>
              <a:ext uri="{FF2B5EF4-FFF2-40B4-BE49-F238E27FC236}">
                <a16:creationId xmlns:a16="http://schemas.microsoft.com/office/drawing/2014/main" id="{78208758-11CB-6D2C-14AE-6E548ACABA25}"/>
              </a:ext>
            </a:extLst>
          </p:cNvPr>
          <p:cNvSpPr>
            <a:spLocks/>
          </p:cNvSpPr>
          <p:nvPr/>
        </p:nvSpPr>
        <p:spPr bwMode="auto">
          <a:xfrm>
            <a:off x="10978192" y="3394569"/>
            <a:ext cx="73656" cy="78077"/>
          </a:xfrm>
          <a:custGeom>
            <a:avLst/>
            <a:gdLst>
              <a:gd name="T0" fmla="*/ 6 w 77"/>
              <a:gd name="T1" fmla="*/ 81 h 81"/>
              <a:gd name="T2" fmla="*/ 2 w 77"/>
              <a:gd name="T3" fmla="*/ 79 h 81"/>
              <a:gd name="T4" fmla="*/ 2 w 77"/>
              <a:gd name="T5" fmla="*/ 71 h 81"/>
              <a:gd name="T6" fmla="*/ 66 w 77"/>
              <a:gd name="T7" fmla="*/ 3 h 81"/>
              <a:gd name="T8" fmla="*/ 74 w 77"/>
              <a:gd name="T9" fmla="*/ 2 h 81"/>
              <a:gd name="T10" fmla="*/ 74 w 77"/>
              <a:gd name="T11" fmla="*/ 10 h 81"/>
              <a:gd name="T12" fmla="*/ 10 w 77"/>
              <a:gd name="T13" fmla="*/ 79 h 81"/>
              <a:gd name="T14" fmla="*/ 6 w 77"/>
              <a:gd name="T15" fmla="*/ 8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7" h="81">
                <a:moveTo>
                  <a:pt x="6" y="81"/>
                </a:moveTo>
                <a:cubicBezTo>
                  <a:pt x="5" y="81"/>
                  <a:pt x="3" y="80"/>
                  <a:pt x="2" y="79"/>
                </a:cubicBezTo>
                <a:cubicBezTo>
                  <a:pt x="0" y="77"/>
                  <a:pt x="0" y="74"/>
                  <a:pt x="2" y="71"/>
                </a:cubicBezTo>
                <a:cubicBezTo>
                  <a:pt x="66" y="3"/>
                  <a:pt x="66" y="3"/>
                  <a:pt x="66" y="3"/>
                </a:cubicBezTo>
                <a:cubicBezTo>
                  <a:pt x="68" y="0"/>
                  <a:pt x="72" y="0"/>
                  <a:pt x="74" y="2"/>
                </a:cubicBezTo>
                <a:cubicBezTo>
                  <a:pt x="76" y="5"/>
                  <a:pt x="77" y="8"/>
                  <a:pt x="74" y="10"/>
                </a:cubicBezTo>
                <a:cubicBezTo>
                  <a:pt x="10" y="79"/>
                  <a:pt x="10" y="79"/>
                  <a:pt x="10" y="79"/>
                </a:cubicBezTo>
                <a:cubicBezTo>
                  <a:pt x="9" y="80"/>
                  <a:pt x="7" y="81"/>
                  <a:pt x="6" y="8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9" name="Freeform 889">
            <a:extLst>
              <a:ext uri="{FF2B5EF4-FFF2-40B4-BE49-F238E27FC236}">
                <a16:creationId xmlns:a16="http://schemas.microsoft.com/office/drawing/2014/main" id="{E95BBC89-0539-636D-64A7-C556B7A3C9D1}"/>
              </a:ext>
            </a:extLst>
          </p:cNvPr>
          <p:cNvSpPr>
            <a:spLocks/>
          </p:cNvSpPr>
          <p:nvPr/>
        </p:nvSpPr>
        <p:spPr bwMode="auto">
          <a:xfrm>
            <a:off x="10889810" y="3429924"/>
            <a:ext cx="76602" cy="45666"/>
          </a:xfrm>
          <a:custGeom>
            <a:avLst/>
            <a:gdLst>
              <a:gd name="T0" fmla="*/ 74 w 81"/>
              <a:gd name="T1" fmla="*/ 48 h 48"/>
              <a:gd name="T2" fmla="*/ 72 w 81"/>
              <a:gd name="T3" fmla="*/ 48 h 48"/>
              <a:gd name="T4" fmla="*/ 4 w 81"/>
              <a:gd name="T5" fmla="*/ 11 h 48"/>
              <a:gd name="T6" fmla="*/ 2 w 81"/>
              <a:gd name="T7" fmla="*/ 4 h 48"/>
              <a:gd name="T8" fmla="*/ 9 w 81"/>
              <a:gd name="T9" fmla="*/ 1 h 48"/>
              <a:gd name="T10" fmla="*/ 77 w 81"/>
              <a:gd name="T11" fmla="*/ 38 h 48"/>
              <a:gd name="T12" fmla="*/ 79 w 81"/>
              <a:gd name="T13" fmla="*/ 46 h 48"/>
              <a:gd name="T14" fmla="*/ 74 w 81"/>
              <a:gd name="T15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48">
                <a:moveTo>
                  <a:pt x="74" y="48"/>
                </a:moveTo>
                <a:cubicBezTo>
                  <a:pt x="74" y="48"/>
                  <a:pt x="73" y="48"/>
                  <a:pt x="72" y="48"/>
                </a:cubicBezTo>
                <a:cubicBezTo>
                  <a:pt x="4" y="11"/>
                  <a:pt x="4" y="11"/>
                  <a:pt x="4" y="11"/>
                </a:cubicBezTo>
                <a:cubicBezTo>
                  <a:pt x="1" y="10"/>
                  <a:pt x="0" y="6"/>
                  <a:pt x="2" y="4"/>
                </a:cubicBezTo>
                <a:cubicBezTo>
                  <a:pt x="3" y="1"/>
                  <a:pt x="6" y="0"/>
                  <a:pt x="9" y="1"/>
                </a:cubicBezTo>
                <a:cubicBezTo>
                  <a:pt x="77" y="38"/>
                  <a:pt x="77" y="38"/>
                  <a:pt x="77" y="38"/>
                </a:cubicBezTo>
                <a:cubicBezTo>
                  <a:pt x="80" y="40"/>
                  <a:pt x="81" y="43"/>
                  <a:pt x="79" y="46"/>
                </a:cubicBezTo>
                <a:cubicBezTo>
                  <a:pt x="78" y="47"/>
                  <a:pt x="76" y="48"/>
                  <a:pt x="74" y="4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0" name="Freeform 890">
            <a:extLst>
              <a:ext uri="{FF2B5EF4-FFF2-40B4-BE49-F238E27FC236}">
                <a16:creationId xmlns:a16="http://schemas.microsoft.com/office/drawing/2014/main" id="{A3FB255B-537F-D115-D1A6-487422505174}"/>
              </a:ext>
            </a:extLst>
          </p:cNvPr>
          <p:cNvSpPr>
            <a:spLocks/>
          </p:cNvSpPr>
          <p:nvPr/>
        </p:nvSpPr>
        <p:spPr bwMode="auto">
          <a:xfrm>
            <a:off x="10835304" y="3434339"/>
            <a:ext cx="45666" cy="53033"/>
          </a:xfrm>
          <a:custGeom>
            <a:avLst/>
            <a:gdLst>
              <a:gd name="T0" fmla="*/ 6 w 47"/>
              <a:gd name="T1" fmla="*/ 55 h 55"/>
              <a:gd name="T2" fmla="*/ 3 w 47"/>
              <a:gd name="T3" fmla="*/ 54 h 55"/>
              <a:gd name="T4" fmla="*/ 2 w 47"/>
              <a:gd name="T5" fmla="*/ 46 h 55"/>
              <a:gd name="T6" fmla="*/ 37 w 47"/>
              <a:gd name="T7" fmla="*/ 3 h 55"/>
              <a:gd name="T8" fmla="*/ 44 w 47"/>
              <a:gd name="T9" fmla="*/ 2 h 55"/>
              <a:gd name="T10" fmla="*/ 45 w 47"/>
              <a:gd name="T11" fmla="*/ 9 h 55"/>
              <a:gd name="T12" fmla="*/ 11 w 47"/>
              <a:gd name="T13" fmla="*/ 53 h 55"/>
              <a:gd name="T14" fmla="*/ 6 w 47"/>
              <a:gd name="T15" fmla="*/ 55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7" h="55">
                <a:moveTo>
                  <a:pt x="6" y="55"/>
                </a:moveTo>
                <a:cubicBezTo>
                  <a:pt x="5" y="55"/>
                  <a:pt x="4" y="55"/>
                  <a:pt x="3" y="54"/>
                </a:cubicBezTo>
                <a:cubicBezTo>
                  <a:pt x="1" y="52"/>
                  <a:pt x="0" y="48"/>
                  <a:pt x="2" y="46"/>
                </a:cubicBezTo>
                <a:cubicBezTo>
                  <a:pt x="37" y="3"/>
                  <a:pt x="37" y="3"/>
                  <a:pt x="37" y="3"/>
                </a:cubicBezTo>
                <a:cubicBezTo>
                  <a:pt x="38" y="0"/>
                  <a:pt x="42" y="0"/>
                  <a:pt x="44" y="2"/>
                </a:cubicBezTo>
                <a:cubicBezTo>
                  <a:pt x="47" y="4"/>
                  <a:pt x="47" y="7"/>
                  <a:pt x="45" y="9"/>
                </a:cubicBezTo>
                <a:cubicBezTo>
                  <a:pt x="11" y="53"/>
                  <a:pt x="11" y="53"/>
                  <a:pt x="11" y="53"/>
                </a:cubicBezTo>
                <a:cubicBezTo>
                  <a:pt x="10" y="54"/>
                  <a:pt x="8" y="55"/>
                  <a:pt x="6" y="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1" name="Freeform 891">
            <a:extLst>
              <a:ext uri="{FF2B5EF4-FFF2-40B4-BE49-F238E27FC236}">
                <a16:creationId xmlns:a16="http://schemas.microsoft.com/office/drawing/2014/main" id="{B331066C-9FBE-0090-C266-80CD976829E4}"/>
              </a:ext>
            </a:extLst>
          </p:cNvPr>
          <p:cNvSpPr>
            <a:spLocks noEditPoints="1"/>
          </p:cNvSpPr>
          <p:nvPr/>
        </p:nvSpPr>
        <p:spPr bwMode="auto">
          <a:xfrm>
            <a:off x="10813209" y="3475588"/>
            <a:ext cx="36828" cy="36828"/>
          </a:xfrm>
          <a:custGeom>
            <a:avLst/>
            <a:gdLst>
              <a:gd name="T0" fmla="*/ 20 w 39"/>
              <a:gd name="T1" fmla="*/ 39 h 39"/>
              <a:gd name="T2" fmla="*/ 19 w 39"/>
              <a:gd name="T3" fmla="*/ 39 h 39"/>
              <a:gd name="T4" fmla="*/ 5 w 39"/>
              <a:gd name="T5" fmla="*/ 33 h 39"/>
              <a:gd name="T6" fmla="*/ 0 w 39"/>
              <a:gd name="T7" fmla="*/ 19 h 39"/>
              <a:gd name="T8" fmla="*/ 7 w 39"/>
              <a:gd name="T9" fmla="*/ 6 h 39"/>
              <a:gd name="T10" fmla="*/ 20 w 39"/>
              <a:gd name="T11" fmla="*/ 1 h 39"/>
              <a:gd name="T12" fmla="*/ 34 w 39"/>
              <a:gd name="T13" fmla="*/ 7 h 39"/>
              <a:gd name="T14" fmla="*/ 39 w 39"/>
              <a:gd name="T15" fmla="*/ 21 h 39"/>
              <a:gd name="T16" fmla="*/ 39 w 39"/>
              <a:gd name="T17" fmla="*/ 21 h 39"/>
              <a:gd name="T18" fmla="*/ 20 w 39"/>
              <a:gd name="T19" fmla="*/ 39 h 39"/>
              <a:gd name="T20" fmla="*/ 20 w 39"/>
              <a:gd name="T21" fmla="*/ 12 h 39"/>
              <a:gd name="T22" fmla="*/ 14 w 39"/>
              <a:gd name="T23" fmla="*/ 14 h 39"/>
              <a:gd name="T24" fmla="*/ 11 w 39"/>
              <a:gd name="T25" fmla="*/ 19 h 39"/>
              <a:gd name="T26" fmla="*/ 14 w 39"/>
              <a:gd name="T27" fmla="*/ 25 h 39"/>
              <a:gd name="T28" fmla="*/ 19 w 39"/>
              <a:gd name="T29" fmla="*/ 28 h 39"/>
              <a:gd name="T30" fmla="*/ 28 w 39"/>
              <a:gd name="T31" fmla="*/ 20 h 39"/>
              <a:gd name="T32" fmla="*/ 28 w 39"/>
              <a:gd name="T33" fmla="*/ 20 h 39"/>
              <a:gd name="T34" fmla="*/ 26 w 39"/>
              <a:gd name="T35" fmla="*/ 14 h 39"/>
              <a:gd name="T36" fmla="*/ 20 w 39"/>
              <a:gd name="T37" fmla="*/ 12 h 39"/>
              <a:gd name="T38" fmla="*/ 20 w 39"/>
              <a:gd name="T39" fmla="*/ 12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9">
                <a:moveTo>
                  <a:pt x="20" y="39"/>
                </a:moveTo>
                <a:cubicBezTo>
                  <a:pt x="19" y="39"/>
                  <a:pt x="19" y="39"/>
                  <a:pt x="19" y="39"/>
                </a:cubicBezTo>
                <a:cubicBezTo>
                  <a:pt x="14" y="39"/>
                  <a:pt x="9" y="36"/>
                  <a:pt x="5" y="33"/>
                </a:cubicBezTo>
                <a:cubicBezTo>
                  <a:pt x="2" y="29"/>
                  <a:pt x="0" y="24"/>
                  <a:pt x="0" y="19"/>
                </a:cubicBezTo>
                <a:cubicBezTo>
                  <a:pt x="1" y="14"/>
                  <a:pt x="3" y="9"/>
                  <a:pt x="7" y="6"/>
                </a:cubicBezTo>
                <a:cubicBezTo>
                  <a:pt x="10" y="2"/>
                  <a:pt x="15" y="0"/>
                  <a:pt x="20" y="1"/>
                </a:cubicBezTo>
                <a:cubicBezTo>
                  <a:pt x="26" y="1"/>
                  <a:pt x="30" y="3"/>
                  <a:pt x="34" y="7"/>
                </a:cubicBezTo>
                <a:cubicBezTo>
                  <a:pt x="37" y="11"/>
                  <a:pt x="39" y="15"/>
                  <a:pt x="39" y="21"/>
                </a:cubicBezTo>
                <a:cubicBezTo>
                  <a:pt x="39" y="21"/>
                  <a:pt x="39" y="21"/>
                  <a:pt x="39" y="21"/>
                </a:cubicBezTo>
                <a:cubicBezTo>
                  <a:pt x="38" y="31"/>
                  <a:pt x="30" y="39"/>
                  <a:pt x="20" y="39"/>
                </a:cubicBezTo>
                <a:close/>
                <a:moveTo>
                  <a:pt x="20" y="12"/>
                </a:moveTo>
                <a:cubicBezTo>
                  <a:pt x="18" y="12"/>
                  <a:pt x="16" y="12"/>
                  <a:pt x="14" y="14"/>
                </a:cubicBezTo>
                <a:cubicBezTo>
                  <a:pt x="12" y="15"/>
                  <a:pt x="11" y="17"/>
                  <a:pt x="11" y="19"/>
                </a:cubicBezTo>
                <a:cubicBezTo>
                  <a:pt x="11" y="22"/>
                  <a:pt x="12" y="24"/>
                  <a:pt x="14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4" y="28"/>
                  <a:pt x="28" y="25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8"/>
                  <a:pt x="27" y="16"/>
                  <a:pt x="26" y="14"/>
                </a:cubicBezTo>
                <a:cubicBezTo>
                  <a:pt x="24" y="13"/>
                  <a:pt x="22" y="12"/>
                  <a:pt x="20" y="12"/>
                </a:cubicBezTo>
                <a:cubicBezTo>
                  <a:pt x="20" y="12"/>
                  <a:pt x="20" y="12"/>
                  <a:pt x="20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2" name="Freeform 892">
            <a:extLst>
              <a:ext uri="{FF2B5EF4-FFF2-40B4-BE49-F238E27FC236}">
                <a16:creationId xmlns:a16="http://schemas.microsoft.com/office/drawing/2014/main" id="{0E78B512-19FC-C737-7A90-D0EFD6016AD2}"/>
              </a:ext>
            </a:extLst>
          </p:cNvPr>
          <p:cNvSpPr>
            <a:spLocks noEditPoints="1"/>
          </p:cNvSpPr>
          <p:nvPr/>
        </p:nvSpPr>
        <p:spPr bwMode="auto">
          <a:xfrm>
            <a:off x="10864764" y="3410771"/>
            <a:ext cx="38301" cy="36828"/>
          </a:xfrm>
          <a:custGeom>
            <a:avLst/>
            <a:gdLst>
              <a:gd name="T0" fmla="*/ 19 w 39"/>
              <a:gd name="T1" fmla="*/ 39 h 39"/>
              <a:gd name="T2" fmla="*/ 18 w 39"/>
              <a:gd name="T3" fmla="*/ 39 h 39"/>
              <a:gd name="T4" fmla="*/ 5 w 39"/>
              <a:gd name="T5" fmla="*/ 32 h 39"/>
              <a:gd name="T6" fmla="*/ 0 w 39"/>
              <a:gd name="T7" fmla="*/ 19 h 39"/>
              <a:gd name="T8" fmla="*/ 20 w 39"/>
              <a:gd name="T9" fmla="*/ 0 h 39"/>
              <a:gd name="T10" fmla="*/ 38 w 39"/>
              <a:gd name="T11" fmla="*/ 20 h 39"/>
              <a:gd name="T12" fmla="*/ 38 w 39"/>
              <a:gd name="T13" fmla="*/ 20 h 39"/>
              <a:gd name="T14" fmla="*/ 19 w 39"/>
              <a:gd name="T15" fmla="*/ 39 h 39"/>
              <a:gd name="T16" fmla="*/ 19 w 39"/>
              <a:gd name="T17" fmla="*/ 11 h 39"/>
              <a:gd name="T18" fmla="*/ 11 w 39"/>
              <a:gd name="T19" fmla="*/ 19 h 39"/>
              <a:gd name="T20" fmla="*/ 13 w 39"/>
              <a:gd name="T21" fmla="*/ 25 h 39"/>
              <a:gd name="T22" fmla="*/ 19 w 39"/>
              <a:gd name="T23" fmla="*/ 28 h 39"/>
              <a:gd name="T24" fmla="*/ 27 w 39"/>
              <a:gd name="T25" fmla="*/ 20 h 39"/>
              <a:gd name="T26" fmla="*/ 20 w 39"/>
              <a:gd name="T27" fmla="*/ 11 h 39"/>
              <a:gd name="T28" fmla="*/ 19 w 39"/>
              <a:gd name="T29" fmla="*/ 11 h 39"/>
              <a:gd name="T30" fmla="*/ 33 w 39"/>
              <a:gd name="T31" fmla="*/ 20 h 39"/>
              <a:gd name="T32" fmla="*/ 33 w 39"/>
              <a:gd name="T33" fmla="*/ 2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9" h="39">
                <a:moveTo>
                  <a:pt x="19" y="39"/>
                </a:moveTo>
                <a:cubicBezTo>
                  <a:pt x="19" y="39"/>
                  <a:pt x="19" y="39"/>
                  <a:pt x="18" y="39"/>
                </a:cubicBezTo>
                <a:cubicBezTo>
                  <a:pt x="13" y="38"/>
                  <a:pt x="8" y="36"/>
                  <a:pt x="5" y="32"/>
                </a:cubicBezTo>
                <a:cubicBezTo>
                  <a:pt x="2" y="29"/>
                  <a:pt x="0" y="24"/>
                  <a:pt x="0" y="19"/>
                </a:cubicBezTo>
                <a:cubicBezTo>
                  <a:pt x="0" y="8"/>
                  <a:pt x="9" y="0"/>
                  <a:pt x="20" y="0"/>
                </a:cubicBezTo>
                <a:cubicBezTo>
                  <a:pt x="31" y="1"/>
                  <a:pt x="39" y="10"/>
                  <a:pt x="38" y="20"/>
                </a:cubicBezTo>
                <a:cubicBezTo>
                  <a:pt x="38" y="20"/>
                  <a:pt x="38" y="20"/>
                  <a:pt x="38" y="20"/>
                </a:cubicBezTo>
                <a:cubicBezTo>
                  <a:pt x="38" y="31"/>
                  <a:pt x="29" y="39"/>
                  <a:pt x="19" y="39"/>
                </a:cubicBezTo>
                <a:close/>
                <a:moveTo>
                  <a:pt x="19" y="11"/>
                </a:moveTo>
                <a:cubicBezTo>
                  <a:pt x="15" y="11"/>
                  <a:pt x="11" y="15"/>
                  <a:pt x="11" y="19"/>
                </a:cubicBezTo>
                <a:cubicBezTo>
                  <a:pt x="11" y="21"/>
                  <a:pt x="12" y="23"/>
                  <a:pt x="13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3" y="28"/>
                  <a:pt x="27" y="24"/>
                  <a:pt x="27" y="20"/>
                </a:cubicBezTo>
                <a:cubicBezTo>
                  <a:pt x="28" y="15"/>
                  <a:pt x="24" y="12"/>
                  <a:pt x="20" y="11"/>
                </a:cubicBezTo>
                <a:cubicBezTo>
                  <a:pt x="19" y="11"/>
                  <a:pt x="19" y="11"/>
                  <a:pt x="19" y="11"/>
                </a:cubicBezTo>
                <a:close/>
                <a:moveTo>
                  <a:pt x="33" y="20"/>
                </a:moveTo>
                <a:cubicBezTo>
                  <a:pt x="33" y="20"/>
                  <a:pt x="33" y="20"/>
                  <a:pt x="33" y="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3" name="Freeform 893">
            <a:extLst>
              <a:ext uri="{FF2B5EF4-FFF2-40B4-BE49-F238E27FC236}">
                <a16:creationId xmlns:a16="http://schemas.microsoft.com/office/drawing/2014/main" id="{1C30F7A4-B018-8CD2-D1DE-6284207A8EBA}"/>
              </a:ext>
            </a:extLst>
          </p:cNvPr>
          <p:cNvSpPr>
            <a:spLocks noEditPoints="1"/>
          </p:cNvSpPr>
          <p:nvPr/>
        </p:nvSpPr>
        <p:spPr bwMode="auto">
          <a:xfrm>
            <a:off x="10954627" y="3459383"/>
            <a:ext cx="36828" cy="36828"/>
          </a:xfrm>
          <a:custGeom>
            <a:avLst/>
            <a:gdLst>
              <a:gd name="T0" fmla="*/ 20 w 39"/>
              <a:gd name="T1" fmla="*/ 38 h 38"/>
              <a:gd name="T2" fmla="*/ 19 w 39"/>
              <a:gd name="T3" fmla="*/ 38 h 38"/>
              <a:gd name="T4" fmla="*/ 6 w 39"/>
              <a:gd name="T5" fmla="*/ 32 h 38"/>
              <a:gd name="T6" fmla="*/ 1 w 39"/>
              <a:gd name="T7" fmla="*/ 18 h 38"/>
              <a:gd name="T8" fmla="*/ 21 w 39"/>
              <a:gd name="T9" fmla="*/ 0 h 38"/>
              <a:gd name="T10" fmla="*/ 34 w 39"/>
              <a:gd name="T11" fmla="*/ 6 h 38"/>
              <a:gd name="T12" fmla="*/ 39 w 39"/>
              <a:gd name="T13" fmla="*/ 20 h 38"/>
              <a:gd name="T14" fmla="*/ 39 w 39"/>
              <a:gd name="T15" fmla="*/ 20 h 38"/>
              <a:gd name="T16" fmla="*/ 20 w 39"/>
              <a:gd name="T17" fmla="*/ 38 h 38"/>
              <a:gd name="T18" fmla="*/ 20 w 39"/>
              <a:gd name="T19" fmla="*/ 11 h 38"/>
              <a:gd name="T20" fmla="*/ 12 w 39"/>
              <a:gd name="T21" fmla="*/ 19 h 38"/>
              <a:gd name="T22" fmla="*/ 14 w 39"/>
              <a:gd name="T23" fmla="*/ 25 h 38"/>
              <a:gd name="T24" fmla="*/ 19 w 39"/>
              <a:gd name="T25" fmla="*/ 27 h 38"/>
              <a:gd name="T26" fmla="*/ 28 w 39"/>
              <a:gd name="T27" fmla="*/ 20 h 38"/>
              <a:gd name="T28" fmla="*/ 28 w 39"/>
              <a:gd name="T29" fmla="*/ 20 h 38"/>
              <a:gd name="T30" fmla="*/ 26 w 39"/>
              <a:gd name="T31" fmla="*/ 14 h 38"/>
              <a:gd name="T32" fmla="*/ 20 w 39"/>
              <a:gd name="T33" fmla="*/ 11 h 38"/>
              <a:gd name="T34" fmla="*/ 20 w 39"/>
              <a:gd name="T35" fmla="*/ 11 h 38"/>
              <a:gd name="T36" fmla="*/ 34 w 39"/>
              <a:gd name="T37" fmla="*/ 20 h 38"/>
              <a:gd name="T38" fmla="*/ 34 w 39"/>
              <a:gd name="T39" fmla="*/ 2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8">
                <a:moveTo>
                  <a:pt x="20" y="38"/>
                </a:moveTo>
                <a:cubicBezTo>
                  <a:pt x="20" y="38"/>
                  <a:pt x="19" y="38"/>
                  <a:pt x="19" y="38"/>
                </a:cubicBezTo>
                <a:cubicBezTo>
                  <a:pt x="14" y="38"/>
                  <a:pt x="9" y="36"/>
                  <a:pt x="6" y="32"/>
                </a:cubicBezTo>
                <a:cubicBezTo>
                  <a:pt x="2" y="28"/>
                  <a:pt x="0" y="23"/>
                  <a:pt x="1" y="18"/>
                </a:cubicBezTo>
                <a:cubicBezTo>
                  <a:pt x="1" y="8"/>
                  <a:pt x="10" y="0"/>
                  <a:pt x="21" y="0"/>
                </a:cubicBezTo>
                <a:cubicBezTo>
                  <a:pt x="26" y="0"/>
                  <a:pt x="31" y="2"/>
                  <a:pt x="34" y="6"/>
                </a:cubicBezTo>
                <a:cubicBezTo>
                  <a:pt x="37" y="10"/>
                  <a:pt x="39" y="15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30"/>
                  <a:pt x="30" y="38"/>
                  <a:pt x="20" y="38"/>
                </a:cubicBezTo>
                <a:close/>
                <a:moveTo>
                  <a:pt x="20" y="11"/>
                </a:moveTo>
                <a:cubicBezTo>
                  <a:pt x="15" y="11"/>
                  <a:pt x="12" y="14"/>
                  <a:pt x="12" y="19"/>
                </a:cubicBezTo>
                <a:cubicBezTo>
                  <a:pt x="12" y="21"/>
                  <a:pt x="12" y="23"/>
                  <a:pt x="14" y="25"/>
                </a:cubicBezTo>
                <a:cubicBezTo>
                  <a:pt x="15" y="26"/>
                  <a:pt x="17" y="27"/>
                  <a:pt x="19" y="27"/>
                </a:cubicBezTo>
                <a:cubicBezTo>
                  <a:pt x="24" y="28"/>
                  <a:pt x="28" y="24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7"/>
                  <a:pt x="27" y="15"/>
                  <a:pt x="26" y="14"/>
                </a:cubicBezTo>
                <a:cubicBezTo>
                  <a:pt x="24" y="12"/>
                  <a:pt x="22" y="11"/>
                  <a:pt x="20" y="11"/>
                </a:cubicBezTo>
                <a:cubicBezTo>
                  <a:pt x="20" y="11"/>
                  <a:pt x="20" y="11"/>
                  <a:pt x="20" y="11"/>
                </a:cubicBezTo>
                <a:close/>
                <a:moveTo>
                  <a:pt x="34" y="20"/>
                </a:moveTo>
                <a:cubicBezTo>
                  <a:pt x="34" y="20"/>
                  <a:pt x="34" y="20"/>
                  <a:pt x="34" y="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4" name="Freeform 894">
            <a:extLst>
              <a:ext uri="{FF2B5EF4-FFF2-40B4-BE49-F238E27FC236}">
                <a16:creationId xmlns:a16="http://schemas.microsoft.com/office/drawing/2014/main" id="{C6C2BE0C-675C-A69E-4E0D-907A324CB1FD}"/>
              </a:ext>
            </a:extLst>
          </p:cNvPr>
          <p:cNvSpPr>
            <a:spLocks noEditPoints="1"/>
          </p:cNvSpPr>
          <p:nvPr/>
        </p:nvSpPr>
        <p:spPr bwMode="auto">
          <a:xfrm>
            <a:off x="11037121" y="3372472"/>
            <a:ext cx="36828" cy="36828"/>
          </a:xfrm>
          <a:custGeom>
            <a:avLst/>
            <a:gdLst>
              <a:gd name="T0" fmla="*/ 20 w 39"/>
              <a:gd name="T1" fmla="*/ 39 h 39"/>
              <a:gd name="T2" fmla="*/ 19 w 39"/>
              <a:gd name="T3" fmla="*/ 39 h 39"/>
              <a:gd name="T4" fmla="*/ 5 w 39"/>
              <a:gd name="T5" fmla="*/ 32 h 39"/>
              <a:gd name="T6" fmla="*/ 0 w 39"/>
              <a:gd name="T7" fmla="*/ 19 h 39"/>
              <a:gd name="T8" fmla="*/ 7 w 39"/>
              <a:gd name="T9" fmla="*/ 5 h 39"/>
              <a:gd name="T10" fmla="*/ 21 w 39"/>
              <a:gd name="T11" fmla="*/ 0 h 39"/>
              <a:gd name="T12" fmla="*/ 34 w 39"/>
              <a:gd name="T13" fmla="*/ 7 h 39"/>
              <a:gd name="T14" fmla="*/ 39 w 39"/>
              <a:gd name="T15" fmla="*/ 20 h 39"/>
              <a:gd name="T16" fmla="*/ 39 w 39"/>
              <a:gd name="T17" fmla="*/ 20 h 39"/>
              <a:gd name="T18" fmla="*/ 20 w 39"/>
              <a:gd name="T19" fmla="*/ 39 h 39"/>
              <a:gd name="T20" fmla="*/ 20 w 39"/>
              <a:gd name="T21" fmla="*/ 11 h 39"/>
              <a:gd name="T22" fmla="*/ 14 w 39"/>
              <a:gd name="T23" fmla="*/ 13 h 39"/>
              <a:gd name="T24" fmla="*/ 11 w 39"/>
              <a:gd name="T25" fmla="*/ 19 h 39"/>
              <a:gd name="T26" fmla="*/ 14 w 39"/>
              <a:gd name="T27" fmla="*/ 25 h 39"/>
              <a:gd name="T28" fmla="*/ 19 w 39"/>
              <a:gd name="T29" fmla="*/ 28 h 39"/>
              <a:gd name="T30" fmla="*/ 28 w 39"/>
              <a:gd name="T31" fmla="*/ 20 h 39"/>
              <a:gd name="T32" fmla="*/ 28 w 39"/>
              <a:gd name="T33" fmla="*/ 20 h 39"/>
              <a:gd name="T34" fmla="*/ 26 w 39"/>
              <a:gd name="T35" fmla="*/ 14 h 39"/>
              <a:gd name="T36" fmla="*/ 20 w 39"/>
              <a:gd name="T37" fmla="*/ 11 h 39"/>
              <a:gd name="T38" fmla="*/ 20 w 39"/>
              <a:gd name="T39" fmla="*/ 11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9">
                <a:moveTo>
                  <a:pt x="20" y="39"/>
                </a:moveTo>
                <a:cubicBezTo>
                  <a:pt x="19" y="39"/>
                  <a:pt x="19" y="39"/>
                  <a:pt x="19" y="39"/>
                </a:cubicBezTo>
                <a:cubicBezTo>
                  <a:pt x="14" y="38"/>
                  <a:pt x="9" y="36"/>
                  <a:pt x="5" y="32"/>
                </a:cubicBezTo>
                <a:cubicBezTo>
                  <a:pt x="2" y="29"/>
                  <a:pt x="0" y="24"/>
                  <a:pt x="0" y="19"/>
                </a:cubicBezTo>
                <a:cubicBezTo>
                  <a:pt x="1" y="14"/>
                  <a:pt x="3" y="9"/>
                  <a:pt x="7" y="5"/>
                </a:cubicBezTo>
                <a:cubicBezTo>
                  <a:pt x="10" y="2"/>
                  <a:pt x="15" y="0"/>
                  <a:pt x="21" y="0"/>
                </a:cubicBezTo>
                <a:cubicBezTo>
                  <a:pt x="26" y="1"/>
                  <a:pt x="30" y="3"/>
                  <a:pt x="34" y="7"/>
                </a:cubicBezTo>
                <a:cubicBezTo>
                  <a:pt x="37" y="10"/>
                  <a:pt x="39" y="15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8" y="31"/>
                  <a:pt x="30" y="39"/>
                  <a:pt x="20" y="39"/>
                </a:cubicBezTo>
                <a:close/>
                <a:moveTo>
                  <a:pt x="20" y="11"/>
                </a:moveTo>
                <a:cubicBezTo>
                  <a:pt x="18" y="11"/>
                  <a:pt x="16" y="12"/>
                  <a:pt x="14" y="13"/>
                </a:cubicBezTo>
                <a:cubicBezTo>
                  <a:pt x="12" y="15"/>
                  <a:pt x="12" y="17"/>
                  <a:pt x="11" y="19"/>
                </a:cubicBezTo>
                <a:cubicBezTo>
                  <a:pt x="11" y="21"/>
                  <a:pt x="12" y="23"/>
                  <a:pt x="14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4" y="28"/>
                  <a:pt x="28" y="24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8"/>
                  <a:pt x="27" y="16"/>
                  <a:pt x="26" y="14"/>
                </a:cubicBezTo>
                <a:cubicBezTo>
                  <a:pt x="24" y="12"/>
                  <a:pt x="22" y="11"/>
                  <a:pt x="20" y="11"/>
                </a:cubicBezTo>
                <a:cubicBezTo>
                  <a:pt x="20" y="11"/>
                  <a:pt x="20" y="11"/>
                  <a:pt x="20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5" name="Freeform 173">
            <a:extLst>
              <a:ext uri="{FF2B5EF4-FFF2-40B4-BE49-F238E27FC236}">
                <a16:creationId xmlns:a16="http://schemas.microsoft.com/office/drawing/2014/main" id="{9920D1D6-620D-D3F9-B845-AEA6F1FB66FD}"/>
              </a:ext>
            </a:extLst>
          </p:cNvPr>
          <p:cNvSpPr>
            <a:spLocks/>
          </p:cNvSpPr>
          <p:nvPr/>
        </p:nvSpPr>
        <p:spPr bwMode="auto">
          <a:xfrm>
            <a:off x="10783693" y="4966754"/>
            <a:ext cx="222799" cy="278503"/>
          </a:xfrm>
          <a:custGeom>
            <a:avLst/>
            <a:gdLst>
              <a:gd name="T0" fmla="*/ 171 w 175"/>
              <a:gd name="T1" fmla="*/ 219 h 219"/>
              <a:gd name="T2" fmla="*/ 4 w 175"/>
              <a:gd name="T3" fmla="*/ 219 h 219"/>
              <a:gd name="T4" fmla="*/ 0 w 175"/>
              <a:gd name="T5" fmla="*/ 215 h 219"/>
              <a:gd name="T6" fmla="*/ 0 w 175"/>
              <a:gd name="T7" fmla="*/ 4 h 219"/>
              <a:gd name="T8" fmla="*/ 4 w 175"/>
              <a:gd name="T9" fmla="*/ 0 h 219"/>
              <a:gd name="T10" fmla="*/ 171 w 175"/>
              <a:gd name="T11" fmla="*/ 0 h 219"/>
              <a:gd name="T12" fmla="*/ 175 w 175"/>
              <a:gd name="T13" fmla="*/ 4 h 219"/>
              <a:gd name="T14" fmla="*/ 175 w 175"/>
              <a:gd name="T15" fmla="*/ 72 h 219"/>
              <a:gd name="T16" fmla="*/ 171 w 175"/>
              <a:gd name="T17" fmla="*/ 76 h 219"/>
              <a:gd name="T18" fmla="*/ 167 w 175"/>
              <a:gd name="T19" fmla="*/ 72 h 219"/>
              <a:gd name="T20" fmla="*/ 167 w 175"/>
              <a:gd name="T21" fmla="*/ 9 h 219"/>
              <a:gd name="T22" fmla="*/ 8 w 175"/>
              <a:gd name="T23" fmla="*/ 9 h 219"/>
              <a:gd name="T24" fmla="*/ 8 w 175"/>
              <a:gd name="T25" fmla="*/ 211 h 219"/>
              <a:gd name="T26" fmla="*/ 167 w 175"/>
              <a:gd name="T27" fmla="*/ 211 h 219"/>
              <a:gd name="T28" fmla="*/ 167 w 175"/>
              <a:gd name="T29" fmla="*/ 129 h 219"/>
              <a:gd name="T30" fmla="*/ 171 w 175"/>
              <a:gd name="T31" fmla="*/ 125 h 219"/>
              <a:gd name="T32" fmla="*/ 175 w 175"/>
              <a:gd name="T33" fmla="*/ 129 h 219"/>
              <a:gd name="T34" fmla="*/ 175 w 175"/>
              <a:gd name="T35" fmla="*/ 215 h 219"/>
              <a:gd name="T36" fmla="*/ 171 w 175"/>
              <a:gd name="T37" fmla="*/ 219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75" h="219">
                <a:moveTo>
                  <a:pt x="171" y="219"/>
                </a:moveTo>
                <a:cubicBezTo>
                  <a:pt x="4" y="219"/>
                  <a:pt x="4" y="219"/>
                  <a:pt x="4" y="219"/>
                </a:cubicBezTo>
                <a:cubicBezTo>
                  <a:pt x="2" y="219"/>
                  <a:pt x="0" y="217"/>
                  <a:pt x="0" y="215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171" y="0"/>
                  <a:pt x="171" y="0"/>
                  <a:pt x="171" y="0"/>
                </a:cubicBezTo>
                <a:cubicBezTo>
                  <a:pt x="174" y="0"/>
                  <a:pt x="175" y="2"/>
                  <a:pt x="175" y="4"/>
                </a:cubicBezTo>
                <a:cubicBezTo>
                  <a:pt x="175" y="72"/>
                  <a:pt x="175" y="72"/>
                  <a:pt x="175" y="72"/>
                </a:cubicBezTo>
                <a:cubicBezTo>
                  <a:pt x="175" y="74"/>
                  <a:pt x="174" y="76"/>
                  <a:pt x="171" y="76"/>
                </a:cubicBezTo>
                <a:cubicBezTo>
                  <a:pt x="169" y="76"/>
                  <a:pt x="167" y="74"/>
                  <a:pt x="167" y="72"/>
                </a:cubicBezTo>
                <a:cubicBezTo>
                  <a:pt x="167" y="9"/>
                  <a:pt x="167" y="9"/>
                  <a:pt x="167" y="9"/>
                </a:cubicBezTo>
                <a:cubicBezTo>
                  <a:pt x="8" y="9"/>
                  <a:pt x="8" y="9"/>
                  <a:pt x="8" y="9"/>
                </a:cubicBezTo>
                <a:cubicBezTo>
                  <a:pt x="8" y="211"/>
                  <a:pt x="8" y="211"/>
                  <a:pt x="8" y="211"/>
                </a:cubicBezTo>
                <a:cubicBezTo>
                  <a:pt x="167" y="211"/>
                  <a:pt x="167" y="211"/>
                  <a:pt x="167" y="211"/>
                </a:cubicBezTo>
                <a:cubicBezTo>
                  <a:pt x="167" y="129"/>
                  <a:pt x="167" y="129"/>
                  <a:pt x="167" y="129"/>
                </a:cubicBezTo>
                <a:cubicBezTo>
                  <a:pt x="167" y="126"/>
                  <a:pt x="169" y="125"/>
                  <a:pt x="171" y="125"/>
                </a:cubicBezTo>
                <a:cubicBezTo>
                  <a:pt x="174" y="125"/>
                  <a:pt x="175" y="126"/>
                  <a:pt x="175" y="129"/>
                </a:cubicBezTo>
                <a:cubicBezTo>
                  <a:pt x="175" y="215"/>
                  <a:pt x="175" y="215"/>
                  <a:pt x="175" y="215"/>
                </a:cubicBezTo>
                <a:cubicBezTo>
                  <a:pt x="175" y="217"/>
                  <a:pt x="174" y="219"/>
                  <a:pt x="171" y="21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6" name="Freeform 174">
            <a:extLst>
              <a:ext uri="{FF2B5EF4-FFF2-40B4-BE49-F238E27FC236}">
                <a16:creationId xmlns:a16="http://schemas.microsoft.com/office/drawing/2014/main" id="{375641B6-B7E5-EEF0-F15D-8CD166AB2D51}"/>
              </a:ext>
            </a:extLst>
          </p:cNvPr>
          <p:cNvSpPr>
            <a:spLocks noEditPoints="1"/>
          </p:cNvSpPr>
          <p:nvPr/>
        </p:nvSpPr>
        <p:spPr bwMode="auto">
          <a:xfrm>
            <a:off x="10827017" y="5036893"/>
            <a:ext cx="53637" cy="51577"/>
          </a:xfrm>
          <a:custGeom>
            <a:avLst/>
            <a:gdLst>
              <a:gd name="T0" fmla="*/ 38 w 42"/>
              <a:gd name="T1" fmla="*/ 41 h 41"/>
              <a:gd name="T2" fmla="*/ 4 w 42"/>
              <a:gd name="T3" fmla="*/ 41 h 41"/>
              <a:gd name="T4" fmla="*/ 0 w 42"/>
              <a:gd name="T5" fmla="*/ 37 h 41"/>
              <a:gd name="T6" fmla="*/ 0 w 42"/>
              <a:gd name="T7" fmla="*/ 4 h 41"/>
              <a:gd name="T8" fmla="*/ 4 w 42"/>
              <a:gd name="T9" fmla="*/ 0 h 41"/>
              <a:gd name="T10" fmla="*/ 38 w 42"/>
              <a:gd name="T11" fmla="*/ 0 h 41"/>
              <a:gd name="T12" fmla="*/ 42 w 42"/>
              <a:gd name="T13" fmla="*/ 4 h 41"/>
              <a:gd name="T14" fmla="*/ 42 w 42"/>
              <a:gd name="T15" fmla="*/ 37 h 41"/>
              <a:gd name="T16" fmla="*/ 38 w 42"/>
              <a:gd name="T17" fmla="*/ 41 h 41"/>
              <a:gd name="T18" fmla="*/ 8 w 42"/>
              <a:gd name="T19" fmla="*/ 33 h 41"/>
              <a:gd name="T20" fmla="*/ 34 w 42"/>
              <a:gd name="T21" fmla="*/ 33 h 41"/>
              <a:gd name="T22" fmla="*/ 34 w 42"/>
              <a:gd name="T23" fmla="*/ 8 h 41"/>
              <a:gd name="T24" fmla="*/ 8 w 42"/>
              <a:gd name="T25" fmla="*/ 8 h 41"/>
              <a:gd name="T26" fmla="*/ 8 w 42"/>
              <a:gd name="T27" fmla="*/ 33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2" h="41">
                <a:moveTo>
                  <a:pt x="38" y="41"/>
                </a:moveTo>
                <a:cubicBezTo>
                  <a:pt x="4" y="41"/>
                  <a:pt x="4" y="41"/>
                  <a:pt x="4" y="41"/>
                </a:cubicBezTo>
                <a:cubicBezTo>
                  <a:pt x="2" y="41"/>
                  <a:pt x="0" y="39"/>
                  <a:pt x="0" y="37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40" y="0"/>
                  <a:pt x="42" y="2"/>
                  <a:pt x="42" y="4"/>
                </a:cubicBezTo>
                <a:cubicBezTo>
                  <a:pt x="42" y="37"/>
                  <a:pt x="42" y="37"/>
                  <a:pt x="42" y="37"/>
                </a:cubicBezTo>
                <a:cubicBezTo>
                  <a:pt x="42" y="39"/>
                  <a:pt x="40" y="41"/>
                  <a:pt x="38" y="41"/>
                </a:cubicBezTo>
                <a:close/>
                <a:moveTo>
                  <a:pt x="8" y="33"/>
                </a:moveTo>
                <a:cubicBezTo>
                  <a:pt x="34" y="33"/>
                  <a:pt x="34" y="33"/>
                  <a:pt x="34" y="33"/>
                </a:cubicBezTo>
                <a:cubicBezTo>
                  <a:pt x="34" y="8"/>
                  <a:pt x="34" y="8"/>
                  <a:pt x="34" y="8"/>
                </a:cubicBezTo>
                <a:cubicBezTo>
                  <a:pt x="8" y="8"/>
                  <a:pt x="8" y="8"/>
                  <a:pt x="8" y="8"/>
                </a:cubicBezTo>
                <a:lnTo>
                  <a:pt x="8" y="3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7" name="Freeform 175">
            <a:extLst>
              <a:ext uri="{FF2B5EF4-FFF2-40B4-BE49-F238E27FC236}">
                <a16:creationId xmlns:a16="http://schemas.microsoft.com/office/drawing/2014/main" id="{345AE4CB-7BCA-BC97-03AB-BEA34E537AA6}"/>
              </a:ext>
            </a:extLst>
          </p:cNvPr>
          <p:cNvSpPr>
            <a:spLocks noEditPoints="1"/>
          </p:cNvSpPr>
          <p:nvPr/>
        </p:nvSpPr>
        <p:spPr bwMode="auto">
          <a:xfrm>
            <a:off x="10827017" y="5123540"/>
            <a:ext cx="53637" cy="53637"/>
          </a:xfrm>
          <a:custGeom>
            <a:avLst/>
            <a:gdLst>
              <a:gd name="T0" fmla="*/ 38 w 42"/>
              <a:gd name="T1" fmla="*/ 42 h 42"/>
              <a:gd name="T2" fmla="*/ 4 w 42"/>
              <a:gd name="T3" fmla="*/ 42 h 42"/>
              <a:gd name="T4" fmla="*/ 0 w 42"/>
              <a:gd name="T5" fmla="*/ 38 h 42"/>
              <a:gd name="T6" fmla="*/ 0 w 42"/>
              <a:gd name="T7" fmla="*/ 5 h 42"/>
              <a:gd name="T8" fmla="*/ 4 w 42"/>
              <a:gd name="T9" fmla="*/ 0 h 42"/>
              <a:gd name="T10" fmla="*/ 38 w 42"/>
              <a:gd name="T11" fmla="*/ 0 h 42"/>
              <a:gd name="T12" fmla="*/ 42 w 42"/>
              <a:gd name="T13" fmla="*/ 5 h 42"/>
              <a:gd name="T14" fmla="*/ 42 w 42"/>
              <a:gd name="T15" fmla="*/ 38 h 42"/>
              <a:gd name="T16" fmla="*/ 38 w 42"/>
              <a:gd name="T17" fmla="*/ 42 h 42"/>
              <a:gd name="T18" fmla="*/ 8 w 42"/>
              <a:gd name="T19" fmla="*/ 34 h 42"/>
              <a:gd name="T20" fmla="*/ 34 w 42"/>
              <a:gd name="T21" fmla="*/ 34 h 42"/>
              <a:gd name="T22" fmla="*/ 34 w 42"/>
              <a:gd name="T23" fmla="*/ 9 h 42"/>
              <a:gd name="T24" fmla="*/ 8 w 42"/>
              <a:gd name="T25" fmla="*/ 9 h 42"/>
              <a:gd name="T26" fmla="*/ 8 w 42"/>
              <a:gd name="T27" fmla="*/ 34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2" h="42">
                <a:moveTo>
                  <a:pt x="38" y="42"/>
                </a:moveTo>
                <a:cubicBezTo>
                  <a:pt x="4" y="42"/>
                  <a:pt x="4" y="42"/>
                  <a:pt x="4" y="42"/>
                </a:cubicBezTo>
                <a:cubicBezTo>
                  <a:pt x="2" y="42"/>
                  <a:pt x="0" y="40"/>
                  <a:pt x="0" y="38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40" y="0"/>
                  <a:pt x="42" y="2"/>
                  <a:pt x="42" y="5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40"/>
                  <a:pt x="40" y="42"/>
                  <a:pt x="38" y="42"/>
                </a:cubicBezTo>
                <a:close/>
                <a:moveTo>
                  <a:pt x="8" y="34"/>
                </a:moveTo>
                <a:cubicBezTo>
                  <a:pt x="34" y="34"/>
                  <a:pt x="34" y="34"/>
                  <a:pt x="34" y="34"/>
                </a:cubicBezTo>
                <a:cubicBezTo>
                  <a:pt x="34" y="9"/>
                  <a:pt x="34" y="9"/>
                  <a:pt x="34" y="9"/>
                </a:cubicBezTo>
                <a:cubicBezTo>
                  <a:pt x="8" y="9"/>
                  <a:pt x="8" y="9"/>
                  <a:pt x="8" y="9"/>
                </a:cubicBezTo>
                <a:lnTo>
                  <a:pt x="8" y="3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8" name="Freeform 176">
            <a:extLst>
              <a:ext uri="{FF2B5EF4-FFF2-40B4-BE49-F238E27FC236}">
                <a16:creationId xmlns:a16="http://schemas.microsoft.com/office/drawing/2014/main" id="{013B841E-FE1C-28E6-1D03-56F7702E286B}"/>
              </a:ext>
            </a:extLst>
          </p:cNvPr>
          <p:cNvSpPr>
            <a:spLocks/>
          </p:cNvSpPr>
          <p:nvPr/>
        </p:nvSpPr>
        <p:spPr bwMode="auto">
          <a:xfrm>
            <a:off x="10899217" y="5078155"/>
            <a:ext cx="51577" cy="10316"/>
          </a:xfrm>
          <a:custGeom>
            <a:avLst/>
            <a:gdLst>
              <a:gd name="T0" fmla="*/ 36 w 40"/>
              <a:gd name="T1" fmla="*/ 8 h 8"/>
              <a:gd name="T2" fmla="*/ 4 w 40"/>
              <a:gd name="T3" fmla="*/ 8 h 8"/>
              <a:gd name="T4" fmla="*/ 0 w 40"/>
              <a:gd name="T5" fmla="*/ 4 h 8"/>
              <a:gd name="T6" fmla="*/ 4 w 40"/>
              <a:gd name="T7" fmla="*/ 0 h 8"/>
              <a:gd name="T8" fmla="*/ 36 w 40"/>
              <a:gd name="T9" fmla="*/ 0 h 8"/>
              <a:gd name="T10" fmla="*/ 40 w 40"/>
              <a:gd name="T11" fmla="*/ 4 h 8"/>
              <a:gd name="T12" fmla="*/ 36 w 40"/>
              <a:gd name="T1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" h="8">
                <a:moveTo>
                  <a:pt x="36" y="8"/>
                </a:moveTo>
                <a:cubicBezTo>
                  <a:pt x="4" y="8"/>
                  <a:pt x="4" y="8"/>
                  <a:pt x="4" y="8"/>
                </a:cubicBezTo>
                <a:cubicBezTo>
                  <a:pt x="2" y="8"/>
                  <a:pt x="0" y="6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0"/>
                  <a:pt x="40" y="2"/>
                  <a:pt x="40" y="4"/>
                </a:cubicBezTo>
                <a:cubicBezTo>
                  <a:pt x="40" y="6"/>
                  <a:pt x="38" y="8"/>
                  <a:pt x="36" y="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9" name="Freeform 177">
            <a:extLst>
              <a:ext uri="{FF2B5EF4-FFF2-40B4-BE49-F238E27FC236}">
                <a16:creationId xmlns:a16="http://schemas.microsoft.com/office/drawing/2014/main" id="{9A8EF806-9ED9-FFF4-4657-8251854D73DD}"/>
              </a:ext>
            </a:extLst>
          </p:cNvPr>
          <p:cNvSpPr>
            <a:spLocks/>
          </p:cNvSpPr>
          <p:nvPr/>
        </p:nvSpPr>
        <p:spPr bwMode="auto">
          <a:xfrm>
            <a:off x="10899217" y="5166861"/>
            <a:ext cx="51577" cy="10316"/>
          </a:xfrm>
          <a:custGeom>
            <a:avLst/>
            <a:gdLst>
              <a:gd name="T0" fmla="*/ 36 w 40"/>
              <a:gd name="T1" fmla="*/ 8 h 8"/>
              <a:gd name="T2" fmla="*/ 4 w 40"/>
              <a:gd name="T3" fmla="*/ 8 h 8"/>
              <a:gd name="T4" fmla="*/ 0 w 40"/>
              <a:gd name="T5" fmla="*/ 4 h 8"/>
              <a:gd name="T6" fmla="*/ 4 w 40"/>
              <a:gd name="T7" fmla="*/ 0 h 8"/>
              <a:gd name="T8" fmla="*/ 36 w 40"/>
              <a:gd name="T9" fmla="*/ 0 h 8"/>
              <a:gd name="T10" fmla="*/ 40 w 40"/>
              <a:gd name="T11" fmla="*/ 4 h 8"/>
              <a:gd name="T12" fmla="*/ 36 w 40"/>
              <a:gd name="T1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" h="8">
                <a:moveTo>
                  <a:pt x="36" y="8"/>
                </a:moveTo>
                <a:cubicBezTo>
                  <a:pt x="4" y="8"/>
                  <a:pt x="4" y="8"/>
                  <a:pt x="4" y="8"/>
                </a:cubicBezTo>
                <a:cubicBezTo>
                  <a:pt x="2" y="8"/>
                  <a:pt x="0" y="6"/>
                  <a:pt x="0" y="4"/>
                </a:cubicBezTo>
                <a:cubicBezTo>
                  <a:pt x="0" y="1"/>
                  <a:pt x="2" y="0"/>
                  <a:pt x="4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0"/>
                  <a:pt x="40" y="1"/>
                  <a:pt x="40" y="4"/>
                </a:cubicBezTo>
                <a:cubicBezTo>
                  <a:pt x="40" y="6"/>
                  <a:pt x="38" y="8"/>
                  <a:pt x="36" y="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0" name="Freeform 178">
            <a:extLst>
              <a:ext uri="{FF2B5EF4-FFF2-40B4-BE49-F238E27FC236}">
                <a16:creationId xmlns:a16="http://schemas.microsoft.com/office/drawing/2014/main" id="{0DB5FACC-3C01-61F8-E86B-9C61952A76F7}"/>
              </a:ext>
            </a:extLst>
          </p:cNvPr>
          <p:cNvSpPr>
            <a:spLocks noEditPoints="1"/>
          </p:cNvSpPr>
          <p:nvPr/>
        </p:nvSpPr>
        <p:spPr bwMode="auto">
          <a:xfrm>
            <a:off x="10938416" y="5005946"/>
            <a:ext cx="150598" cy="148533"/>
          </a:xfrm>
          <a:custGeom>
            <a:avLst/>
            <a:gdLst>
              <a:gd name="T0" fmla="*/ 5 w 118"/>
              <a:gd name="T1" fmla="*/ 117 h 117"/>
              <a:gd name="T2" fmla="*/ 2 w 118"/>
              <a:gd name="T3" fmla="*/ 116 h 117"/>
              <a:gd name="T4" fmla="*/ 1 w 118"/>
              <a:gd name="T5" fmla="*/ 112 h 117"/>
              <a:gd name="T6" fmla="*/ 11 w 118"/>
              <a:gd name="T7" fmla="*/ 78 h 117"/>
              <a:gd name="T8" fmla="*/ 12 w 118"/>
              <a:gd name="T9" fmla="*/ 76 h 117"/>
              <a:gd name="T10" fmla="*/ 86 w 118"/>
              <a:gd name="T11" fmla="*/ 1 h 117"/>
              <a:gd name="T12" fmla="*/ 92 w 118"/>
              <a:gd name="T13" fmla="*/ 1 h 117"/>
              <a:gd name="T14" fmla="*/ 117 w 118"/>
              <a:gd name="T15" fmla="*/ 26 h 117"/>
              <a:gd name="T16" fmla="*/ 118 w 118"/>
              <a:gd name="T17" fmla="*/ 29 h 117"/>
              <a:gd name="T18" fmla="*/ 117 w 118"/>
              <a:gd name="T19" fmla="*/ 32 h 117"/>
              <a:gd name="T20" fmla="*/ 42 w 118"/>
              <a:gd name="T21" fmla="*/ 106 h 117"/>
              <a:gd name="T22" fmla="*/ 40 w 118"/>
              <a:gd name="T23" fmla="*/ 107 h 117"/>
              <a:gd name="T24" fmla="*/ 6 w 118"/>
              <a:gd name="T25" fmla="*/ 117 h 117"/>
              <a:gd name="T26" fmla="*/ 5 w 118"/>
              <a:gd name="T27" fmla="*/ 117 h 117"/>
              <a:gd name="T28" fmla="*/ 18 w 118"/>
              <a:gd name="T29" fmla="*/ 81 h 117"/>
              <a:gd name="T30" fmla="*/ 11 w 118"/>
              <a:gd name="T31" fmla="*/ 107 h 117"/>
              <a:gd name="T32" fmla="*/ 37 w 118"/>
              <a:gd name="T33" fmla="*/ 100 h 117"/>
              <a:gd name="T34" fmla="*/ 108 w 118"/>
              <a:gd name="T35" fmla="*/ 29 h 117"/>
              <a:gd name="T36" fmla="*/ 89 w 118"/>
              <a:gd name="T37" fmla="*/ 10 h 117"/>
              <a:gd name="T38" fmla="*/ 18 w 118"/>
              <a:gd name="T39" fmla="*/ 81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8" h="117">
                <a:moveTo>
                  <a:pt x="5" y="117"/>
                </a:moveTo>
                <a:cubicBezTo>
                  <a:pt x="4" y="117"/>
                  <a:pt x="3" y="117"/>
                  <a:pt x="2" y="116"/>
                </a:cubicBezTo>
                <a:cubicBezTo>
                  <a:pt x="1" y="115"/>
                  <a:pt x="0" y="114"/>
                  <a:pt x="1" y="112"/>
                </a:cubicBezTo>
                <a:cubicBezTo>
                  <a:pt x="11" y="78"/>
                  <a:pt x="11" y="78"/>
                  <a:pt x="11" y="78"/>
                </a:cubicBezTo>
                <a:cubicBezTo>
                  <a:pt x="11" y="77"/>
                  <a:pt x="11" y="76"/>
                  <a:pt x="12" y="76"/>
                </a:cubicBezTo>
                <a:cubicBezTo>
                  <a:pt x="86" y="1"/>
                  <a:pt x="86" y="1"/>
                  <a:pt x="86" y="1"/>
                </a:cubicBezTo>
                <a:cubicBezTo>
                  <a:pt x="88" y="0"/>
                  <a:pt x="91" y="0"/>
                  <a:pt x="92" y="1"/>
                </a:cubicBezTo>
                <a:cubicBezTo>
                  <a:pt x="117" y="26"/>
                  <a:pt x="117" y="26"/>
                  <a:pt x="117" y="26"/>
                </a:cubicBezTo>
                <a:cubicBezTo>
                  <a:pt x="118" y="27"/>
                  <a:pt x="118" y="28"/>
                  <a:pt x="118" y="29"/>
                </a:cubicBezTo>
                <a:cubicBezTo>
                  <a:pt x="118" y="30"/>
                  <a:pt x="118" y="31"/>
                  <a:pt x="117" y="32"/>
                </a:cubicBezTo>
                <a:cubicBezTo>
                  <a:pt x="42" y="106"/>
                  <a:pt x="42" y="106"/>
                  <a:pt x="42" y="106"/>
                </a:cubicBezTo>
                <a:cubicBezTo>
                  <a:pt x="42" y="107"/>
                  <a:pt x="41" y="107"/>
                  <a:pt x="40" y="107"/>
                </a:cubicBezTo>
                <a:cubicBezTo>
                  <a:pt x="6" y="117"/>
                  <a:pt x="6" y="117"/>
                  <a:pt x="6" y="117"/>
                </a:cubicBezTo>
                <a:cubicBezTo>
                  <a:pt x="5" y="117"/>
                  <a:pt x="5" y="117"/>
                  <a:pt x="5" y="117"/>
                </a:cubicBezTo>
                <a:close/>
                <a:moveTo>
                  <a:pt x="18" y="81"/>
                </a:moveTo>
                <a:cubicBezTo>
                  <a:pt x="11" y="107"/>
                  <a:pt x="11" y="107"/>
                  <a:pt x="11" y="107"/>
                </a:cubicBezTo>
                <a:cubicBezTo>
                  <a:pt x="37" y="100"/>
                  <a:pt x="37" y="100"/>
                  <a:pt x="37" y="100"/>
                </a:cubicBezTo>
                <a:cubicBezTo>
                  <a:pt x="108" y="29"/>
                  <a:pt x="108" y="29"/>
                  <a:pt x="108" y="29"/>
                </a:cubicBezTo>
                <a:cubicBezTo>
                  <a:pt x="89" y="10"/>
                  <a:pt x="89" y="10"/>
                  <a:pt x="89" y="10"/>
                </a:cubicBezTo>
                <a:lnTo>
                  <a:pt x="18" y="8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1" name="Freeform 179">
            <a:extLst>
              <a:ext uri="{FF2B5EF4-FFF2-40B4-BE49-F238E27FC236}">
                <a16:creationId xmlns:a16="http://schemas.microsoft.com/office/drawing/2014/main" id="{76FCABCB-F444-C265-D456-0D8E23A99F63}"/>
              </a:ext>
            </a:extLst>
          </p:cNvPr>
          <p:cNvSpPr>
            <a:spLocks/>
          </p:cNvSpPr>
          <p:nvPr/>
        </p:nvSpPr>
        <p:spPr bwMode="auto">
          <a:xfrm>
            <a:off x="10950793" y="5098782"/>
            <a:ext cx="43324" cy="43324"/>
          </a:xfrm>
          <a:custGeom>
            <a:avLst/>
            <a:gdLst>
              <a:gd name="T0" fmla="*/ 29 w 34"/>
              <a:gd name="T1" fmla="*/ 33 h 33"/>
              <a:gd name="T2" fmla="*/ 26 w 34"/>
              <a:gd name="T3" fmla="*/ 32 h 33"/>
              <a:gd name="T4" fmla="*/ 2 w 34"/>
              <a:gd name="T5" fmla="*/ 8 h 33"/>
              <a:gd name="T6" fmla="*/ 2 w 34"/>
              <a:gd name="T7" fmla="*/ 2 h 33"/>
              <a:gd name="T8" fmla="*/ 8 w 34"/>
              <a:gd name="T9" fmla="*/ 2 h 33"/>
              <a:gd name="T10" fmla="*/ 32 w 34"/>
              <a:gd name="T11" fmla="*/ 26 h 33"/>
              <a:gd name="T12" fmla="*/ 32 w 34"/>
              <a:gd name="T13" fmla="*/ 32 h 33"/>
              <a:gd name="T14" fmla="*/ 29 w 34"/>
              <a:gd name="T15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4" h="33">
                <a:moveTo>
                  <a:pt x="29" y="33"/>
                </a:moveTo>
                <a:cubicBezTo>
                  <a:pt x="28" y="33"/>
                  <a:pt x="27" y="33"/>
                  <a:pt x="26" y="32"/>
                </a:cubicBezTo>
                <a:cubicBezTo>
                  <a:pt x="2" y="8"/>
                  <a:pt x="2" y="8"/>
                  <a:pt x="2" y="8"/>
                </a:cubicBezTo>
                <a:cubicBezTo>
                  <a:pt x="0" y="6"/>
                  <a:pt x="0" y="3"/>
                  <a:pt x="2" y="2"/>
                </a:cubicBezTo>
                <a:cubicBezTo>
                  <a:pt x="3" y="0"/>
                  <a:pt x="6" y="0"/>
                  <a:pt x="8" y="2"/>
                </a:cubicBezTo>
                <a:cubicBezTo>
                  <a:pt x="32" y="26"/>
                  <a:pt x="32" y="26"/>
                  <a:pt x="32" y="26"/>
                </a:cubicBezTo>
                <a:cubicBezTo>
                  <a:pt x="34" y="28"/>
                  <a:pt x="34" y="31"/>
                  <a:pt x="32" y="32"/>
                </a:cubicBezTo>
                <a:cubicBezTo>
                  <a:pt x="31" y="33"/>
                  <a:pt x="30" y="33"/>
                  <a:pt x="29" y="3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2" name="Freeform 180">
            <a:extLst>
              <a:ext uri="{FF2B5EF4-FFF2-40B4-BE49-F238E27FC236}">
                <a16:creationId xmlns:a16="http://schemas.microsoft.com/office/drawing/2014/main" id="{C0D79809-18C9-6006-A3D0-6FEC28447846}"/>
              </a:ext>
            </a:extLst>
          </p:cNvPr>
          <p:cNvSpPr>
            <a:spLocks noEditPoints="1"/>
          </p:cNvSpPr>
          <p:nvPr/>
        </p:nvSpPr>
        <p:spPr bwMode="auto">
          <a:xfrm>
            <a:off x="11045691" y="4981196"/>
            <a:ext cx="68079" cy="66016"/>
          </a:xfrm>
          <a:custGeom>
            <a:avLst/>
            <a:gdLst>
              <a:gd name="T0" fmla="*/ 29 w 52"/>
              <a:gd name="T1" fmla="*/ 52 h 52"/>
              <a:gd name="T2" fmla="*/ 26 w 52"/>
              <a:gd name="T3" fmla="*/ 51 h 52"/>
              <a:gd name="T4" fmla="*/ 1 w 52"/>
              <a:gd name="T5" fmla="*/ 26 h 52"/>
              <a:gd name="T6" fmla="*/ 1 w 52"/>
              <a:gd name="T7" fmla="*/ 20 h 52"/>
              <a:gd name="T8" fmla="*/ 20 w 52"/>
              <a:gd name="T9" fmla="*/ 2 h 52"/>
              <a:gd name="T10" fmla="*/ 26 w 52"/>
              <a:gd name="T11" fmla="*/ 2 h 52"/>
              <a:gd name="T12" fmla="*/ 50 w 52"/>
              <a:gd name="T13" fmla="*/ 26 h 52"/>
              <a:gd name="T14" fmla="*/ 50 w 52"/>
              <a:gd name="T15" fmla="*/ 32 h 52"/>
              <a:gd name="T16" fmla="*/ 32 w 52"/>
              <a:gd name="T17" fmla="*/ 51 h 52"/>
              <a:gd name="T18" fmla="*/ 29 w 52"/>
              <a:gd name="T19" fmla="*/ 52 h 52"/>
              <a:gd name="T20" fmla="*/ 10 w 52"/>
              <a:gd name="T21" fmla="*/ 23 h 52"/>
              <a:gd name="T22" fmla="*/ 29 w 52"/>
              <a:gd name="T23" fmla="*/ 42 h 52"/>
              <a:gd name="T24" fmla="*/ 41 w 52"/>
              <a:gd name="T25" fmla="*/ 29 h 52"/>
              <a:gd name="T26" fmla="*/ 23 w 52"/>
              <a:gd name="T27" fmla="*/ 11 h 52"/>
              <a:gd name="T28" fmla="*/ 10 w 52"/>
              <a:gd name="T2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2" h="52">
                <a:moveTo>
                  <a:pt x="29" y="52"/>
                </a:moveTo>
                <a:cubicBezTo>
                  <a:pt x="28" y="52"/>
                  <a:pt x="27" y="51"/>
                  <a:pt x="26" y="51"/>
                </a:cubicBezTo>
                <a:cubicBezTo>
                  <a:pt x="1" y="26"/>
                  <a:pt x="1" y="26"/>
                  <a:pt x="1" y="26"/>
                </a:cubicBezTo>
                <a:cubicBezTo>
                  <a:pt x="0" y="24"/>
                  <a:pt x="0" y="22"/>
                  <a:pt x="1" y="20"/>
                </a:cubicBezTo>
                <a:cubicBezTo>
                  <a:pt x="20" y="2"/>
                  <a:pt x="20" y="2"/>
                  <a:pt x="20" y="2"/>
                </a:cubicBezTo>
                <a:cubicBezTo>
                  <a:pt x="21" y="0"/>
                  <a:pt x="24" y="0"/>
                  <a:pt x="26" y="2"/>
                </a:cubicBezTo>
                <a:cubicBezTo>
                  <a:pt x="50" y="26"/>
                  <a:pt x="50" y="26"/>
                  <a:pt x="50" y="26"/>
                </a:cubicBezTo>
                <a:cubicBezTo>
                  <a:pt x="52" y="28"/>
                  <a:pt x="52" y="31"/>
                  <a:pt x="50" y="32"/>
                </a:cubicBezTo>
                <a:cubicBezTo>
                  <a:pt x="32" y="51"/>
                  <a:pt x="32" y="51"/>
                  <a:pt x="32" y="51"/>
                </a:cubicBezTo>
                <a:cubicBezTo>
                  <a:pt x="31" y="51"/>
                  <a:pt x="30" y="52"/>
                  <a:pt x="29" y="52"/>
                </a:cubicBezTo>
                <a:close/>
                <a:moveTo>
                  <a:pt x="10" y="23"/>
                </a:moveTo>
                <a:cubicBezTo>
                  <a:pt x="29" y="42"/>
                  <a:pt x="29" y="42"/>
                  <a:pt x="29" y="42"/>
                </a:cubicBezTo>
                <a:cubicBezTo>
                  <a:pt x="41" y="29"/>
                  <a:pt x="41" y="29"/>
                  <a:pt x="41" y="29"/>
                </a:cubicBezTo>
                <a:cubicBezTo>
                  <a:pt x="23" y="11"/>
                  <a:pt x="23" y="11"/>
                  <a:pt x="23" y="11"/>
                </a:cubicBezTo>
                <a:lnTo>
                  <a:pt x="10" y="2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3" name="Freeform 769">
            <a:extLst>
              <a:ext uri="{FF2B5EF4-FFF2-40B4-BE49-F238E27FC236}">
                <a16:creationId xmlns:a16="http://schemas.microsoft.com/office/drawing/2014/main" id="{3BF4AA3D-A2BD-9540-42B7-5955DCA3DCE4}"/>
              </a:ext>
            </a:extLst>
          </p:cNvPr>
          <p:cNvSpPr>
            <a:spLocks noEditPoints="1"/>
          </p:cNvSpPr>
          <p:nvPr/>
        </p:nvSpPr>
        <p:spPr bwMode="auto">
          <a:xfrm>
            <a:off x="11015442" y="1652595"/>
            <a:ext cx="76717" cy="76717"/>
          </a:xfrm>
          <a:custGeom>
            <a:avLst/>
            <a:gdLst>
              <a:gd name="T0" fmla="*/ 77 w 84"/>
              <a:gd name="T1" fmla="*/ 84 h 84"/>
              <a:gd name="T2" fmla="*/ 6 w 84"/>
              <a:gd name="T3" fmla="*/ 84 h 84"/>
              <a:gd name="T4" fmla="*/ 0 w 84"/>
              <a:gd name="T5" fmla="*/ 78 h 84"/>
              <a:gd name="T6" fmla="*/ 0 w 84"/>
              <a:gd name="T7" fmla="*/ 7 h 84"/>
              <a:gd name="T8" fmla="*/ 4 w 84"/>
              <a:gd name="T9" fmla="*/ 1 h 84"/>
              <a:gd name="T10" fmla="*/ 10 w 84"/>
              <a:gd name="T11" fmla="*/ 2 h 84"/>
              <a:gd name="T12" fmla="*/ 82 w 84"/>
              <a:gd name="T13" fmla="*/ 74 h 84"/>
              <a:gd name="T14" fmla="*/ 83 w 84"/>
              <a:gd name="T15" fmla="*/ 81 h 84"/>
              <a:gd name="T16" fmla="*/ 77 w 84"/>
              <a:gd name="T17" fmla="*/ 84 h 84"/>
              <a:gd name="T18" fmla="*/ 12 w 84"/>
              <a:gd name="T19" fmla="*/ 72 h 84"/>
              <a:gd name="T20" fmla="*/ 63 w 84"/>
              <a:gd name="T21" fmla="*/ 72 h 84"/>
              <a:gd name="T22" fmla="*/ 12 w 84"/>
              <a:gd name="T23" fmla="*/ 22 h 84"/>
              <a:gd name="T24" fmla="*/ 12 w 84"/>
              <a:gd name="T25" fmla="*/ 7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" h="84">
                <a:moveTo>
                  <a:pt x="77" y="84"/>
                </a:moveTo>
                <a:cubicBezTo>
                  <a:pt x="6" y="84"/>
                  <a:pt x="6" y="84"/>
                  <a:pt x="6" y="84"/>
                </a:cubicBezTo>
                <a:cubicBezTo>
                  <a:pt x="3" y="84"/>
                  <a:pt x="0" y="82"/>
                  <a:pt x="0" y="78"/>
                </a:cubicBezTo>
                <a:cubicBezTo>
                  <a:pt x="0" y="7"/>
                  <a:pt x="0" y="7"/>
                  <a:pt x="0" y="7"/>
                </a:cubicBezTo>
                <a:cubicBezTo>
                  <a:pt x="0" y="4"/>
                  <a:pt x="1" y="2"/>
                  <a:pt x="4" y="1"/>
                </a:cubicBezTo>
                <a:cubicBezTo>
                  <a:pt x="6" y="0"/>
                  <a:pt x="9" y="1"/>
                  <a:pt x="10" y="2"/>
                </a:cubicBezTo>
                <a:cubicBezTo>
                  <a:pt x="82" y="74"/>
                  <a:pt x="82" y="74"/>
                  <a:pt x="82" y="74"/>
                </a:cubicBezTo>
                <a:cubicBezTo>
                  <a:pt x="83" y="76"/>
                  <a:pt x="84" y="78"/>
                  <a:pt x="83" y="81"/>
                </a:cubicBezTo>
                <a:cubicBezTo>
                  <a:pt x="82" y="83"/>
                  <a:pt x="80" y="84"/>
                  <a:pt x="77" y="84"/>
                </a:cubicBezTo>
                <a:close/>
                <a:moveTo>
                  <a:pt x="12" y="72"/>
                </a:moveTo>
                <a:cubicBezTo>
                  <a:pt x="63" y="72"/>
                  <a:pt x="63" y="72"/>
                  <a:pt x="63" y="72"/>
                </a:cubicBezTo>
                <a:cubicBezTo>
                  <a:pt x="12" y="22"/>
                  <a:pt x="12" y="22"/>
                  <a:pt x="12" y="22"/>
                </a:cubicBezTo>
                <a:lnTo>
                  <a:pt x="12" y="7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4" name="Freeform 770">
            <a:extLst>
              <a:ext uri="{FF2B5EF4-FFF2-40B4-BE49-F238E27FC236}">
                <a16:creationId xmlns:a16="http://schemas.microsoft.com/office/drawing/2014/main" id="{DEC046C4-29FE-C238-D9BD-5115E6933FF0}"/>
              </a:ext>
            </a:extLst>
          </p:cNvPr>
          <p:cNvSpPr>
            <a:spLocks/>
          </p:cNvSpPr>
          <p:nvPr/>
        </p:nvSpPr>
        <p:spPr bwMode="auto">
          <a:xfrm>
            <a:off x="10781960" y="1652597"/>
            <a:ext cx="310200" cy="396925"/>
          </a:xfrm>
          <a:custGeom>
            <a:avLst/>
            <a:gdLst>
              <a:gd name="T0" fmla="*/ 331 w 338"/>
              <a:gd name="T1" fmla="*/ 432 h 432"/>
              <a:gd name="T2" fmla="*/ 6 w 338"/>
              <a:gd name="T3" fmla="*/ 432 h 432"/>
              <a:gd name="T4" fmla="*/ 0 w 338"/>
              <a:gd name="T5" fmla="*/ 426 h 432"/>
              <a:gd name="T6" fmla="*/ 0 w 338"/>
              <a:gd name="T7" fmla="*/ 6 h 432"/>
              <a:gd name="T8" fmla="*/ 6 w 338"/>
              <a:gd name="T9" fmla="*/ 0 h 432"/>
              <a:gd name="T10" fmla="*/ 260 w 338"/>
              <a:gd name="T11" fmla="*/ 0 h 432"/>
              <a:gd name="T12" fmla="*/ 264 w 338"/>
              <a:gd name="T13" fmla="*/ 1 h 432"/>
              <a:gd name="T14" fmla="*/ 336 w 338"/>
              <a:gd name="T15" fmla="*/ 73 h 432"/>
              <a:gd name="T16" fmla="*/ 338 w 338"/>
              <a:gd name="T17" fmla="*/ 77 h 432"/>
              <a:gd name="T18" fmla="*/ 338 w 338"/>
              <a:gd name="T19" fmla="*/ 368 h 432"/>
              <a:gd name="T20" fmla="*/ 331 w 338"/>
              <a:gd name="T21" fmla="*/ 374 h 432"/>
              <a:gd name="T22" fmla="*/ 325 w 338"/>
              <a:gd name="T23" fmla="*/ 368 h 432"/>
              <a:gd name="T24" fmla="*/ 325 w 338"/>
              <a:gd name="T25" fmla="*/ 80 h 432"/>
              <a:gd name="T26" fmla="*/ 257 w 338"/>
              <a:gd name="T27" fmla="*/ 12 h 432"/>
              <a:gd name="T28" fmla="*/ 12 w 338"/>
              <a:gd name="T29" fmla="*/ 12 h 432"/>
              <a:gd name="T30" fmla="*/ 12 w 338"/>
              <a:gd name="T31" fmla="*/ 420 h 432"/>
              <a:gd name="T32" fmla="*/ 325 w 338"/>
              <a:gd name="T33" fmla="*/ 420 h 432"/>
              <a:gd name="T34" fmla="*/ 325 w 338"/>
              <a:gd name="T35" fmla="*/ 414 h 432"/>
              <a:gd name="T36" fmla="*/ 331 w 338"/>
              <a:gd name="T37" fmla="*/ 408 h 432"/>
              <a:gd name="T38" fmla="*/ 338 w 338"/>
              <a:gd name="T39" fmla="*/ 414 h 432"/>
              <a:gd name="T40" fmla="*/ 338 w 338"/>
              <a:gd name="T41" fmla="*/ 426 h 432"/>
              <a:gd name="T42" fmla="*/ 331 w 338"/>
              <a:gd name="T43" fmla="*/ 432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38" h="432">
                <a:moveTo>
                  <a:pt x="331" y="432"/>
                </a:moveTo>
                <a:cubicBezTo>
                  <a:pt x="6" y="432"/>
                  <a:pt x="6" y="432"/>
                  <a:pt x="6" y="432"/>
                </a:cubicBezTo>
                <a:cubicBezTo>
                  <a:pt x="3" y="432"/>
                  <a:pt x="0" y="430"/>
                  <a:pt x="0" y="426"/>
                </a:cubicBezTo>
                <a:cubicBezTo>
                  <a:pt x="0" y="6"/>
                  <a:pt x="0" y="6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260" y="0"/>
                  <a:pt x="260" y="0"/>
                  <a:pt x="260" y="0"/>
                </a:cubicBezTo>
                <a:cubicBezTo>
                  <a:pt x="262" y="0"/>
                  <a:pt x="263" y="0"/>
                  <a:pt x="264" y="1"/>
                </a:cubicBezTo>
                <a:cubicBezTo>
                  <a:pt x="336" y="73"/>
                  <a:pt x="336" y="73"/>
                  <a:pt x="336" y="73"/>
                </a:cubicBezTo>
                <a:cubicBezTo>
                  <a:pt x="337" y="74"/>
                  <a:pt x="338" y="76"/>
                  <a:pt x="338" y="77"/>
                </a:cubicBezTo>
                <a:cubicBezTo>
                  <a:pt x="338" y="368"/>
                  <a:pt x="338" y="368"/>
                  <a:pt x="338" y="368"/>
                </a:cubicBezTo>
                <a:cubicBezTo>
                  <a:pt x="338" y="371"/>
                  <a:pt x="335" y="374"/>
                  <a:pt x="331" y="374"/>
                </a:cubicBezTo>
                <a:cubicBezTo>
                  <a:pt x="328" y="374"/>
                  <a:pt x="325" y="371"/>
                  <a:pt x="325" y="368"/>
                </a:cubicBezTo>
                <a:cubicBezTo>
                  <a:pt x="325" y="80"/>
                  <a:pt x="325" y="80"/>
                  <a:pt x="325" y="80"/>
                </a:cubicBezTo>
                <a:cubicBezTo>
                  <a:pt x="257" y="12"/>
                  <a:pt x="257" y="12"/>
                  <a:pt x="257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420"/>
                  <a:pt x="12" y="420"/>
                  <a:pt x="12" y="420"/>
                </a:cubicBezTo>
                <a:cubicBezTo>
                  <a:pt x="325" y="420"/>
                  <a:pt x="325" y="420"/>
                  <a:pt x="325" y="420"/>
                </a:cubicBezTo>
                <a:cubicBezTo>
                  <a:pt x="325" y="414"/>
                  <a:pt x="325" y="414"/>
                  <a:pt x="325" y="414"/>
                </a:cubicBezTo>
                <a:cubicBezTo>
                  <a:pt x="325" y="410"/>
                  <a:pt x="328" y="408"/>
                  <a:pt x="331" y="408"/>
                </a:cubicBezTo>
                <a:cubicBezTo>
                  <a:pt x="335" y="408"/>
                  <a:pt x="338" y="410"/>
                  <a:pt x="338" y="414"/>
                </a:cubicBezTo>
                <a:cubicBezTo>
                  <a:pt x="338" y="426"/>
                  <a:pt x="338" y="426"/>
                  <a:pt x="338" y="426"/>
                </a:cubicBezTo>
                <a:cubicBezTo>
                  <a:pt x="338" y="430"/>
                  <a:pt x="335" y="432"/>
                  <a:pt x="331" y="4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5" name="Freeform 771">
            <a:extLst>
              <a:ext uri="{FF2B5EF4-FFF2-40B4-BE49-F238E27FC236}">
                <a16:creationId xmlns:a16="http://schemas.microsoft.com/office/drawing/2014/main" id="{04DA5F78-9FD1-2DA4-7498-6179EE5785CD}"/>
              </a:ext>
            </a:extLst>
          </p:cNvPr>
          <p:cNvSpPr>
            <a:spLocks noEditPoints="1"/>
          </p:cNvSpPr>
          <p:nvPr/>
        </p:nvSpPr>
        <p:spPr bwMode="auto">
          <a:xfrm>
            <a:off x="10825318" y="1752662"/>
            <a:ext cx="223479" cy="226816"/>
          </a:xfrm>
          <a:custGeom>
            <a:avLst/>
            <a:gdLst>
              <a:gd name="T0" fmla="*/ 121 w 242"/>
              <a:gd name="T1" fmla="*/ 243 h 243"/>
              <a:gd name="T2" fmla="*/ 0 w 242"/>
              <a:gd name="T3" fmla="*/ 122 h 243"/>
              <a:gd name="T4" fmla="*/ 121 w 242"/>
              <a:gd name="T5" fmla="*/ 0 h 243"/>
              <a:gd name="T6" fmla="*/ 242 w 242"/>
              <a:gd name="T7" fmla="*/ 122 h 243"/>
              <a:gd name="T8" fmla="*/ 121 w 242"/>
              <a:gd name="T9" fmla="*/ 243 h 243"/>
              <a:gd name="T10" fmla="*/ 121 w 242"/>
              <a:gd name="T11" fmla="*/ 13 h 243"/>
              <a:gd name="T12" fmla="*/ 12 w 242"/>
              <a:gd name="T13" fmla="*/ 122 h 243"/>
              <a:gd name="T14" fmla="*/ 121 w 242"/>
              <a:gd name="T15" fmla="*/ 231 h 243"/>
              <a:gd name="T16" fmla="*/ 230 w 242"/>
              <a:gd name="T17" fmla="*/ 122 h 243"/>
              <a:gd name="T18" fmla="*/ 121 w 242"/>
              <a:gd name="T19" fmla="*/ 13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2" h="243">
                <a:moveTo>
                  <a:pt x="121" y="243"/>
                </a:moveTo>
                <a:cubicBezTo>
                  <a:pt x="54" y="243"/>
                  <a:pt x="0" y="188"/>
                  <a:pt x="0" y="122"/>
                </a:cubicBezTo>
                <a:cubicBezTo>
                  <a:pt x="0" y="55"/>
                  <a:pt x="54" y="0"/>
                  <a:pt x="121" y="0"/>
                </a:cubicBezTo>
                <a:cubicBezTo>
                  <a:pt x="188" y="0"/>
                  <a:pt x="242" y="55"/>
                  <a:pt x="242" y="122"/>
                </a:cubicBezTo>
                <a:cubicBezTo>
                  <a:pt x="242" y="188"/>
                  <a:pt x="188" y="243"/>
                  <a:pt x="121" y="243"/>
                </a:cubicBezTo>
                <a:close/>
                <a:moveTo>
                  <a:pt x="121" y="13"/>
                </a:moveTo>
                <a:cubicBezTo>
                  <a:pt x="61" y="13"/>
                  <a:pt x="12" y="61"/>
                  <a:pt x="12" y="122"/>
                </a:cubicBezTo>
                <a:cubicBezTo>
                  <a:pt x="12" y="182"/>
                  <a:pt x="61" y="231"/>
                  <a:pt x="121" y="231"/>
                </a:cubicBezTo>
                <a:cubicBezTo>
                  <a:pt x="181" y="231"/>
                  <a:pt x="230" y="182"/>
                  <a:pt x="230" y="122"/>
                </a:cubicBezTo>
                <a:cubicBezTo>
                  <a:pt x="230" y="61"/>
                  <a:pt x="181" y="13"/>
                  <a:pt x="121" y="1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6" name="Freeform 772">
            <a:extLst>
              <a:ext uri="{FF2B5EF4-FFF2-40B4-BE49-F238E27FC236}">
                <a16:creationId xmlns:a16="http://schemas.microsoft.com/office/drawing/2014/main" id="{545CB1CC-2363-D93D-79CF-5CAAE1CD6AC5}"/>
              </a:ext>
            </a:extLst>
          </p:cNvPr>
          <p:cNvSpPr>
            <a:spLocks/>
          </p:cNvSpPr>
          <p:nvPr/>
        </p:nvSpPr>
        <p:spPr bwMode="auto">
          <a:xfrm>
            <a:off x="10995430" y="1926110"/>
            <a:ext cx="120079" cy="113406"/>
          </a:xfrm>
          <a:custGeom>
            <a:avLst/>
            <a:gdLst>
              <a:gd name="T0" fmla="*/ 103 w 129"/>
              <a:gd name="T1" fmla="*/ 123 h 123"/>
              <a:gd name="T2" fmla="*/ 87 w 129"/>
              <a:gd name="T3" fmla="*/ 116 h 123"/>
              <a:gd name="T4" fmla="*/ 2 w 129"/>
              <a:gd name="T5" fmla="*/ 32 h 123"/>
              <a:gd name="T6" fmla="*/ 2 w 129"/>
              <a:gd name="T7" fmla="*/ 23 h 123"/>
              <a:gd name="T8" fmla="*/ 11 w 129"/>
              <a:gd name="T9" fmla="*/ 23 h 123"/>
              <a:gd name="T10" fmla="*/ 95 w 129"/>
              <a:gd name="T11" fmla="*/ 107 h 123"/>
              <a:gd name="T12" fmla="*/ 111 w 129"/>
              <a:gd name="T13" fmla="*/ 107 h 123"/>
              <a:gd name="T14" fmla="*/ 111 w 129"/>
              <a:gd name="T15" fmla="*/ 92 h 123"/>
              <a:gd name="T16" fmla="*/ 30 w 129"/>
              <a:gd name="T17" fmla="*/ 11 h 123"/>
              <a:gd name="T18" fmla="*/ 30 w 129"/>
              <a:gd name="T19" fmla="*/ 2 h 123"/>
              <a:gd name="T20" fmla="*/ 39 w 129"/>
              <a:gd name="T21" fmla="*/ 2 h 123"/>
              <a:gd name="T22" fmla="*/ 120 w 129"/>
              <a:gd name="T23" fmla="*/ 83 h 123"/>
              <a:gd name="T24" fmla="*/ 120 w 129"/>
              <a:gd name="T25" fmla="*/ 116 h 123"/>
              <a:gd name="T26" fmla="*/ 103 w 129"/>
              <a:gd name="T2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29" h="123">
                <a:moveTo>
                  <a:pt x="103" y="123"/>
                </a:moveTo>
                <a:cubicBezTo>
                  <a:pt x="97" y="123"/>
                  <a:pt x="91" y="120"/>
                  <a:pt x="87" y="116"/>
                </a:cubicBezTo>
                <a:cubicBezTo>
                  <a:pt x="2" y="32"/>
                  <a:pt x="2" y="32"/>
                  <a:pt x="2" y="32"/>
                </a:cubicBezTo>
                <a:cubicBezTo>
                  <a:pt x="0" y="29"/>
                  <a:pt x="0" y="25"/>
                  <a:pt x="2" y="23"/>
                </a:cubicBezTo>
                <a:cubicBezTo>
                  <a:pt x="4" y="21"/>
                  <a:pt x="8" y="21"/>
                  <a:pt x="11" y="23"/>
                </a:cubicBezTo>
                <a:cubicBezTo>
                  <a:pt x="95" y="107"/>
                  <a:pt x="95" y="107"/>
                  <a:pt x="95" y="107"/>
                </a:cubicBezTo>
                <a:cubicBezTo>
                  <a:pt x="99" y="112"/>
                  <a:pt x="107" y="112"/>
                  <a:pt x="111" y="107"/>
                </a:cubicBezTo>
                <a:cubicBezTo>
                  <a:pt x="115" y="103"/>
                  <a:pt x="115" y="96"/>
                  <a:pt x="111" y="92"/>
                </a:cubicBezTo>
                <a:cubicBezTo>
                  <a:pt x="30" y="11"/>
                  <a:pt x="30" y="11"/>
                  <a:pt x="30" y="11"/>
                </a:cubicBezTo>
                <a:cubicBezTo>
                  <a:pt x="28" y="8"/>
                  <a:pt x="28" y="5"/>
                  <a:pt x="30" y="2"/>
                </a:cubicBezTo>
                <a:cubicBezTo>
                  <a:pt x="33" y="0"/>
                  <a:pt x="37" y="0"/>
                  <a:pt x="39" y="2"/>
                </a:cubicBezTo>
                <a:cubicBezTo>
                  <a:pt x="120" y="83"/>
                  <a:pt x="120" y="83"/>
                  <a:pt x="120" y="83"/>
                </a:cubicBezTo>
                <a:cubicBezTo>
                  <a:pt x="129" y="92"/>
                  <a:pt x="129" y="107"/>
                  <a:pt x="120" y="116"/>
                </a:cubicBezTo>
                <a:cubicBezTo>
                  <a:pt x="115" y="120"/>
                  <a:pt x="109" y="123"/>
                  <a:pt x="103" y="12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7" name="Freeform 773">
            <a:extLst>
              <a:ext uri="{FF2B5EF4-FFF2-40B4-BE49-F238E27FC236}">
                <a16:creationId xmlns:a16="http://schemas.microsoft.com/office/drawing/2014/main" id="{39CB17AF-83E8-1D13-172E-7ABB345B5AE6}"/>
              </a:ext>
            </a:extLst>
          </p:cNvPr>
          <p:cNvSpPr>
            <a:spLocks/>
          </p:cNvSpPr>
          <p:nvPr/>
        </p:nvSpPr>
        <p:spPr bwMode="auto">
          <a:xfrm>
            <a:off x="10865343" y="1892752"/>
            <a:ext cx="146762" cy="13343"/>
          </a:xfrm>
          <a:custGeom>
            <a:avLst/>
            <a:gdLst>
              <a:gd name="T0" fmla="*/ 153 w 159"/>
              <a:gd name="T1" fmla="*/ 12 h 12"/>
              <a:gd name="T2" fmla="*/ 6 w 159"/>
              <a:gd name="T3" fmla="*/ 12 h 12"/>
              <a:gd name="T4" fmla="*/ 0 w 159"/>
              <a:gd name="T5" fmla="*/ 6 h 12"/>
              <a:gd name="T6" fmla="*/ 6 w 159"/>
              <a:gd name="T7" fmla="*/ 0 h 12"/>
              <a:gd name="T8" fmla="*/ 153 w 159"/>
              <a:gd name="T9" fmla="*/ 0 h 12"/>
              <a:gd name="T10" fmla="*/ 159 w 159"/>
              <a:gd name="T11" fmla="*/ 6 h 12"/>
              <a:gd name="T12" fmla="*/ 153 w 159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9" h="12">
                <a:moveTo>
                  <a:pt x="153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56" y="0"/>
                  <a:pt x="159" y="2"/>
                  <a:pt x="159" y="6"/>
                </a:cubicBezTo>
                <a:cubicBezTo>
                  <a:pt x="159" y="9"/>
                  <a:pt x="156" y="12"/>
                  <a:pt x="153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8" name="Freeform 774">
            <a:extLst>
              <a:ext uri="{FF2B5EF4-FFF2-40B4-BE49-F238E27FC236}">
                <a16:creationId xmlns:a16="http://schemas.microsoft.com/office/drawing/2014/main" id="{2E8D6F42-F240-77BB-23E2-23CE5D7433B2}"/>
              </a:ext>
            </a:extLst>
          </p:cNvPr>
          <p:cNvSpPr>
            <a:spLocks noEditPoints="1"/>
          </p:cNvSpPr>
          <p:nvPr/>
        </p:nvSpPr>
        <p:spPr bwMode="auto">
          <a:xfrm>
            <a:off x="10878687" y="1862737"/>
            <a:ext cx="46697" cy="43361"/>
          </a:xfrm>
          <a:custGeom>
            <a:avLst/>
            <a:gdLst>
              <a:gd name="T0" fmla="*/ 46 w 52"/>
              <a:gd name="T1" fmla="*/ 47 h 47"/>
              <a:gd name="T2" fmla="*/ 7 w 52"/>
              <a:gd name="T3" fmla="*/ 47 h 47"/>
              <a:gd name="T4" fmla="*/ 0 w 52"/>
              <a:gd name="T5" fmla="*/ 41 h 47"/>
              <a:gd name="T6" fmla="*/ 0 w 52"/>
              <a:gd name="T7" fmla="*/ 6 h 47"/>
              <a:gd name="T8" fmla="*/ 7 w 52"/>
              <a:gd name="T9" fmla="*/ 0 h 47"/>
              <a:gd name="T10" fmla="*/ 46 w 52"/>
              <a:gd name="T11" fmla="*/ 0 h 47"/>
              <a:gd name="T12" fmla="*/ 52 w 52"/>
              <a:gd name="T13" fmla="*/ 6 h 47"/>
              <a:gd name="T14" fmla="*/ 52 w 52"/>
              <a:gd name="T15" fmla="*/ 41 h 47"/>
              <a:gd name="T16" fmla="*/ 46 w 52"/>
              <a:gd name="T17" fmla="*/ 47 h 47"/>
              <a:gd name="T18" fmla="*/ 13 w 52"/>
              <a:gd name="T19" fmla="*/ 35 h 47"/>
              <a:gd name="T20" fmla="*/ 40 w 52"/>
              <a:gd name="T21" fmla="*/ 35 h 47"/>
              <a:gd name="T22" fmla="*/ 40 w 52"/>
              <a:gd name="T23" fmla="*/ 12 h 47"/>
              <a:gd name="T24" fmla="*/ 13 w 52"/>
              <a:gd name="T25" fmla="*/ 12 h 47"/>
              <a:gd name="T26" fmla="*/ 13 w 52"/>
              <a:gd name="T27" fmla="*/ 35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2" h="47">
                <a:moveTo>
                  <a:pt x="46" y="47"/>
                </a:moveTo>
                <a:cubicBezTo>
                  <a:pt x="7" y="47"/>
                  <a:pt x="7" y="47"/>
                  <a:pt x="7" y="47"/>
                </a:cubicBezTo>
                <a:cubicBezTo>
                  <a:pt x="3" y="47"/>
                  <a:pt x="0" y="44"/>
                  <a:pt x="0" y="41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9" y="0"/>
                  <a:pt x="52" y="3"/>
                  <a:pt x="52" y="6"/>
                </a:cubicBezTo>
                <a:cubicBezTo>
                  <a:pt x="52" y="41"/>
                  <a:pt x="52" y="41"/>
                  <a:pt x="52" y="41"/>
                </a:cubicBezTo>
                <a:cubicBezTo>
                  <a:pt x="52" y="44"/>
                  <a:pt x="49" y="47"/>
                  <a:pt x="46" y="47"/>
                </a:cubicBezTo>
                <a:close/>
                <a:moveTo>
                  <a:pt x="13" y="35"/>
                </a:moveTo>
                <a:cubicBezTo>
                  <a:pt x="40" y="35"/>
                  <a:pt x="40" y="35"/>
                  <a:pt x="40" y="35"/>
                </a:cubicBezTo>
                <a:cubicBezTo>
                  <a:pt x="40" y="12"/>
                  <a:pt x="40" y="12"/>
                  <a:pt x="40" y="12"/>
                </a:cubicBezTo>
                <a:cubicBezTo>
                  <a:pt x="13" y="12"/>
                  <a:pt x="13" y="12"/>
                  <a:pt x="13" y="12"/>
                </a:cubicBezTo>
                <a:lnTo>
                  <a:pt x="13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9" name="Freeform 775">
            <a:extLst>
              <a:ext uri="{FF2B5EF4-FFF2-40B4-BE49-F238E27FC236}">
                <a16:creationId xmlns:a16="http://schemas.microsoft.com/office/drawing/2014/main" id="{2CBD716E-596D-55D7-C110-9DF09E65156A}"/>
              </a:ext>
            </a:extLst>
          </p:cNvPr>
          <p:cNvSpPr>
            <a:spLocks noEditPoints="1"/>
          </p:cNvSpPr>
          <p:nvPr/>
        </p:nvSpPr>
        <p:spPr bwMode="auto">
          <a:xfrm>
            <a:off x="10915378" y="1839387"/>
            <a:ext cx="46697" cy="66711"/>
          </a:xfrm>
          <a:custGeom>
            <a:avLst/>
            <a:gdLst>
              <a:gd name="T0" fmla="*/ 45 w 51"/>
              <a:gd name="T1" fmla="*/ 71 h 71"/>
              <a:gd name="T2" fmla="*/ 6 w 51"/>
              <a:gd name="T3" fmla="*/ 71 h 71"/>
              <a:gd name="T4" fmla="*/ 0 w 51"/>
              <a:gd name="T5" fmla="*/ 65 h 71"/>
              <a:gd name="T6" fmla="*/ 0 w 51"/>
              <a:gd name="T7" fmla="*/ 6 h 71"/>
              <a:gd name="T8" fmla="*/ 6 w 51"/>
              <a:gd name="T9" fmla="*/ 0 h 71"/>
              <a:gd name="T10" fmla="*/ 45 w 51"/>
              <a:gd name="T11" fmla="*/ 0 h 71"/>
              <a:gd name="T12" fmla="*/ 51 w 51"/>
              <a:gd name="T13" fmla="*/ 6 h 71"/>
              <a:gd name="T14" fmla="*/ 51 w 51"/>
              <a:gd name="T15" fmla="*/ 65 h 71"/>
              <a:gd name="T16" fmla="*/ 45 w 51"/>
              <a:gd name="T17" fmla="*/ 71 h 71"/>
              <a:gd name="T18" fmla="*/ 12 w 51"/>
              <a:gd name="T19" fmla="*/ 59 h 71"/>
              <a:gd name="T20" fmla="*/ 39 w 51"/>
              <a:gd name="T21" fmla="*/ 59 h 71"/>
              <a:gd name="T22" fmla="*/ 39 w 51"/>
              <a:gd name="T23" fmla="*/ 13 h 71"/>
              <a:gd name="T24" fmla="*/ 12 w 51"/>
              <a:gd name="T25" fmla="*/ 13 h 71"/>
              <a:gd name="T26" fmla="*/ 12 w 51"/>
              <a:gd name="T27" fmla="*/ 59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" h="71">
                <a:moveTo>
                  <a:pt x="45" y="71"/>
                </a:moveTo>
                <a:cubicBezTo>
                  <a:pt x="6" y="71"/>
                  <a:pt x="6" y="71"/>
                  <a:pt x="6" y="71"/>
                </a:cubicBezTo>
                <a:cubicBezTo>
                  <a:pt x="2" y="71"/>
                  <a:pt x="0" y="68"/>
                  <a:pt x="0" y="6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8" y="0"/>
                  <a:pt x="51" y="3"/>
                  <a:pt x="51" y="6"/>
                </a:cubicBezTo>
                <a:cubicBezTo>
                  <a:pt x="51" y="65"/>
                  <a:pt x="51" y="65"/>
                  <a:pt x="51" y="65"/>
                </a:cubicBezTo>
                <a:cubicBezTo>
                  <a:pt x="51" y="68"/>
                  <a:pt x="48" y="71"/>
                  <a:pt x="45" y="71"/>
                </a:cubicBezTo>
                <a:close/>
                <a:moveTo>
                  <a:pt x="12" y="59"/>
                </a:moveTo>
                <a:cubicBezTo>
                  <a:pt x="39" y="59"/>
                  <a:pt x="39" y="59"/>
                  <a:pt x="39" y="59"/>
                </a:cubicBezTo>
                <a:cubicBezTo>
                  <a:pt x="39" y="13"/>
                  <a:pt x="39" y="13"/>
                  <a:pt x="39" y="13"/>
                </a:cubicBezTo>
                <a:cubicBezTo>
                  <a:pt x="12" y="13"/>
                  <a:pt x="12" y="13"/>
                  <a:pt x="12" y="13"/>
                </a:cubicBezTo>
                <a:lnTo>
                  <a:pt x="12" y="5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40" name="Freeform 776">
            <a:extLst>
              <a:ext uri="{FF2B5EF4-FFF2-40B4-BE49-F238E27FC236}">
                <a16:creationId xmlns:a16="http://schemas.microsoft.com/office/drawing/2014/main" id="{536A0A2F-5F32-15B0-6721-A43517ECC71A}"/>
              </a:ext>
            </a:extLst>
          </p:cNvPr>
          <p:cNvSpPr>
            <a:spLocks noEditPoints="1"/>
          </p:cNvSpPr>
          <p:nvPr/>
        </p:nvSpPr>
        <p:spPr bwMode="auto">
          <a:xfrm>
            <a:off x="10952066" y="1819373"/>
            <a:ext cx="46697" cy="86724"/>
          </a:xfrm>
          <a:custGeom>
            <a:avLst/>
            <a:gdLst>
              <a:gd name="T0" fmla="*/ 45 w 51"/>
              <a:gd name="T1" fmla="*/ 94 h 94"/>
              <a:gd name="T2" fmla="*/ 6 w 51"/>
              <a:gd name="T3" fmla="*/ 94 h 94"/>
              <a:gd name="T4" fmla="*/ 0 w 51"/>
              <a:gd name="T5" fmla="*/ 88 h 94"/>
              <a:gd name="T6" fmla="*/ 0 w 51"/>
              <a:gd name="T7" fmla="*/ 6 h 94"/>
              <a:gd name="T8" fmla="*/ 6 w 51"/>
              <a:gd name="T9" fmla="*/ 0 h 94"/>
              <a:gd name="T10" fmla="*/ 45 w 51"/>
              <a:gd name="T11" fmla="*/ 0 h 94"/>
              <a:gd name="T12" fmla="*/ 51 w 51"/>
              <a:gd name="T13" fmla="*/ 6 h 94"/>
              <a:gd name="T14" fmla="*/ 51 w 51"/>
              <a:gd name="T15" fmla="*/ 88 h 94"/>
              <a:gd name="T16" fmla="*/ 45 w 51"/>
              <a:gd name="T17" fmla="*/ 94 h 94"/>
              <a:gd name="T18" fmla="*/ 12 w 51"/>
              <a:gd name="T19" fmla="*/ 82 h 94"/>
              <a:gd name="T20" fmla="*/ 39 w 51"/>
              <a:gd name="T21" fmla="*/ 82 h 94"/>
              <a:gd name="T22" fmla="*/ 39 w 51"/>
              <a:gd name="T23" fmla="*/ 12 h 94"/>
              <a:gd name="T24" fmla="*/ 12 w 51"/>
              <a:gd name="T25" fmla="*/ 12 h 94"/>
              <a:gd name="T26" fmla="*/ 12 w 51"/>
              <a:gd name="T27" fmla="*/ 82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" h="94">
                <a:moveTo>
                  <a:pt x="45" y="94"/>
                </a:moveTo>
                <a:cubicBezTo>
                  <a:pt x="6" y="94"/>
                  <a:pt x="6" y="94"/>
                  <a:pt x="6" y="94"/>
                </a:cubicBezTo>
                <a:cubicBezTo>
                  <a:pt x="2" y="94"/>
                  <a:pt x="0" y="91"/>
                  <a:pt x="0" y="8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8" y="0"/>
                  <a:pt x="51" y="3"/>
                  <a:pt x="51" y="6"/>
                </a:cubicBezTo>
                <a:cubicBezTo>
                  <a:pt x="51" y="88"/>
                  <a:pt x="51" y="88"/>
                  <a:pt x="51" y="88"/>
                </a:cubicBezTo>
                <a:cubicBezTo>
                  <a:pt x="51" y="91"/>
                  <a:pt x="48" y="94"/>
                  <a:pt x="45" y="94"/>
                </a:cubicBezTo>
                <a:close/>
                <a:moveTo>
                  <a:pt x="12" y="82"/>
                </a:moveTo>
                <a:cubicBezTo>
                  <a:pt x="39" y="82"/>
                  <a:pt x="39" y="82"/>
                  <a:pt x="39" y="82"/>
                </a:cubicBezTo>
                <a:cubicBezTo>
                  <a:pt x="39" y="12"/>
                  <a:pt x="39" y="12"/>
                  <a:pt x="39" y="12"/>
                </a:cubicBezTo>
                <a:cubicBezTo>
                  <a:pt x="12" y="12"/>
                  <a:pt x="12" y="12"/>
                  <a:pt x="12" y="12"/>
                </a:cubicBezTo>
                <a:lnTo>
                  <a:pt x="12" y="8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</p:spTree>
    <p:extLst>
      <p:ext uri="{BB962C8B-B14F-4D97-AF65-F5344CB8AC3E}">
        <p14:creationId xmlns:p14="http://schemas.microsoft.com/office/powerpoint/2010/main" val="353361009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2C4A6-F746-BD1A-212D-CE330199E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6A5AECD-BC17-9B58-21FA-36A41451A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A5AECD-BC17-9B58-21FA-36A41451A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3E7AC72-98B3-D306-FC7B-762A4C8A32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90CFD6D-0A09-13C8-0A12-7E406A817A7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7" name="Shape1_20220715_152516">
            <a:extLst>
              <a:ext uri="{FF2B5EF4-FFF2-40B4-BE49-F238E27FC236}">
                <a16:creationId xmlns:a16="http://schemas.microsoft.com/office/drawing/2014/main" id="{914FAE28-ABFE-DE1C-63ED-2738C3BE570B}"/>
              </a:ext>
            </a:extLst>
          </p:cNvPr>
          <p:cNvSpPr/>
          <p:nvPr/>
        </p:nvSpPr>
        <p:spPr>
          <a:xfrm>
            <a:off x="550226" y="1591386"/>
            <a:ext cx="6706701" cy="1961090"/>
          </a:xfrm>
          <a:prstGeom prst="rect">
            <a:avLst/>
          </a:prstGeom>
          <a:solidFill>
            <a:srgbClr val="FFFFFF"/>
          </a:solidFill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Shape0_20220715_152516">
            <a:extLst>
              <a:ext uri="{FF2B5EF4-FFF2-40B4-BE49-F238E27FC236}">
                <a16:creationId xmlns:a16="http://schemas.microsoft.com/office/drawing/2014/main" id="{3A6FFCFD-B163-92DB-C682-F431499DED8D}"/>
              </a:ext>
            </a:extLst>
          </p:cNvPr>
          <p:cNvSpPr/>
          <p:nvPr/>
        </p:nvSpPr>
        <p:spPr>
          <a:xfrm>
            <a:off x="7413863" y="1591386"/>
            <a:ext cx="4274178" cy="1961090"/>
          </a:xfrm>
          <a:prstGeom prst="rect">
            <a:avLst/>
          </a:prstGeom>
          <a:solidFill>
            <a:srgbClr val="FFFFFF"/>
          </a:solidFill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9" name="Shape0_20220516_185614">
            <a:extLst>
              <a:ext uri="{FF2B5EF4-FFF2-40B4-BE49-F238E27FC236}">
                <a16:creationId xmlns:a16="http://schemas.microsoft.com/office/drawing/2014/main" id="{BB813597-1A8E-5B61-410E-4520FCEB0B8A}"/>
              </a:ext>
            </a:extLst>
          </p:cNvPr>
          <p:cNvSpPr/>
          <p:nvPr/>
        </p:nvSpPr>
        <p:spPr>
          <a:xfrm>
            <a:off x="550226" y="1196446"/>
            <a:ext cx="6706701" cy="40281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ts val="1800"/>
              <a:buFontTx/>
              <a:buNone/>
              <a:tabLst/>
              <a:defRPr/>
            </a:pPr>
            <a:r>
              <a:rPr kumimoji="0" lang="en-US" sz="153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53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0" name="Shape1_20220516_185614">
            <a:extLst>
              <a:ext uri="{FF2B5EF4-FFF2-40B4-BE49-F238E27FC236}">
                <a16:creationId xmlns:a16="http://schemas.microsoft.com/office/drawing/2014/main" id="{1582D8C5-AC2F-0C33-BED4-374C488A1610}"/>
              </a:ext>
            </a:extLst>
          </p:cNvPr>
          <p:cNvSpPr/>
          <p:nvPr/>
        </p:nvSpPr>
        <p:spPr>
          <a:xfrm>
            <a:off x="7413863" y="1196446"/>
            <a:ext cx="4274178" cy="40281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ts val="1800"/>
              <a:buFontTx/>
              <a:buNone/>
              <a:tabLst/>
              <a:defRPr/>
            </a:pPr>
            <a:r>
              <a:rPr kumimoji="0" lang="en-US" sz="153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53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aphicFrame>
        <p:nvGraphicFramePr>
          <p:cNvPr id="61" name="Shape1_20210204_150637">
            <a:extLst>
              <a:ext uri="{FF2B5EF4-FFF2-40B4-BE49-F238E27FC236}">
                <a16:creationId xmlns:a16="http://schemas.microsoft.com/office/drawing/2014/main" id="{7996E2AE-F2FF-F462-5F62-000932A606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7386194"/>
              </p:ext>
            </p:extLst>
          </p:nvPr>
        </p:nvGraphicFramePr>
        <p:xfrm>
          <a:off x="580006" y="1666291"/>
          <a:ext cx="6573837" cy="1811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2" name="Google Shape;1760;p42">
            <a:extLst>
              <a:ext uri="{FF2B5EF4-FFF2-40B4-BE49-F238E27FC236}">
                <a16:creationId xmlns:a16="http://schemas.microsoft.com/office/drawing/2014/main" id="{A42257C6-6ADB-39C3-A56D-F9A439D7829C}"/>
              </a:ext>
            </a:extLst>
          </p:cNvPr>
          <p:cNvSpPr/>
          <p:nvPr/>
        </p:nvSpPr>
        <p:spPr>
          <a:xfrm>
            <a:off x="8440559" y="2638065"/>
            <a:ext cx="411504" cy="670679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A1E28"/>
          </a:solidFill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3" name="Google Shape;1761;p42">
            <a:extLst>
              <a:ext uri="{FF2B5EF4-FFF2-40B4-BE49-F238E27FC236}">
                <a16:creationId xmlns:a16="http://schemas.microsoft.com/office/drawing/2014/main" id="{5A369A0D-49CE-94F3-09C1-380AF54193F5}"/>
              </a:ext>
            </a:extLst>
          </p:cNvPr>
          <p:cNvSpPr/>
          <p:nvPr/>
        </p:nvSpPr>
        <p:spPr>
          <a:xfrm rot="10800000" flipH="1">
            <a:off x="8440559" y="1873661"/>
            <a:ext cx="411504" cy="670679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24A148"/>
          </a:solidFill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4" name="Shape0_20220502_112004">
            <a:extLst>
              <a:ext uri="{FF2B5EF4-FFF2-40B4-BE49-F238E27FC236}">
                <a16:creationId xmlns:a16="http://schemas.microsoft.com/office/drawing/2014/main" id="{2B1F46AF-CDC8-4346-683E-3E8EE0027231}"/>
              </a:ext>
            </a:extLst>
          </p:cNvPr>
          <p:cNvSpPr txBox="1">
            <a:spLocks/>
          </p:cNvSpPr>
          <p:nvPr/>
        </p:nvSpPr>
        <p:spPr>
          <a:xfrm>
            <a:off x="7479364" y="2085910"/>
            <a:ext cx="943656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sert Text Here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5" name="Shape1_20220502_112004">
            <a:extLst>
              <a:ext uri="{FF2B5EF4-FFF2-40B4-BE49-F238E27FC236}">
                <a16:creationId xmlns:a16="http://schemas.microsoft.com/office/drawing/2014/main" id="{29A199CB-95CD-560D-8757-DC4D28BB9B0D}"/>
              </a:ext>
            </a:extLst>
          </p:cNvPr>
          <p:cNvSpPr txBox="1">
            <a:spLocks/>
          </p:cNvSpPr>
          <p:nvPr/>
        </p:nvSpPr>
        <p:spPr>
          <a:xfrm>
            <a:off x="7479364" y="1770827"/>
            <a:ext cx="943656" cy="269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364" rIns="0" bIns="44364" anchor="b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%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6" name="Shape2_20220502_112004">
            <a:extLst>
              <a:ext uri="{FF2B5EF4-FFF2-40B4-BE49-F238E27FC236}">
                <a16:creationId xmlns:a16="http://schemas.microsoft.com/office/drawing/2014/main" id="{F3880429-229C-B3D6-D88A-F7F78E0DFD75}"/>
              </a:ext>
            </a:extLst>
          </p:cNvPr>
          <p:cNvSpPr txBox="1">
            <a:spLocks/>
          </p:cNvSpPr>
          <p:nvPr/>
        </p:nvSpPr>
        <p:spPr>
          <a:xfrm>
            <a:off x="7479364" y="3132808"/>
            <a:ext cx="943656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sert Text Here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7" name="Shape3_20220502_112004">
            <a:extLst>
              <a:ext uri="{FF2B5EF4-FFF2-40B4-BE49-F238E27FC236}">
                <a16:creationId xmlns:a16="http://schemas.microsoft.com/office/drawing/2014/main" id="{7AB58316-A5A7-2D80-D409-C9B246799882}"/>
              </a:ext>
            </a:extLst>
          </p:cNvPr>
          <p:cNvSpPr txBox="1">
            <a:spLocks/>
          </p:cNvSpPr>
          <p:nvPr/>
        </p:nvSpPr>
        <p:spPr>
          <a:xfrm>
            <a:off x="7479364" y="2817725"/>
            <a:ext cx="943656" cy="269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364" rIns="0" bIns="44364" anchor="b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%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8" name="Shape2_20220715_152516">
            <a:extLst>
              <a:ext uri="{FF2B5EF4-FFF2-40B4-BE49-F238E27FC236}">
                <a16:creationId xmlns:a16="http://schemas.microsoft.com/office/drawing/2014/main" id="{87FF3E87-6E4D-A655-2804-E94F2AF1BE1B}"/>
              </a:ext>
            </a:extLst>
          </p:cNvPr>
          <p:cNvSpPr/>
          <p:nvPr/>
        </p:nvSpPr>
        <p:spPr>
          <a:xfrm>
            <a:off x="550235" y="4075842"/>
            <a:ext cx="11144184" cy="1675904"/>
          </a:xfrm>
          <a:prstGeom prst="rect">
            <a:avLst/>
          </a:prstGeom>
          <a:solidFill>
            <a:srgbClr val="FFFFFF"/>
          </a:solidFill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9" name="Shape2_20220516_185614">
            <a:extLst>
              <a:ext uri="{FF2B5EF4-FFF2-40B4-BE49-F238E27FC236}">
                <a16:creationId xmlns:a16="http://schemas.microsoft.com/office/drawing/2014/main" id="{28830090-C9E9-DB30-77A1-FF7E09F7200B}"/>
              </a:ext>
            </a:extLst>
          </p:cNvPr>
          <p:cNvSpPr/>
          <p:nvPr/>
        </p:nvSpPr>
        <p:spPr>
          <a:xfrm>
            <a:off x="550235" y="3680901"/>
            <a:ext cx="11144184" cy="402813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ts val="1800"/>
              <a:buFontTx/>
              <a:buNone/>
              <a:tabLst/>
              <a:defRPr/>
            </a:pPr>
            <a:r>
              <a:rPr kumimoji="0" lang="en-US" sz="117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0" name="Google Shape;1721;p42">
            <a:extLst>
              <a:ext uri="{FF2B5EF4-FFF2-40B4-BE49-F238E27FC236}">
                <a16:creationId xmlns:a16="http://schemas.microsoft.com/office/drawing/2014/main" id="{71626A15-30FB-59BD-758F-A11F7F881956}"/>
              </a:ext>
            </a:extLst>
          </p:cNvPr>
          <p:cNvSpPr/>
          <p:nvPr/>
        </p:nvSpPr>
        <p:spPr>
          <a:xfrm>
            <a:off x="550235" y="4081560"/>
            <a:ext cx="11144184" cy="402813"/>
          </a:xfrm>
          <a:prstGeom prst="rect">
            <a:avLst/>
          </a:prstGeom>
          <a:solidFill>
            <a:srgbClr val="E0E0E0">
              <a:alpha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887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71" name="Shape2_20210204_150637">
            <a:extLst>
              <a:ext uri="{FF2B5EF4-FFF2-40B4-BE49-F238E27FC236}">
                <a16:creationId xmlns:a16="http://schemas.microsoft.com/office/drawing/2014/main" id="{D263DC17-2116-EA2F-6C2E-910A6EF7A0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620151"/>
              </p:ext>
            </p:extLst>
          </p:nvPr>
        </p:nvGraphicFramePr>
        <p:xfrm>
          <a:off x="9233180" y="4492264"/>
          <a:ext cx="2445470" cy="402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2" name="Shape4_20210204_150637">
            <a:extLst>
              <a:ext uri="{FF2B5EF4-FFF2-40B4-BE49-F238E27FC236}">
                <a16:creationId xmlns:a16="http://schemas.microsoft.com/office/drawing/2014/main" id="{4057AF43-5A71-91AF-8BD4-8D35F8DCC5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4269422"/>
              </p:ext>
            </p:extLst>
          </p:nvPr>
        </p:nvGraphicFramePr>
        <p:xfrm>
          <a:off x="9233180" y="5178777"/>
          <a:ext cx="2445470" cy="402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3" name="Shape1_20220526_175303">
            <a:extLst>
              <a:ext uri="{FF2B5EF4-FFF2-40B4-BE49-F238E27FC236}">
                <a16:creationId xmlns:a16="http://schemas.microsoft.com/office/drawing/2014/main" id="{FD2C3018-D47C-9B4A-8243-05CF01426DB4}"/>
              </a:ext>
            </a:extLst>
          </p:cNvPr>
          <p:cNvSpPr txBox="1"/>
          <p:nvPr/>
        </p:nvSpPr>
        <p:spPr>
          <a:xfrm>
            <a:off x="550234" y="4171046"/>
            <a:ext cx="1487731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4" name="Shape2_20220526_175303">
            <a:extLst>
              <a:ext uri="{FF2B5EF4-FFF2-40B4-BE49-F238E27FC236}">
                <a16:creationId xmlns:a16="http://schemas.microsoft.com/office/drawing/2014/main" id="{B5657F07-EA1D-12EA-3BAC-52F00F1DF98C}"/>
              </a:ext>
            </a:extLst>
          </p:cNvPr>
          <p:cNvSpPr txBox="1"/>
          <p:nvPr/>
        </p:nvSpPr>
        <p:spPr>
          <a:xfrm>
            <a:off x="2267244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5" name="Shape3_20220526_175303">
            <a:extLst>
              <a:ext uri="{FF2B5EF4-FFF2-40B4-BE49-F238E27FC236}">
                <a16:creationId xmlns:a16="http://schemas.microsoft.com/office/drawing/2014/main" id="{74D698FA-5D5C-B15E-5717-FFE8D9C6A645}"/>
              </a:ext>
            </a:extLst>
          </p:cNvPr>
          <p:cNvSpPr txBox="1"/>
          <p:nvPr/>
        </p:nvSpPr>
        <p:spPr>
          <a:xfrm>
            <a:off x="3648727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6" name="Shape0_20220526_175303">
            <a:extLst>
              <a:ext uri="{FF2B5EF4-FFF2-40B4-BE49-F238E27FC236}">
                <a16:creationId xmlns:a16="http://schemas.microsoft.com/office/drawing/2014/main" id="{6E033E62-3BD1-AF8F-C06C-F668F8B8A38C}"/>
              </a:ext>
            </a:extLst>
          </p:cNvPr>
          <p:cNvSpPr txBox="1"/>
          <p:nvPr/>
        </p:nvSpPr>
        <p:spPr>
          <a:xfrm>
            <a:off x="5030212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7" name="Shape4_20220526_175303">
            <a:extLst>
              <a:ext uri="{FF2B5EF4-FFF2-40B4-BE49-F238E27FC236}">
                <a16:creationId xmlns:a16="http://schemas.microsoft.com/office/drawing/2014/main" id="{0838704E-EA5E-7AA2-3F6D-3A062B69ADD6}"/>
              </a:ext>
            </a:extLst>
          </p:cNvPr>
          <p:cNvSpPr txBox="1"/>
          <p:nvPr/>
        </p:nvSpPr>
        <p:spPr>
          <a:xfrm>
            <a:off x="6411695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8" name="Shape5_20220526_175303">
            <a:extLst>
              <a:ext uri="{FF2B5EF4-FFF2-40B4-BE49-F238E27FC236}">
                <a16:creationId xmlns:a16="http://schemas.microsoft.com/office/drawing/2014/main" id="{F61521D0-41C3-24AB-43D7-227C1E01904B}"/>
              </a:ext>
            </a:extLst>
          </p:cNvPr>
          <p:cNvSpPr txBox="1"/>
          <p:nvPr/>
        </p:nvSpPr>
        <p:spPr>
          <a:xfrm>
            <a:off x="7793179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9" name="Shape6_20220526_175303">
            <a:extLst>
              <a:ext uri="{FF2B5EF4-FFF2-40B4-BE49-F238E27FC236}">
                <a16:creationId xmlns:a16="http://schemas.microsoft.com/office/drawing/2014/main" id="{2705BFAC-BBCD-AE36-583B-EA59A2BF9801}"/>
              </a:ext>
            </a:extLst>
          </p:cNvPr>
          <p:cNvSpPr txBox="1"/>
          <p:nvPr/>
        </p:nvSpPr>
        <p:spPr>
          <a:xfrm>
            <a:off x="9263910" y="4171045"/>
            <a:ext cx="2338962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364" rIns="88752" bIns="44364" anchor="ctr" anchorCtr="0">
            <a:sp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0" name="Shape11_20220502_112004">
            <a:extLst>
              <a:ext uri="{FF2B5EF4-FFF2-40B4-BE49-F238E27FC236}">
                <a16:creationId xmlns:a16="http://schemas.microsoft.com/office/drawing/2014/main" id="{18B540C5-93C6-E0F7-9CAA-1FD82B10999D}"/>
              </a:ext>
            </a:extLst>
          </p:cNvPr>
          <p:cNvSpPr txBox="1"/>
          <p:nvPr/>
        </p:nvSpPr>
        <p:spPr>
          <a:xfrm>
            <a:off x="550234" y="4592827"/>
            <a:ext cx="1487731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sert Text Here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1" name="Shape12_20220502_112004">
            <a:extLst>
              <a:ext uri="{FF2B5EF4-FFF2-40B4-BE49-F238E27FC236}">
                <a16:creationId xmlns:a16="http://schemas.microsoft.com/office/drawing/2014/main" id="{C32211DD-A43F-3C4D-2772-48932CB5EA5F}"/>
              </a:ext>
            </a:extLst>
          </p:cNvPr>
          <p:cNvSpPr txBox="1"/>
          <p:nvPr/>
        </p:nvSpPr>
        <p:spPr>
          <a:xfrm>
            <a:off x="2267244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2" name="Shape13_20220502_112004">
            <a:extLst>
              <a:ext uri="{FF2B5EF4-FFF2-40B4-BE49-F238E27FC236}">
                <a16:creationId xmlns:a16="http://schemas.microsoft.com/office/drawing/2014/main" id="{A9023D4A-3693-2E85-12D1-C01549CFDE1B}"/>
              </a:ext>
            </a:extLst>
          </p:cNvPr>
          <p:cNvSpPr txBox="1"/>
          <p:nvPr/>
        </p:nvSpPr>
        <p:spPr>
          <a:xfrm>
            <a:off x="3648727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3" name="Shape14_20220502_112004">
            <a:extLst>
              <a:ext uri="{FF2B5EF4-FFF2-40B4-BE49-F238E27FC236}">
                <a16:creationId xmlns:a16="http://schemas.microsoft.com/office/drawing/2014/main" id="{D2F3AF64-D18A-C395-B6C6-9D67710ABF0A}"/>
              </a:ext>
            </a:extLst>
          </p:cNvPr>
          <p:cNvSpPr txBox="1"/>
          <p:nvPr/>
        </p:nvSpPr>
        <p:spPr>
          <a:xfrm>
            <a:off x="5030212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4" name="Shape15_20220502_112004">
            <a:extLst>
              <a:ext uri="{FF2B5EF4-FFF2-40B4-BE49-F238E27FC236}">
                <a16:creationId xmlns:a16="http://schemas.microsoft.com/office/drawing/2014/main" id="{455544D9-4BF6-72B2-45B7-2C91E2417CA9}"/>
              </a:ext>
            </a:extLst>
          </p:cNvPr>
          <p:cNvSpPr txBox="1"/>
          <p:nvPr/>
        </p:nvSpPr>
        <p:spPr>
          <a:xfrm>
            <a:off x="6411695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5" name="Shape16_20220502_112004">
            <a:extLst>
              <a:ext uri="{FF2B5EF4-FFF2-40B4-BE49-F238E27FC236}">
                <a16:creationId xmlns:a16="http://schemas.microsoft.com/office/drawing/2014/main" id="{CFE88E4B-9346-57B9-D624-84235EE4437F}"/>
              </a:ext>
            </a:extLst>
          </p:cNvPr>
          <p:cNvSpPr txBox="1"/>
          <p:nvPr/>
        </p:nvSpPr>
        <p:spPr>
          <a:xfrm>
            <a:off x="7793179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6" name="Shape23_20220502_112004">
            <a:extLst>
              <a:ext uri="{FF2B5EF4-FFF2-40B4-BE49-F238E27FC236}">
                <a16:creationId xmlns:a16="http://schemas.microsoft.com/office/drawing/2014/main" id="{CA0DAD74-C25D-6805-2945-F997F020C90B}"/>
              </a:ext>
            </a:extLst>
          </p:cNvPr>
          <p:cNvSpPr txBox="1"/>
          <p:nvPr/>
        </p:nvSpPr>
        <p:spPr>
          <a:xfrm>
            <a:off x="550234" y="5284121"/>
            <a:ext cx="1487731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sert Text Here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7" name="Shape24_20220502_112004">
            <a:extLst>
              <a:ext uri="{FF2B5EF4-FFF2-40B4-BE49-F238E27FC236}">
                <a16:creationId xmlns:a16="http://schemas.microsoft.com/office/drawing/2014/main" id="{2FCD9F12-9782-08C8-2D5C-2F71718F06E9}"/>
              </a:ext>
            </a:extLst>
          </p:cNvPr>
          <p:cNvSpPr txBox="1"/>
          <p:nvPr/>
        </p:nvSpPr>
        <p:spPr>
          <a:xfrm>
            <a:off x="2267244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8" name="Shape25_20220502_112004">
            <a:extLst>
              <a:ext uri="{FF2B5EF4-FFF2-40B4-BE49-F238E27FC236}">
                <a16:creationId xmlns:a16="http://schemas.microsoft.com/office/drawing/2014/main" id="{0095AC71-B744-3BA6-26A7-42A313ECAE57}"/>
              </a:ext>
            </a:extLst>
          </p:cNvPr>
          <p:cNvSpPr txBox="1"/>
          <p:nvPr/>
        </p:nvSpPr>
        <p:spPr>
          <a:xfrm>
            <a:off x="3648727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9" name="Shape26_20220502_112004">
            <a:extLst>
              <a:ext uri="{FF2B5EF4-FFF2-40B4-BE49-F238E27FC236}">
                <a16:creationId xmlns:a16="http://schemas.microsoft.com/office/drawing/2014/main" id="{28052B41-2DB2-5E27-884D-190CE308E9E5}"/>
              </a:ext>
            </a:extLst>
          </p:cNvPr>
          <p:cNvSpPr txBox="1"/>
          <p:nvPr/>
        </p:nvSpPr>
        <p:spPr>
          <a:xfrm>
            <a:off x="5030212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0" name="Shape27_20220502_112004">
            <a:extLst>
              <a:ext uri="{FF2B5EF4-FFF2-40B4-BE49-F238E27FC236}">
                <a16:creationId xmlns:a16="http://schemas.microsoft.com/office/drawing/2014/main" id="{3456A8EA-861D-B586-82D8-71D6F7C76DFE}"/>
              </a:ext>
            </a:extLst>
          </p:cNvPr>
          <p:cNvSpPr txBox="1"/>
          <p:nvPr/>
        </p:nvSpPr>
        <p:spPr>
          <a:xfrm>
            <a:off x="6411695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1" name="Shape28_20220502_112004">
            <a:extLst>
              <a:ext uri="{FF2B5EF4-FFF2-40B4-BE49-F238E27FC236}">
                <a16:creationId xmlns:a16="http://schemas.microsoft.com/office/drawing/2014/main" id="{77E4F3C8-CE82-3B5B-D444-612220C5E47D}"/>
              </a:ext>
            </a:extLst>
          </p:cNvPr>
          <p:cNvSpPr txBox="1"/>
          <p:nvPr/>
        </p:nvSpPr>
        <p:spPr>
          <a:xfrm>
            <a:off x="7793179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92" name="Shape3_20220715_152509">
            <a:extLst>
              <a:ext uri="{FF2B5EF4-FFF2-40B4-BE49-F238E27FC236}">
                <a16:creationId xmlns:a16="http://schemas.microsoft.com/office/drawing/2014/main" id="{CAE3287D-C7AE-2F31-ED85-B285DA87F1BA}"/>
              </a:ext>
            </a:extLst>
          </p:cNvPr>
          <p:cNvCxnSpPr/>
          <p:nvPr/>
        </p:nvCxnSpPr>
        <p:spPr>
          <a:xfrm>
            <a:off x="2152599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3" name="Shape4_20220715_152509">
            <a:extLst>
              <a:ext uri="{FF2B5EF4-FFF2-40B4-BE49-F238E27FC236}">
                <a16:creationId xmlns:a16="http://schemas.microsoft.com/office/drawing/2014/main" id="{44740AF5-4F4A-26C2-6D45-BEDE3859AD6D}"/>
              </a:ext>
            </a:extLst>
          </p:cNvPr>
          <p:cNvCxnSpPr/>
          <p:nvPr/>
        </p:nvCxnSpPr>
        <p:spPr>
          <a:xfrm>
            <a:off x="3534082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4" name="Shape5_20220715_152509">
            <a:extLst>
              <a:ext uri="{FF2B5EF4-FFF2-40B4-BE49-F238E27FC236}">
                <a16:creationId xmlns:a16="http://schemas.microsoft.com/office/drawing/2014/main" id="{D094B16F-8B09-3253-1477-0744B485A4EC}"/>
              </a:ext>
            </a:extLst>
          </p:cNvPr>
          <p:cNvCxnSpPr/>
          <p:nvPr/>
        </p:nvCxnSpPr>
        <p:spPr>
          <a:xfrm>
            <a:off x="4915565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5" name="Shape6_20220715_152509">
            <a:extLst>
              <a:ext uri="{FF2B5EF4-FFF2-40B4-BE49-F238E27FC236}">
                <a16:creationId xmlns:a16="http://schemas.microsoft.com/office/drawing/2014/main" id="{713019F1-55F0-12BE-6D06-188925950EAF}"/>
              </a:ext>
            </a:extLst>
          </p:cNvPr>
          <p:cNvCxnSpPr/>
          <p:nvPr/>
        </p:nvCxnSpPr>
        <p:spPr>
          <a:xfrm>
            <a:off x="6297051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6" name="Shape7_20220715_152509">
            <a:extLst>
              <a:ext uri="{FF2B5EF4-FFF2-40B4-BE49-F238E27FC236}">
                <a16:creationId xmlns:a16="http://schemas.microsoft.com/office/drawing/2014/main" id="{F021FCF9-F314-9956-F122-05065367B48D}"/>
              </a:ext>
            </a:extLst>
          </p:cNvPr>
          <p:cNvCxnSpPr/>
          <p:nvPr/>
        </p:nvCxnSpPr>
        <p:spPr>
          <a:xfrm>
            <a:off x="7678537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7" name="Shape0_20220715_152509">
            <a:extLst>
              <a:ext uri="{FF2B5EF4-FFF2-40B4-BE49-F238E27FC236}">
                <a16:creationId xmlns:a16="http://schemas.microsoft.com/office/drawing/2014/main" id="{0B3C0D80-55A5-36ED-1797-5C3E92B906BA}"/>
              </a:ext>
            </a:extLst>
          </p:cNvPr>
          <p:cNvCxnSpPr/>
          <p:nvPr/>
        </p:nvCxnSpPr>
        <p:spPr>
          <a:xfrm>
            <a:off x="9060015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" name="Shape3_20220502_105029">
            <a:extLst>
              <a:ext uri="{FF2B5EF4-FFF2-40B4-BE49-F238E27FC236}">
                <a16:creationId xmlns:a16="http://schemas.microsoft.com/office/drawing/2014/main" id="{D6B901D3-DAE4-E68E-D51F-54BDE2246BF7}"/>
              </a:ext>
            </a:extLst>
          </p:cNvPr>
          <p:cNvSpPr txBox="1"/>
          <p:nvPr/>
        </p:nvSpPr>
        <p:spPr>
          <a:xfrm>
            <a:off x="10030998" y="4635442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9" name="Google Shape;1767;p42">
            <a:extLst>
              <a:ext uri="{FF2B5EF4-FFF2-40B4-BE49-F238E27FC236}">
                <a16:creationId xmlns:a16="http://schemas.microsoft.com/office/drawing/2014/main" id="{1AB0E070-7E75-3B64-425E-8E98CD75B133}"/>
              </a:ext>
            </a:extLst>
          </p:cNvPr>
          <p:cNvSpPr txBox="1"/>
          <p:nvPr/>
        </p:nvSpPr>
        <p:spPr>
          <a:xfrm>
            <a:off x="10929433" y="4635442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0" name="Shape5_20220502_105029">
            <a:extLst>
              <a:ext uri="{FF2B5EF4-FFF2-40B4-BE49-F238E27FC236}">
                <a16:creationId xmlns:a16="http://schemas.microsoft.com/office/drawing/2014/main" id="{9F7EABE9-256B-855E-5C2F-039ECD433436}"/>
              </a:ext>
            </a:extLst>
          </p:cNvPr>
          <p:cNvSpPr txBox="1"/>
          <p:nvPr/>
        </p:nvSpPr>
        <p:spPr>
          <a:xfrm>
            <a:off x="10250501" y="5321955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1" name="Google Shape;1771;p42">
            <a:extLst>
              <a:ext uri="{FF2B5EF4-FFF2-40B4-BE49-F238E27FC236}">
                <a16:creationId xmlns:a16="http://schemas.microsoft.com/office/drawing/2014/main" id="{F62897C0-8504-DC30-C3A2-5E579E8ED801}"/>
              </a:ext>
            </a:extLst>
          </p:cNvPr>
          <p:cNvSpPr txBox="1"/>
          <p:nvPr/>
        </p:nvSpPr>
        <p:spPr>
          <a:xfrm>
            <a:off x="11148935" y="5321955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102" name="Shape3_20220715_152516">
            <a:extLst>
              <a:ext uri="{FF2B5EF4-FFF2-40B4-BE49-F238E27FC236}">
                <a16:creationId xmlns:a16="http://schemas.microsoft.com/office/drawing/2014/main" id="{55EB8494-9F03-3BB6-7187-46B189F5DAC4}"/>
              </a:ext>
            </a:extLst>
          </p:cNvPr>
          <p:cNvCxnSpPr/>
          <p:nvPr/>
        </p:nvCxnSpPr>
        <p:spPr>
          <a:xfrm>
            <a:off x="2152599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3" name="Shape4_20220715_152516">
            <a:extLst>
              <a:ext uri="{FF2B5EF4-FFF2-40B4-BE49-F238E27FC236}">
                <a16:creationId xmlns:a16="http://schemas.microsoft.com/office/drawing/2014/main" id="{010EE6A7-5FE4-5B6B-DCBB-158B20F1BEF6}"/>
              </a:ext>
            </a:extLst>
          </p:cNvPr>
          <p:cNvCxnSpPr/>
          <p:nvPr/>
        </p:nvCxnSpPr>
        <p:spPr>
          <a:xfrm>
            <a:off x="3534082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4" name="Shape5_20220715_152516">
            <a:extLst>
              <a:ext uri="{FF2B5EF4-FFF2-40B4-BE49-F238E27FC236}">
                <a16:creationId xmlns:a16="http://schemas.microsoft.com/office/drawing/2014/main" id="{129A2135-6EEA-07E4-7349-EF01629C211C}"/>
              </a:ext>
            </a:extLst>
          </p:cNvPr>
          <p:cNvCxnSpPr/>
          <p:nvPr/>
        </p:nvCxnSpPr>
        <p:spPr>
          <a:xfrm>
            <a:off x="4915565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5" name="Shape6_20220715_152516">
            <a:extLst>
              <a:ext uri="{FF2B5EF4-FFF2-40B4-BE49-F238E27FC236}">
                <a16:creationId xmlns:a16="http://schemas.microsoft.com/office/drawing/2014/main" id="{CEC9FEBB-4C8D-B5C2-49E6-8BB39EF4C663}"/>
              </a:ext>
            </a:extLst>
          </p:cNvPr>
          <p:cNvCxnSpPr/>
          <p:nvPr/>
        </p:nvCxnSpPr>
        <p:spPr>
          <a:xfrm>
            <a:off x="6297051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6" name="Shape7_20220715_152516">
            <a:extLst>
              <a:ext uri="{FF2B5EF4-FFF2-40B4-BE49-F238E27FC236}">
                <a16:creationId xmlns:a16="http://schemas.microsoft.com/office/drawing/2014/main" id="{09785E0D-8F57-6BD4-0632-ABD59AE72C74}"/>
              </a:ext>
            </a:extLst>
          </p:cNvPr>
          <p:cNvCxnSpPr/>
          <p:nvPr/>
        </p:nvCxnSpPr>
        <p:spPr>
          <a:xfrm>
            <a:off x="7678537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7" name="Shape8_20220715_152516">
            <a:extLst>
              <a:ext uri="{FF2B5EF4-FFF2-40B4-BE49-F238E27FC236}">
                <a16:creationId xmlns:a16="http://schemas.microsoft.com/office/drawing/2014/main" id="{5C7D5C3A-9B69-13CA-33E2-B83A162DEEC4}"/>
              </a:ext>
            </a:extLst>
          </p:cNvPr>
          <p:cNvCxnSpPr/>
          <p:nvPr/>
        </p:nvCxnSpPr>
        <p:spPr>
          <a:xfrm>
            <a:off x="9060015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graphicFrame>
        <p:nvGraphicFramePr>
          <p:cNvPr id="108" name="Shape5_20210204_150637">
            <a:extLst>
              <a:ext uri="{FF2B5EF4-FFF2-40B4-BE49-F238E27FC236}">
                <a16:creationId xmlns:a16="http://schemas.microsoft.com/office/drawing/2014/main" id="{BB1C28C1-2B4B-3AB1-CF14-D8BDFFA156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5838934"/>
              </p:ext>
            </p:extLst>
          </p:nvPr>
        </p:nvGraphicFramePr>
        <p:xfrm>
          <a:off x="8500358" y="1643896"/>
          <a:ext cx="3110346" cy="1837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512030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1D247-39E2-15D7-264E-E7A0B70822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B514987-F1D9-259F-E562-D9BB297176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514987-F1D9-259F-E562-D9BB297176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295D7AD-34D1-9DF1-E822-3925B7D4F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5627988-9CF8-B856-BB19-00540F77A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16746927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1FF780-1C02-C175-07B9-BED305C54F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3D244B2-D162-98C5-9CA5-032D281230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D244B2-D162-98C5-9CA5-032D28123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2EEA00-867A-45F3-8CB3-70EAABC90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60C546D-1CB8-B0F1-6680-D51A50334AF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0_20210618_102047">
            <a:extLst>
              <a:ext uri="{FF2B5EF4-FFF2-40B4-BE49-F238E27FC236}">
                <a16:creationId xmlns:a16="http://schemas.microsoft.com/office/drawing/2014/main" id="{04F3026A-AF17-232B-E23B-2E1446AE0D76}"/>
              </a:ext>
            </a:extLst>
          </p:cNvPr>
          <p:cNvSpPr/>
          <p:nvPr/>
        </p:nvSpPr>
        <p:spPr>
          <a:xfrm>
            <a:off x="10471680" y="1921813"/>
            <a:ext cx="667384" cy="3138743"/>
          </a:xfrm>
          <a:prstGeom prst="roundRect">
            <a:avLst>
              <a:gd name="adj" fmla="val 50000"/>
            </a:avLst>
          </a:prstGeom>
          <a:solidFill>
            <a:srgbClr val="E0E0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5" name="Shape9_20210407_155518">
            <a:extLst>
              <a:ext uri="{FF2B5EF4-FFF2-40B4-BE49-F238E27FC236}">
                <a16:creationId xmlns:a16="http://schemas.microsoft.com/office/drawing/2014/main" id="{234DC2D6-27A1-1A7F-BF99-B9C38CE1464A}"/>
              </a:ext>
            </a:extLst>
          </p:cNvPr>
          <p:cNvSpPr>
            <a:spLocks noChangeAspect="1"/>
          </p:cNvSpPr>
          <p:nvPr/>
        </p:nvSpPr>
        <p:spPr>
          <a:xfrm>
            <a:off x="10694860" y="4962769"/>
            <a:ext cx="221022" cy="195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6" name="Shape1_20210618_102047">
            <a:extLst>
              <a:ext uri="{FF2B5EF4-FFF2-40B4-BE49-F238E27FC236}">
                <a16:creationId xmlns:a16="http://schemas.microsoft.com/office/drawing/2014/main" id="{5891C8EF-1F40-FE79-B25F-66594EFC2AB4}"/>
              </a:ext>
            </a:extLst>
          </p:cNvPr>
          <p:cNvSpPr/>
          <p:nvPr/>
        </p:nvSpPr>
        <p:spPr>
          <a:xfrm>
            <a:off x="9089999" y="1921813"/>
            <a:ext cx="667384" cy="3138743"/>
          </a:xfrm>
          <a:prstGeom prst="roundRect">
            <a:avLst>
              <a:gd name="adj" fmla="val 50000"/>
            </a:avLst>
          </a:prstGeom>
          <a:solidFill>
            <a:srgbClr val="E0E0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7" name="Shape9_20210407_155518~1">
            <a:extLst>
              <a:ext uri="{FF2B5EF4-FFF2-40B4-BE49-F238E27FC236}">
                <a16:creationId xmlns:a16="http://schemas.microsoft.com/office/drawing/2014/main" id="{AA3B52E4-F427-2B94-74FB-85A5A4A73711}"/>
              </a:ext>
            </a:extLst>
          </p:cNvPr>
          <p:cNvSpPr>
            <a:spLocks noChangeAspect="1"/>
          </p:cNvSpPr>
          <p:nvPr/>
        </p:nvSpPr>
        <p:spPr>
          <a:xfrm>
            <a:off x="9313180" y="4962769"/>
            <a:ext cx="221022" cy="195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8" name="Shape2_20210618_102047">
            <a:extLst>
              <a:ext uri="{FF2B5EF4-FFF2-40B4-BE49-F238E27FC236}">
                <a16:creationId xmlns:a16="http://schemas.microsoft.com/office/drawing/2014/main" id="{3B1040AD-DA18-4817-AF7B-DE95219E44D1}"/>
              </a:ext>
            </a:extLst>
          </p:cNvPr>
          <p:cNvSpPr/>
          <p:nvPr/>
        </p:nvSpPr>
        <p:spPr>
          <a:xfrm>
            <a:off x="799908" y="1921813"/>
            <a:ext cx="667384" cy="3138743"/>
          </a:xfrm>
          <a:prstGeom prst="roundRect">
            <a:avLst>
              <a:gd name="adj" fmla="val 50000"/>
            </a:avLst>
          </a:prstGeom>
          <a:solidFill>
            <a:srgbClr val="E0E0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9" name="Shape9_20210407_155518~2">
            <a:extLst>
              <a:ext uri="{FF2B5EF4-FFF2-40B4-BE49-F238E27FC236}">
                <a16:creationId xmlns:a16="http://schemas.microsoft.com/office/drawing/2014/main" id="{51853F0F-5A29-AF48-4ABB-FFB72B603B70}"/>
              </a:ext>
            </a:extLst>
          </p:cNvPr>
          <p:cNvSpPr>
            <a:spLocks noChangeAspect="1"/>
          </p:cNvSpPr>
          <p:nvPr/>
        </p:nvSpPr>
        <p:spPr>
          <a:xfrm>
            <a:off x="1023089" y="4962769"/>
            <a:ext cx="221022" cy="195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10" name="Shape3_20210618_102047">
            <a:extLst>
              <a:ext uri="{FF2B5EF4-FFF2-40B4-BE49-F238E27FC236}">
                <a16:creationId xmlns:a16="http://schemas.microsoft.com/office/drawing/2014/main" id="{889F8B77-C3F4-A164-8866-CD410E8CC4D9}"/>
              </a:ext>
            </a:extLst>
          </p:cNvPr>
          <p:cNvSpPr/>
          <p:nvPr/>
        </p:nvSpPr>
        <p:spPr>
          <a:xfrm>
            <a:off x="2181590" y="1921813"/>
            <a:ext cx="667384" cy="3138743"/>
          </a:xfrm>
          <a:prstGeom prst="roundRect">
            <a:avLst>
              <a:gd name="adj" fmla="val 50000"/>
            </a:avLst>
          </a:prstGeom>
          <a:solidFill>
            <a:srgbClr val="E0E0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11" name="Shape9_20210407_155518~3">
            <a:extLst>
              <a:ext uri="{FF2B5EF4-FFF2-40B4-BE49-F238E27FC236}">
                <a16:creationId xmlns:a16="http://schemas.microsoft.com/office/drawing/2014/main" id="{CB764F80-3648-3498-270B-59E7B076E8F9}"/>
              </a:ext>
            </a:extLst>
          </p:cNvPr>
          <p:cNvSpPr>
            <a:spLocks noChangeAspect="1"/>
          </p:cNvSpPr>
          <p:nvPr/>
        </p:nvSpPr>
        <p:spPr>
          <a:xfrm>
            <a:off x="2404770" y="4962769"/>
            <a:ext cx="221022" cy="195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12" name="Shape4_20210618_102047">
            <a:extLst>
              <a:ext uri="{FF2B5EF4-FFF2-40B4-BE49-F238E27FC236}">
                <a16:creationId xmlns:a16="http://schemas.microsoft.com/office/drawing/2014/main" id="{EEF5A0E9-9F2C-D2E1-4CF7-0BE69BD8961B}"/>
              </a:ext>
            </a:extLst>
          </p:cNvPr>
          <p:cNvSpPr/>
          <p:nvPr/>
        </p:nvSpPr>
        <p:spPr>
          <a:xfrm>
            <a:off x="3563272" y="1921813"/>
            <a:ext cx="667384" cy="3138743"/>
          </a:xfrm>
          <a:prstGeom prst="roundRect">
            <a:avLst>
              <a:gd name="adj" fmla="val 50000"/>
            </a:avLst>
          </a:prstGeom>
          <a:solidFill>
            <a:srgbClr val="E0E0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13" name="Shape9_20210407_155518~4">
            <a:extLst>
              <a:ext uri="{FF2B5EF4-FFF2-40B4-BE49-F238E27FC236}">
                <a16:creationId xmlns:a16="http://schemas.microsoft.com/office/drawing/2014/main" id="{2BF756E2-F687-E384-5A8D-27144D64F0AC}"/>
              </a:ext>
            </a:extLst>
          </p:cNvPr>
          <p:cNvSpPr>
            <a:spLocks noChangeAspect="1"/>
          </p:cNvSpPr>
          <p:nvPr/>
        </p:nvSpPr>
        <p:spPr>
          <a:xfrm>
            <a:off x="3786452" y="4962769"/>
            <a:ext cx="221022" cy="195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14" name="Shape5_20210618_102047">
            <a:extLst>
              <a:ext uri="{FF2B5EF4-FFF2-40B4-BE49-F238E27FC236}">
                <a16:creationId xmlns:a16="http://schemas.microsoft.com/office/drawing/2014/main" id="{89645698-CC7B-EE26-B7C1-5059BB54DB96}"/>
              </a:ext>
            </a:extLst>
          </p:cNvPr>
          <p:cNvSpPr/>
          <p:nvPr/>
        </p:nvSpPr>
        <p:spPr>
          <a:xfrm>
            <a:off x="7708317" y="1921813"/>
            <a:ext cx="667384" cy="3138743"/>
          </a:xfrm>
          <a:prstGeom prst="roundRect">
            <a:avLst>
              <a:gd name="adj" fmla="val 50000"/>
            </a:avLst>
          </a:prstGeom>
          <a:solidFill>
            <a:srgbClr val="E0E0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15" name="Shape9_20210407_155518~5">
            <a:extLst>
              <a:ext uri="{FF2B5EF4-FFF2-40B4-BE49-F238E27FC236}">
                <a16:creationId xmlns:a16="http://schemas.microsoft.com/office/drawing/2014/main" id="{2BCA23DE-30FD-6F8D-4924-676145DF1531}"/>
              </a:ext>
            </a:extLst>
          </p:cNvPr>
          <p:cNvSpPr>
            <a:spLocks noChangeAspect="1"/>
          </p:cNvSpPr>
          <p:nvPr/>
        </p:nvSpPr>
        <p:spPr>
          <a:xfrm>
            <a:off x="7931498" y="4962769"/>
            <a:ext cx="221022" cy="195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16" name="Shape6_20210618_102047">
            <a:extLst>
              <a:ext uri="{FF2B5EF4-FFF2-40B4-BE49-F238E27FC236}">
                <a16:creationId xmlns:a16="http://schemas.microsoft.com/office/drawing/2014/main" id="{784AAD6B-CF39-7625-9041-6C0EB97E9ED9}"/>
              </a:ext>
            </a:extLst>
          </p:cNvPr>
          <p:cNvSpPr/>
          <p:nvPr/>
        </p:nvSpPr>
        <p:spPr>
          <a:xfrm>
            <a:off x="4944953" y="1921813"/>
            <a:ext cx="667384" cy="3138743"/>
          </a:xfrm>
          <a:prstGeom prst="roundRect">
            <a:avLst>
              <a:gd name="adj" fmla="val 50000"/>
            </a:avLst>
          </a:prstGeom>
          <a:solidFill>
            <a:srgbClr val="E0E0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17" name="Shape9_20210407_155518~6">
            <a:extLst>
              <a:ext uri="{FF2B5EF4-FFF2-40B4-BE49-F238E27FC236}">
                <a16:creationId xmlns:a16="http://schemas.microsoft.com/office/drawing/2014/main" id="{C5090B0E-1810-594C-0846-8CE44517370C}"/>
              </a:ext>
            </a:extLst>
          </p:cNvPr>
          <p:cNvSpPr>
            <a:spLocks noChangeAspect="1"/>
          </p:cNvSpPr>
          <p:nvPr/>
        </p:nvSpPr>
        <p:spPr>
          <a:xfrm>
            <a:off x="5168133" y="4962769"/>
            <a:ext cx="221022" cy="195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18" name="Shape7_20210618_102047">
            <a:extLst>
              <a:ext uri="{FF2B5EF4-FFF2-40B4-BE49-F238E27FC236}">
                <a16:creationId xmlns:a16="http://schemas.microsoft.com/office/drawing/2014/main" id="{607E5D0B-AD96-1478-4520-553AC9BF5C7F}"/>
              </a:ext>
            </a:extLst>
          </p:cNvPr>
          <p:cNvSpPr/>
          <p:nvPr/>
        </p:nvSpPr>
        <p:spPr>
          <a:xfrm>
            <a:off x="6326635" y="1921813"/>
            <a:ext cx="667384" cy="3138743"/>
          </a:xfrm>
          <a:prstGeom prst="roundRect">
            <a:avLst>
              <a:gd name="adj" fmla="val 50000"/>
            </a:avLst>
          </a:prstGeom>
          <a:solidFill>
            <a:srgbClr val="E0E0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19" name="Shape9_20210407_155518~7">
            <a:extLst>
              <a:ext uri="{FF2B5EF4-FFF2-40B4-BE49-F238E27FC236}">
                <a16:creationId xmlns:a16="http://schemas.microsoft.com/office/drawing/2014/main" id="{B0A225C2-64AC-0549-3066-9A8095711492}"/>
              </a:ext>
            </a:extLst>
          </p:cNvPr>
          <p:cNvSpPr>
            <a:spLocks noChangeAspect="1"/>
          </p:cNvSpPr>
          <p:nvPr/>
        </p:nvSpPr>
        <p:spPr>
          <a:xfrm>
            <a:off x="6549816" y="4962769"/>
            <a:ext cx="221022" cy="195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95"/>
          </a:p>
        </p:txBody>
      </p:sp>
      <p:sp>
        <p:nvSpPr>
          <p:cNvPr id="20" name="Shape3_20210618_145708">
            <a:extLst>
              <a:ext uri="{FF2B5EF4-FFF2-40B4-BE49-F238E27FC236}">
                <a16:creationId xmlns:a16="http://schemas.microsoft.com/office/drawing/2014/main" id="{176C3D6E-592D-D84A-263B-BC117B1C1B8F}"/>
              </a:ext>
            </a:extLst>
          </p:cNvPr>
          <p:cNvSpPr>
            <a:spLocks noChangeAspect="1"/>
          </p:cNvSpPr>
          <p:nvPr/>
        </p:nvSpPr>
        <p:spPr>
          <a:xfrm>
            <a:off x="1036599" y="4830230"/>
            <a:ext cx="208871" cy="100374"/>
          </a:xfrm>
          <a:custGeom>
            <a:avLst/>
            <a:gdLst>
              <a:gd name="connsiteX0" fmla="*/ 585 w 219216"/>
              <a:gd name="connsiteY0" fmla="*/ 0 h 112507"/>
              <a:gd name="connsiteX1" fmla="*/ 218631 w 219216"/>
              <a:gd name="connsiteY1" fmla="*/ 0 h 112507"/>
              <a:gd name="connsiteX2" fmla="*/ 219216 w 219216"/>
              <a:gd name="connsiteY2" fmla="*/ 2899 h 112507"/>
              <a:gd name="connsiteX3" fmla="*/ 109608 w 219216"/>
              <a:gd name="connsiteY3" fmla="*/ 112507 h 112507"/>
              <a:gd name="connsiteX4" fmla="*/ 0 w 219216"/>
              <a:gd name="connsiteY4" fmla="*/ 2899 h 112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216" h="112507">
                <a:moveTo>
                  <a:pt x="585" y="0"/>
                </a:moveTo>
                <a:lnTo>
                  <a:pt x="218631" y="0"/>
                </a:lnTo>
                <a:lnTo>
                  <a:pt x="219216" y="2899"/>
                </a:lnTo>
                <a:cubicBezTo>
                  <a:pt x="219216" y="63434"/>
                  <a:pt x="170143" y="112507"/>
                  <a:pt x="109608" y="112507"/>
                </a:cubicBezTo>
                <a:cubicBezTo>
                  <a:pt x="49073" y="112507"/>
                  <a:pt x="0" y="63434"/>
                  <a:pt x="0" y="289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895"/>
          </a:p>
        </p:txBody>
      </p:sp>
      <p:sp>
        <p:nvSpPr>
          <p:cNvPr id="21" name="Shape3_20210618_145708~1">
            <a:extLst>
              <a:ext uri="{FF2B5EF4-FFF2-40B4-BE49-F238E27FC236}">
                <a16:creationId xmlns:a16="http://schemas.microsoft.com/office/drawing/2014/main" id="{F35AFC0A-43CF-6C93-94A7-6D57B154658B}"/>
              </a:ext>
            </a:extLst>
          </p:cNvPr>
          <p:cNvSpPr>
            <a:spLocks noChangeAspect="1"/>
          </p:cNvSpPr>
          <p:nvPr/>
        </p:nvSpPr>
        <p:spPr>
          <a:xfrm>
            <a:off x="2418086" y="4830230"/>
            <a:ext cx="208871" cy="100374"/>
          </a:xfrm>
          <a:custGeom>
            <a:avLst/>
            <a:gdLst>
              <a:gd name="connsiteX0" fmla="*/ 585 w 219216"/>
              <a:gd name="connsiteY0" fmla="*/ 0 h 112507"/>
              <a:gd name="connsiteX1" fmla="*/ 218631 w 219216"/>
              <a:gd name="connsiteY1" fmla="*/ 0 h 112507"/>
              <a:gd name="connsiteX2" fmla="*/ 219216 w 219216"/>
              <a:gd name="connsiteY2" fmla="*/ 2899 h 112507"/>
              <a:gd name="connsiteX3" fmla="*/ 109608 w 219216"/>
              <a:gd name="connsiteY3" fmla="*/ 112507 h 112507"/>
              <a:gd name="connsiteX4" fmla="*/ 0 w 219216"/>
              <a:gd name="connsiteY4" fmla="*/ 2899 h 112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216" h="112507">
                <a:moveTo>
                  <a:pt x="585" y="0"/>
                </a:moveTo>
                <a:lnTo>
                  <a:pt x="218631" y="0"/>
                </a:lnTo>
                <a:lnTo>
                  <a:pt x="219216" y="2899"/>
                </a:lnTo>
                <a:cubicBezTo>
                  <a:pt x="219216" y="63434"/>
                  <a:pt x="170143" y="112507"/>
                  <a:pt x="109608" y="112507"/>
                </a:cubicBezTo>
                <a:cubicBezTo>
                  <a:pt x="49073" y="112507"/>
                  <a:pt x="0" y="63434"/>
                  <a:pt x="0" y="289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895"/>
          </a:p>
        </p:txBody>
      </p:sp>
      <p:sp>
        <p:nvSpPr>
          <p:cNvPr id="22" name="Shape3_20210618_145708~2">
            <a:extLst>
              <a:ext uri="{FF2B5EF4-FFF2-40B4-BE49-F238E27FC236}">
                <a16:creationId xmlns:a16="http://schemas.microsoft.com/office/drawing/2014/main" id="{27AD59A5-B9E5-E9AC-3185-97AFE44948AA}"/>
              </a:ext>
            </a:extLst>
          </p:cNvPr>
          <p:cNvSpPr>
            <a:spLocks noChangeAspect="1"/>
          </p:cNvSpPr>
          <p:nvPr/>
        </p:nvSpPr>
        <p:spPr>
          <a:xfrm>
            <a:off x="3799574" y="4830230"/>
            <a:ext cx="208871" cy="100374"/>
          </a:xfrm>
          <a:custGeom>
            <a:avLst/>
            <a:gdLst>
              <a:gd name="connsiteX0" fmla="*/ 585 w 219216"/>
              <a:gd name="connsiteY0" fmla="*/ 0 h 112507"/>
              <a:gd name="connsiteX1" fmla="*/ 218631 w 219216"/>
              <a:gd name="connsiteY1" fmla="*/ 0 h 112507"/>
              <a:gd name="connsiteX2" fmla="*/ 219216 w 219216"/>
              <a:gd name="connsiteY2" fmla="*/ 2899 h 112507"/>
              <a:gd name="connsiteX3" fmla="*/ 109608 w 219216"/>
              <a:gd name="connsiteY3" fmla="*/ 112507 h 112507"/>
              <a:gd name="connsiteX4" fmla="*/ 0 w 219216"/>
              <a:gd name="connsiteY4" fmla="*/ 2899 h 112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216" h="112507">
                <a:moveTo>
                  <a:pt x="585" y="0"/>
                </a:moveTo>
                <a:lnTo>
                  <a:pt x="218631" y="0"/>
                </a:lnTo>
                <a:lnTo>
                  <a:pt x="219216" y="2899"/>
                </a:lnTo>
                <a:cubicBezTo>
                  <a:pt x="219216" y="63434"/>
                  <a:pt x="170143" y="112507"/>
                  <a:pt x="109608" y="112507"/>
                </a:cubicBezTo>
                <a:cubicBezTo>
                  <a:pt x="49073" y="112507"/>
                  <a:pt x="0" y="63434"/>
                  <a:pt x="0" y="289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895"/>
          </a:p>
        </p:txBody>
      </p:sp>
      <p:sp>
        <p:nvSpPr>
          <p:cNvPr id="23" name="Shape3_20210618_145708~3">
            <a:extLst>
              <a:ext uri="{FF2B5EF4-FFF2-40B4-BE49-F238E27FC236}">
                <a16:creationId xmlns:a16="http://schemas.microsoft.com/office/drawing/2014/main" id="{41C7D81E-B063-AEE3-7F93-3A3C040C4BA5}"/>
              </a:ext>
            </a:extLst>
          </p:cNvPr>
          <p:cNvSpPr>
            <a:spLocks noChangeAspect="1"/>
          </p:cNvSpPr>
          <p:nvPr/>
        </p:nvSpPr>
        <p:spPr>
          <a:xfrm>
            <a:off x="5181061" y="4830230"/>
            <a:ext cx="208871" cy="100374"/>
          </a:xfrm>
          <a:custGeom>
            <a:avLst/>
            <a:gdLst>
              <a:gd name="connsiteX0" fmla="*/ 585 w 219216"/>
              <a:gd name="connsiteY0" fmla="*/ 0 h 112507"/>
              <a:gd name="connsiteX1" fmla="*/ 218631 w 219216"/>
              <a:gd name="connsiteY1" fmla="*/ 0 h 112507"/>
              <a:gd name="connsiteX2" fmla="*/ 219216 w 219216"/>
              <a:gd name="connsiteY2" fmla="*/ 2899 h 112507"/>
              <a:gd name="connsiteX3" fmla="*/ 109608 w 219216"/>
              <a:gd name="connsiteY3" fmla="*/ 112507 h 112507"/>
              <a:gd name="connsiteX4" fmla="*/ 0 w 219216"/>
              <a:gd name="connsiteY4" fmla="*/ 2899 h 112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216" h="112507">
                <a:moveTo>
                  <a:pt x="585" y="0"/>
                </a:moveTo>
                <a:lnTo>
                  <a:pt x="218631" y="0"/>
                </a:lnTo>
                <a:lnTo>
                  <a:pt x="219216" y="2899"/>
                </a:lnTo>
                <a:cubicBezTo>
                  <a:pt x="219216" y="63434"/>
                  <a:pt x="170143" y="112507"/>
                  <a:pt x="109608" y="112507"/>
                </a:cubicBezTo>
                <a:cubicBezTo>
                  <a:pt x="49073" y="112507"/>
                  <a:pt x="0" y="63434"/>
                  <a:pt x="0" y="289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895"/>
          </a:p>
        </p:txBody>
      </p:sp>
      <p:sp>
        <p:nvSpPr>
          <p:cNvPr id="24" name="Shape3_20210618_145708~4">
            <a:extLst>
              <a:ext uri="{FF2B5EF4-FFF2-40B4-BE49-F238E27FC236}">
                <a16:creationId xmlns:a16="http://schemas.microsoft.com/office/drawing/2014/main" id="{8C568BE4-C33B-6431-115D-B429B11B514D}"/>
              </a:ext>
            </a:extLst>
          </p:cNvPr>
          <p:cNvSpPr>
            <a:spLocks noChangeAspect="1"/>
          </p:cNvSpPr>
          <p:nvPr/>
        </p:nvSpPr>
        <p:spPr>
          <a:xfrm>
            <a:off x="6562549" y="4830230"/>
            <a:ext cx="208871" cy="100374"/>
          </a:xfrm>
          <a:custGeom>
            <a:avLst/>
            <a:gdLst>
              <a:gd name="connsiteX0" fmla="*/ 585 w 219216"/>
              <a:gd name="connsiteY0" fmla="*/ 0 h 112507"/>
              <a:gd name="connsiteX1" fmla="*/ 218631 w 219216"/>
              <a:gd name="connsiteY1" fmla="*/ 0 h 112507"/>
              <a:gd name="connsiteX2" fmla="*/ 219216 w 219216"/>
              <a:gd name="connsiteY2" fmla="*/ 2899 h 112507"/>
              <a:gd name="connsiteX3" fmla="*/ 109608 w 219216"/>
              <a:gd name="connsiteY3" fmla="*/ 112507 h 112507"/>
              <a:gd name="connsiteX4" fmla="*/ 0 w 219216"/>
              <a:gd name="connsiteY4" fmla="*/ 2899 h 112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216" h="112507">
                <a:moveTo>
                  <a:pt x="585" y="0"/>
                </a:moveTo>
                <a:lnTo>
                  <a:pt x="218631" y="0"/>
                </a:lnTo>
                <a:lnTo>
                  <a:pt x="219216" y="2899"/>
                </a:lnTo>
                <a:cubicBezTo>
                  <a:pt x="219216" y="63434"/>
                  <a:pt x="170143" y="112507"/>
                  <a:pt x="109608" y="112507"/>
                </a:cubicBezTo>
                <a:cubicBezTo>
                  <a:pt x="49073" y="112507"/>
                  <a:pt x="0" y="63434"/>
                  <a:pt x="0" y="289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895"/>
          </a:p>
        </p:txBody>
      </p:sp>
      <p:sp>
        <p:nvSpPr>
          <p:cNvPr id="25" name="Shape3_20210618_145708~5">
            <a:extLst>
              <a:ext uri="{FF2B5EF4-FFF2-40B4-BE49-F238E27FC236}">
                <a16:creationId xmlns:a16="http://schemas.microsoft.com/office/drawing/2014/main" id="{DD60BF2B-4660-E878-7554-A3D0DC2108E8}"/>
              </a:ext>
            </a:extLst>
          </p:cNvPr>
          <p:cNvSpPr>
            <a:spLocks noChangeAspect="1"/>
          </p:cNvSpPr>
          <p:nvPr/>
        </p:nvSpPr>
        <p:spPr>
          <a:xfrm>
            <a:off x="7944036" y="4830230"/>
            <a:ext cx="208871" cy="100374"/>
          </a:xfrm>
          <a:custGeom>
            <a:avLst/>
            <a:gdLst>
              <a:gd name="connsiteX0" fmla="*/ 585 w 219216"/>
              <a:gd name="connsiteY0" fmla="*/ 0 h 112507"/>
              <a:gd name="connsiteX1" fmla="*/ 218631 w 219216"/>
              <a:gd name="connsiteY1" fmla="*/ 0 h 112507"/>
              <a:gd name="connsiteX2" fmla="*/ 219216 w 219216"/>
              <a:gd name="connsiteY2" fmla="*/ 2899 h 112507"/>
              <a:gd name="connsiteX3" fmla="*/ 109608 w 219216"/>
              <a:gd name="connsiteY3" fmla="*/ 112507 h 112507"/>
              <a:gd name="connsiteX4" fmla="*/ 0 w 219216"/>
              <a:gd name="connsiteY4" fmla="*/ 2899 h 112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216" h="112507">
                <a:moveTo>
                  <a:pt x="585" y="0"/>
                </a:moveTo>
                <a:lnTo>
                  <a:pt x="218631" y="0"/>
                </a:lnTo>
                <a:lnTo>
                  <a:pt x="219216" y="2899"/>
                </a:lnTo>
                <a:cubicBezTo>
                  <a:pt x="219216" y="63434"/>
                  <a:pt x="170143" y="112507"/>
                  <a:pt x="109608" y="112507"/>
                </a:cubicBezTo>
                <a:cubicBezTo>
                  <a:pt x="49073" y="112507"/>
                  <a:pt x="0" y="63434"/>
                  <a:pt x="0" y="289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895"/>
          </a:p>
        </p:txBody>
      </p:sp>
      <p:sp>
        <p:nvSpPr>
          <p:cNvPr id="26" name="Shape3_20210618_145708~6">
            <a:extLst>
              <a:ext uri="{FF2B5EF4-FFF2-40B4-BE49-F238E27FC236}">
                <a16:creationId xmlns:a16="http://schemas.microsoft.com/office/drawing/2014/main" id="{CA31152F-E8BF-524E-3554-2F9D5E0FD6FD}"/>
              </a:ext>
            </a:extLst>
          </p:cNvPr>
          <p:cNvSpPr>
            <a:spLocks noChangeAspect="1"/>
          </p:cNvSpPr>
          <p:nvPr/>
        </p:nvSpPr>
        <p:spPr>
          <a:xfrm>
            <a:off x="9325525" y="4830230"/>
            <a:ext cx="208871" cy="100374"/>
          </a:xfrm>
          <a:custGeom>
            <a:avLst/>
            <a:gdLst>
              <a:gd name="connsiteX0" fmla="*/ 585 w 219216"/>
              <a:gd name="connsiteY0" fmla="*/ 0 h 112507"/>
              <a:gd name="connsiteX1" fmla="*/ 218631 w 219216"/>
              <a:gd name="connsiteY1" fmla="*/ 0 h 112507"/>
              <a:gd name="connsiteX2" fmla="*/ 219216 w 219216"/>
              <a:gd name="connsiteY2" fmla="*/ 2899 h 112507"/>
              <a:gd name="connsiteX3" fmla="*/ 109608 w 219216"/>
              <a:gd name="connsiteY3" fmla="*/ 112507 h 112507"/>
              <a:gd name="connsiteX4" fmla="*/ 0 w 219216"/>
              <a:gd name="connsiteY4" fmla="*/ 2899 h 112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216" h="112507">
                <a:moveTo>
                  <a:pt x="585" y="0"/>
                </a:moveTo>
                <a:lnTo>
                  <a:pt x="218631" y="0"/>
                </a:lnTo>
                <a:lnTo>
                  <a:pt x="219216" y="2899"/>
                </a:lnTo>
                <a:cubicBezTo>
                  <a:pt x="219216" y="63434"/>
                  <a:pt x="170143" y="112507"/>
                  <a:pt x="109608" y="112507"/>
                </a:cubicBezTo>
                <a:cubicBezTo>
                  <a:pt x="49073" y="112507"/>
                  <a:pt x="0" y="63434"/>
                  <a:pt x="0" y="289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895"/>
          </a:p>
        </p:txBody>
      </p:sp>
      <p:sp>
        <p:nvSpPr>
          <p:cNvPr id="27" name="Shape3_20210618_145708~7">
            <a:extLst>
              <a:ext uri="{FF2B5EF4-FFF2-40B4-BE49-F238E27FC236}">
                <a16:creationId xmlns:a16="http://schemas.microsoft.com/office/drawing/2014/main" id="{B4AAB0BB-96D3-A07E-7CA1-FF7B93D0F313}"/>
              </a:ext>
            </a:extLst>
          </p:cNvPr>
          <p:cNvSpPr>
            <a:spLocks noChangeAspect="1"/>
          </p:cNvSpPr>
          <p:nvPr/>
        </p:nvSpPr>
        <p:spPr>
          <a:xfrm>
            <a:off x="10707011" y="4830230"/>
            <a:ext cx="208871" cy="100374"/>
          </a:xfrm>
          <a:custGeom>
            <a:avLst/>
            <a:gdLst>
              <a:gd name="connsiteX0" fmla="*/ 585 w 219216"/>
              <a:gd name="connsiteY0" fmla="*/ 0 h 112507"/>
              <a:gd name="connsiteX1" fmla="*/ 218631 w 219216"/>
              <a:gd name="connsiteY1" fmla="*/ 0 h 112507"/>
              <a:gd name="connsiteX2" fmla="*/ 219216 w 219216"/>
              <a:gd name="connsiteY2" fmla="*/ 2899 h 112507"/>
              <a:gd name="connsiteX3" fmla="*/ 109608 w 219216"/>
              <a:gd name="connsiteY3" fmla="*/ 112507 h 112507"/>
              <a:gd name="connsiteX4" fmla="*/ 0 w 219216"/>
              <a:gd name="connsiteY4" fmla="*/ 2899 h 112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216" h="112507">
                <a:moveTo>
                  <a:pt x="585" y="0"/>
                </a:moveTo>
                <a:lnTo>
                  <a:pt x="218631" y="0"/>
                </a:lnTo>
                <a:lnTo>
                  <a:pt x="219216" y="2899"/>
                </a:lnTo>
                <a:cubicBezTo>
                  <a:pt x="219216" y="63434"/>
                  <a:pt x="170143" y="112507"/>
                  <a:pt x="109608" y="112507"/>
                </a:cubicBezTo>
                <a:cubicBezTo>
                  <a:pt x="49073" y="112507"/>
                  <a:pt x="0" y="63434"/>
                  <a:pt x="0" y="289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895"/>
          </a:p>
        </p:txBody>
      </p:sp>
      <p:graphicFrame>
        <p:nvGraphicFramePr>
          <p:cNvPr id="28" name="Shape1_20220721_171125">
            <a:extLst>
              <a:ext uri="{FF2B5EF4-FFF2-40B4-BE49-F238E27FC236}">
                <a16:creationId xmlns:a16="http://schemas.microsoft.com/office/drawing/2014/main" id="{93965CA0-FB3C-978F-3B67-510C8023DD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0558618"/>
              </p:ext>
            </p:extLst>
          </p:nvPr>
        </p:nvGraphicFramePr>
        <p:xfrm>
          <a:off x="10196227" y="1387639"/>
          <a:ext cx="1238315" cy="4415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9" name="Shape2_20220721_171125">
            <a:extLst>
              <a:ext uri="{FF2B5EF4-FFF2-40B4-BE49-F238E27FC236}">
                <a16:creationId xmlns:a16="http://schemas.microsoft.com/office/drawing/2014/main" id="{3F868ED9-9643-A22E-5F98-3D53B549CB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0514872"/>
              </p:ext>
            </p:extLst>
          </p:nvPr>
        </p:nvGraphicFramePr>
        <p:xfrm>
          <a:off x="8804354" y="1387639"/>
          <a:ext cx="1238315" cy="4415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0" name="Shape0_20220721_171125">
            <a:extLst>
              <a:ext uri="{FF2B5EF4-FFF2-40B4-BE49-F238E27FC236}">
                <a16:creationId xmlns:a16="http://schemas.microsoft.com/office/drawing/2014/main" id="{FDDB244C-DDD3-8351-8AA4-FFA43411A6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6392344"/>
              </p:ext>
            </p:extLst>
          </p:nvPr>
        </p:nvGraphicFramePr>
        <p:xfrm>
          <a:off x="513011" y="1387639"/>
          <a:ext cx="1238315" cy="4415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1" name="Shape3_20220721_171125">
            <a:extLst>
              <a:ext uri="{FF2B5EF4-FFF2-40B4-BE49-F238E27FC236}">
                <a16:creationId xmlns:a16="http://schemas.microsoft.com/office/drawing/2014/main" id="{5E619FF2-081E-0E5D-FD99-ED0A180194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8642628"/>
              </p:ext>
            </p:extLst>
          </p:nvPr>
        </p:nvGraphicFramePr>
        <p:xfrm>
          <a:off x="1904887" y="1387639"/>
          <a:ext cx="1238315" cy="4415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2" name="Shape4_20220721_171125">
            <a:extLst>
              <a:ext uri="{FF2B5EF4-FFF2-40B4-BE49-F238E27FC236}">
                <a16:creationId xmlns:a16="http://schemas.microsoft.com/office/drawing/2014/main" id="{C4376E6F-70EB-1E4E-C97C-D52FFC38DD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08928197"/>
              </p:ext>
            </p:extLst>
          </p:nvPr>
        </p:nvGraphicFramePr>
        <p:xfrm>
          <a:off x="3286777" y="1387639"/>
          <a:ext cx="1238315" cy="4415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3" name="Shape5_20220721_171125">
            <a:extLst>
              <a:ext uri="{FF2B5EF4-FFF2-40B4-BE49-F238E27FC236}">
                <a16:creationId xmlns:a16="http://schemas.microsoft.com/office/drawing/2014/main" id="{7335FC4E-82AB-74C6-4B37-958C820938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352229"/>
              </p:ext>
            </p:extLst>
          </p:nvPr>
        </p:nvGraphicFramePr>
        <p:xfrm>
          <a:off x="7432449" y="1387639"/>
          <a:ext cx="1238315" cy="4415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4" name="Shape6_20220721_171125">
            <a:extLst>
              <a:ext uri="{FF2B5EF4-FFF2-40B4-BE49-F238E27FC236}">
                <a16:creationId xmlns:a16="http://schemas.microsoft.com/office/drawing/2014/main" id="{A2BB7283-D3EB-B22E-E567-FB882762FF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1226718"/>
              </p:ext>
            </p:extLst>
          </p:nvPr>
        </p:nvGraphicFramePr>
        <p:xfrm>
          <a:off x="4658682" y="1387639"/>
          <a:ext cx="1238315" cy="4415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5" name="Shape7_20220721_171125">
            <a:extLst>
              <a:ext uri="{FF2B5EF4-FFF2-40B4-BE49-F238E27FC236}">
                <a16:creationId xmlns:a16="http://schemas.microsoft.com/office/drawing/2014/main" id="{5E1E5997-A5DF-8FBB-A6DA-52F76830F7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5684103"/>
              </p:ext>
            </p:extLst>
          </p:nvPr>
        </p:nvGraphicFramePr>
        <p:xfrm>
          <a:off x="6050559" y="1387639"/>
          <a:ext cx="1238315" cy="4415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1" name="Shape0_20220516_185938">
            <a:extLst>
              <a:ext uri="{FF2B5EF4-FFF2-40B4-BE49-F238E27FC236}">
                <a16:creationId xmlns:a16="http://schemas.microsoft.com/office/drawing/2014/main" id="{183B465F-2D4E-6955-655A-AFCD73F7B21B}"/>
              </a:ext>
            </a:extLst>
          </p:cNvPr>
          <p:cNvSpPr/>
          <p:nvPr/>
        </p:nvSpPr>
        <p:spPr>
          <a:xfrm>
            <a:off x="629818" y="1201419"/>
            <a:ext cx="11091889" cy="4271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lt1"/>
              </a:buClr>
              <a:buSzPts val="1600"/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6846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2BF609-8C4C-B9E8-4436-38DEFCEEFE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8807869-A8AD-73A1-A7D9-E3EBDDD198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807869-A8AD-73A1-A7D9-E3EBDDD198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5F1A09-C950-B365-B657-82C28F54D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04AB088-DC62-A291-5D2D-31BFBE4ABAD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13D143FF-2B1D-C910-C014-18F15A2416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5901098"/>
              </p:ext>
            </p:extLst>
          </p:nvPr>
        </p:nvGraphicFramePr>
        <p:xfrm>
          <a:off x="674433" y="2064060"/>
          <a:ext cx="5204217" cy="3688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9FEFE73-B98F-9DDC-796F-7F080E767B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349795"/>
              </p:ext>
            </p:extLst>
          </p:nvPr>
        </p:nvGraphicFramePr>
        <p:xfrm>
          <a:off x="6313350" y="2064060"/>
          <a:ext cx="5204217" cy="3688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A3F176A-382D-8777-0370-32229FE14A46}"/>
              </a:ext>
            </a:extLst>
          </p:cNvPr>
          <p:cNvSpPr>
            <a:spLocks/>
          </p:cNvSpPr>
          <p:nvPr/>
        </p:nvSpPr>
        <p:spPr>
          <a:xfrm>
            <a:off x="792696" y="1201419"/>
            <a:ext cx="5230893" cy="45416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1014" algn="ctr" defTabSz="668483">
              <a:defRPr/>
            </a:pPr>
            <a:r>
              <a:rPr lang="en-IN" sz="1537" b="1" dirty="0">
                <a:solidFill>
                  <a:prstClr val="white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854AB4-BC96-3B85-7F53-1F1AED82184B}"/>
              </a:ext>
            </a:extLst>
          </p:cNvPr>
          <p:cNvSpPr>
            <a:spLocks/>
          </p:cNvSpPr>
          <p:nvPr/>
        </p:nvSpPr>
        <p:spPr>
          <a:xfrm>
            <a:off x="6413613" y="1201419"/>
            <a:ext cx="5230893" cy="45416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1014" algn="ctr" defTabSz="668483">
              <a:defRPr/>
            </a:pPr>
            <a:r>
              <a:rPr lang="en-IN" sz="1537" b="1" dirty="0">
                <a:solidFill>
                  <a:prstClr val="white"/>
                </a:solidFill>
                <a:cs typeface="Arial" panose="020B0604020202020204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92254111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A8B709-2F04-35D0-B93F-5E3F37FCBF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11AFB15-1122-BA0E-2920-494E58DB6D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1AFB15-1122-BA0E-2920-494E58DB6D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67EA34-B2FD-488C-3F92-19481D3BD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12F887D-792C-F962-90F1-C2AA2CF7365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2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Google Shape;3308;p51">
            <a:extLst>
              <a:ext uri="{FF2B5EF4-FFF2-40B4-BE49-F238E27FC236}">
                <a16:creationId xmlns:a16="http://schemas.microsoft.com/office/drawing/2014/main" id="{AE298604-A685-90B8-4E42-637D99E107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2769560"/>
              </p:ext>
            </p:extLst>
          </p:nvPr>
        </p:nvGraphicFramePr>
        <p:xfrm>
          <a:off x="624088" y="1200033"/>
          <a:ext cx="10748785" cy="455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3471360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EE39F7-183E-728C-1E6B-0D8F2E7BA9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5CD6EF3-6A63-092A-2372-4754722E36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CD6EF3-6A63-092A-2372-4754722E3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8B634F7-9EC3-E2E9-821E-5A1A2590E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AFD151-79B0-718A-68A3-FDB6387127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ase Study</a:t>
            </a:r>
          </a:p>
        </p:txBody>
      </p:sp>
    </p:spTree>
    <p:extLst>
      <p:ext uri="{BB962C8B-B14F-4D97-AF65-F5344CB8AC3E}">
        <p14:creationId xmlns:p14="http://schemas.microsoft.com/office/powerpoint/2010/main" val="21311185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7F305C-D4B5-3347-8F13-E64764F31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9885905-F857-4D8B-334B-739FC0EA0C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885905-F857-4D8B-334B-739FC0EA0C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35A8537-128C-C4E6-6FFC-6369B2B7F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B7B9392-55C6-836E-EB0A-BDCF2376928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Shape2_20210630_091508">
            <a:extLst>
              <a:ext uri="{FF2B5EF4-FFF2-40B4-BE49-F238E27FC236}">
                <a16:creationId xmlns:a16="http://schemas.microsoft.com/office/drawing/2014/main" id="{C37DCC02-1622-7660-5AF1-8F7511C165B6}"/>
              </a:ext>
            </a:extLst>
          </p:cNvPr>
          <p:cNvSpPr/>
          <p:nvPr/>
        </p:nvSpPr>
        <p:spPr>
          <a:xfrm>
            <a:off x="714254" y="2228736"/>
            <a:ext cx="586706" cy="584299"/>
          </a:xfrm>
          <a:custGeom>
            <a:avLst/>
            <a:gdLst/>
            <a:ahLst/>
            <a:cxnLst/>
            <a:rect l="l" t="t" r="r" b="b"/>
            <a:pathLst>
              <a:path w="3657" h="3636" extrusionOk="0">
                <a:moveTo>
                  <a:pt x="1829" y="123"/>
                </a:moveTo>
                <a:lnTo>
                  <a:pt x="1716" y="128"/>
                </a:lnTo>
                <a:lnTo>
                  <a:pt x="1606" y="138"/>
                </a:lnTo>
                <a:lnTo>
                  <a:pt x="1498" y="156"/>
                </a:lnTo>
                <a:lnTo>
                  <a:pt x="1393" y="180"/>
                </a:lnTo>
                <a:lnTo>
                  <a:pt x="1290" y="211"/>
                </a:lnTo>
                <a:lnTo>
                  <a:pt x="1190" y="247"/>
                </a:lnTo>
                <a:lnTo>
                  <a:pt x="1093" y="289"/>
                </a:lnTo>
                <a:lnTo>
                  <a:pt x="999" y="338"/>
                </a:lnTo>
                <a:lnTo>
                  <a:pt x="909" y="392"/>
                </a:lnTo>
                <a:lnTo>
                  <a:pt x="823" y="452"/>
                </a:lnTo>
                <a:lnTo>
                  <a:pt x="739" y="515"/>
                </a:lnTo>
                <a:lnTo>
                  <a:pt x="661" y="584"/>
                </a:lnTo>
                <a:lnTo>
                  <a:pt x="588" y="658"/>
                </a:lnTo>
                <a:lnTo>
                  <a:pt x="518" y="736"/>
                </a:lnTo>
                <a:lnTo>
                  <a:pt x="453" y="818"/>
                </a:lnTo>
                <a:lnTo>
                  <a:pt x="393" y="904"/>
                </a:lnTo>
                <a:lnTo>
                  <a:pt x="340" y="994"/>
                </a:lnTo>
                <a:lnTo>
                  <a:pt x="291" y="1087"/>
                </a:lnTo>
                <a:lnTo>
                  <a:pt x="248" y="1184"/>
                </a:lnTo>
                <a:lnTo>
                  <a:pt x="211" y="1283"/>
                </a:lnTo>
                <a:lnTo>
                  <a:pt x="180" y="1385"/>
                </a:lnTo>
                <a:lnTo>
                  <a:pt x="155" y="1490"/>
                </a:lnTo>
                <a:lnTo>
                  <a:pt x="138" y="1597"/>
                </a:lnTo>
                <a:lnTo>
                  <a:pt x="127" y="1707"/>
                </a:lnTo>
                <a:lnTo>
                  <a:pt x="124" y="1818"/>
                </a:lnTo>
                <a:lnTo>
                  <a:pt x="127" y="1929"/>
                </a:lnTo>
                <a:lnTo>
                  <a:pt x="138" y="2038"/>
                </a:lnTo>
                <a:lnTo>
                  <a:pt x="155" y="2145"/>
                </a:lnTo>
                <a:lnTo>
                  <a:pt x="180" y="2250"/>
                </a:lnTo>
                <a:lnTo>
                  <a:pt x="211" y="2353"/>
                </a:lnTo>
                <a:lnTo>
                  <a:pt x="248" y="2453"/>
                </a:lnTo>
                <a:lnTo>
                  <a:pt x="291" y="2548"/>
                </a:lnTo>
                <a:lnTo>
                  <a:pt x="340" y="2642"/>
                </a:lnTo>
                <a:lnTo>
                  <a:pt x="393" y="2732"/>
                </a:lnTo>
                <a:lnTo>
                  <a:pt x="453" y="2818"/>
                </a:lnTo>
                <a:lnTo>
                  <a:pt x="518" y="2900"/>
                </a:lnTo>
                <a:lnTo>
                  <a:pt x="588" y="2978"/>
                </a:lnTo>
                <a:lnTo>
                  <a:pt x="661" y="3052"/>
                </a:lnTo>
                <a:lnTo>
                  <a:pt x="739" y="3121"/>
                </a:lnTo>
                <a:lnTo>
                  <a:pt x="823" y="3185"/>
                </a:lnTo>
                <a:lnTo>
                  <a:pt x="909" y="3244"/>
                </a:lnTo>
                <a:lnTo>
                  <a:pt x="999" y="3298"/>
                </a:lnTo>
                <a:lnTo>
                  <a:pt x="1093" y="3346"/>
                </a:lnTo>
                <a:lnTo>
                  <a:pt x="1190" y="3389"/>
                </a:lnTo>
                <a:lnTo>
                  <a:pt x="1290" y="3426"/>
                </a:lnTo>
                <a:lnTo>
                  <a:pt x="1393" y="3456"/>
                </a:lnTo>
                <a:lnTo>
                  <a:pt x="1498" y="3480"/>
                </a:lnTo>
                <a:lnTo>
                  <a:pt x="1606" y="3497"/>
                </a:lnTo>
                <a:lnTo>
                  <a:pt x="1716" y="3509"/>
                </a:lnTo>
                <a:lnTo>
                  <a:pt x="1829" y="3512"/>
                </a:lnTo>
                <a:lnTo>
                  <a:pt x="1940" y="3509"/>
                </a:lnTo>
                <a:lnTo>
                  <a:pt x="2050" y="3497"/>
                </a:lnTo>
                <a:lnTo>
                  <a:pt x="2158" y="3480"/>
                </a:lnTo>
                <a:lnTo>
                  <a:pt x="2263" y="3456"/>
                </a:lnTo>
                <a:lnTo>
                  <a:pt x="2366" y="3426"/>
                </a:lnTo>
                <a:lnTo>
                  <a:pt x="2467" y="3389"/>
                </a:lnTo>
                <a:lnTo>
                  <a:pt x="2563" y="3346"/>
                </a:lnTo>
                <a:lnTo>
                  <a:pt x="2657" y="3298"/>
                </a:lnTo>
                <a:lnTo>
                  <a:pt x="2748" y="3244"/>
                </a:lnTo>
                <a:lnTo>
                  <a:pt x="2835" y="3185"/>
                </a:lnTo>
                <a:lnTo>
                  <a:pt x="2917" y="3121"/>
                </a:lnTo>
                <a:lnTo>
                  <a:pt x="2996" y="3052"/>
                </a:lnTo>
                <a:lnTo>
                  <a:pt x="3070" y="2978"/>
                </a:lnTo>
                <a:lnTo>
                  <a:pt x="3139" y="2900"/>
                </a:lnTo>
                <a:lnTo>
                  <a:pt x="3204" y="2818"/>
                </a:lnTo>
                <a:lnTo>
                  <a:pt x="3263" y="2732"/>
                </a:lnTo>
                <a:lnTo>
                  <a:pt x="3318" y="2642"/>
                </a:lnTo>
                <a:lnTo>
                  <a:pt x="3367" y="2548"/>
                </a:lnTo>
                <a:lnTo>
                  <a:pt x="3409" y="2453"/>
                </a:lnTo>
                <a:lnTo>
                  <a:pt x="3447" y="2353"/>
                </a:lnTo>
                <a:lnTo>
                  <a:pt x="3477" y="2250"/>
                </a:lnTo>
                <a:lnTo>
                  <a:pt x="3501" y="2145"/>
                </a:lnTo>
                <a:lnTo>
                  <a:pt x="3520" y="2038"/>
                </a:lnTo>
                <a:lnTo>
                  <a:pt x="3530" y="1929"/>
                </a:lnTo>
                <a:lnTo>
                  <a:pt x="3533" y="1818"/>
                </a:lnTo>
                <a:lnTo>
                  <a:pt x="3530" y="1707"/>
                </a:lnTo>
                <a:lnTo>
                  <a:pt x="3520" y="1597"/>
                </a:lnTo>
                <a:lnTo>
                  <a:pt x="3501" y="1490"/>
                </a:lnTo>
                <a:lnTo>
                  <a:pt x="3477" y="1385"/>
                </a:lnTo>
                <a:lnTo>
                  <a:pt x="3447" y="1283"/>
                </a:lnTo>
                <a:lnTo>
                  <a:pt x="3409" y="1184"/>
                </a:lnTo>
                <a:lnTo>
                  <a:pt x="3367" y="1087"/>
                </a:lnTo>
                <a:lnTo>
                  <a:pt x="3318" y="994"/>
                </a:lnTo>
                <a:lnTo>
                  <a:pt x="3263" y="904"/>
                </a:lnTo>
                <a:lnTo>
                  <a:pt x="3204" y="818"/>
                </a:lnTo>
                <a:lnTo>
                  <a:pt x="3139" y="736"/>
                </a:lnTo>
                <a:lnTo>
                  <a:pt x="3070" y="658"/>
                </a:lnTo>
                <a:lnTo>
                  <a:pt x="2996" y="584"/>
                </a:lnTo>
                <a:lnTo>
                  <a:pt x="2917" y="515"/>
                </a:lnTo>
                <a:lnTo>
                  <a:pt x="2835" y="452"/>
                </a:lnTo>
                <a:lnTo>
                  <a:pt x="2748" y="392"/>
                </a:lnTo>
                <a:lnTo>
                  <a:pt x="2657" y="338"/>
                </a:lnTo>
                <a:lnTo>
                  <a:pt x="2563" y="289"/>
                </a:lnTo>
                <a:lnTo>
                  <a:pt x="2467" y="247"/>
                </a:lnTo>
                <a:lnTo>
                  <a:pt x="2366" y="211"/>
                </a:lnTo>
                <a:lnTo>
                  <a:pt x="2263" y="180"/>
                </a:lnTo>
                <a:lnTo>
                  <a:pt x="2158" y="156"/>
                </a:lnTo>
                <a:lnTo>
                  <a:pt x="2050" y="138"/>
                </a:lnTo>
                <a:lnTo>
                  <a:pt x="1940" y="128"/>
                </a:lnTo>
                <a:lnTo>
                  <a:pt x="1829" y="123"/>
                </a:lnTo>
                <a:close/>
                <a:moveTo>
                  <a:pt x="1829" y="0"/>
                </a:moveTo>
                <a:lnTo>
                  <a:pt x="1943" y="5"/>
                </a:lnTo>
                <a:lnTo>
                  <a:pt x="2058" y="15"/>
                </a:lnTo>
                <a:lnTo>
                  <a:pt x="2169" y="32"/>
                </a:lnTo>
                <a:lnTo>
                  <a:pt x="2278" y="57"/>
                </a:lnTo>
                <a:lnTo>
                  <a:pt x="2385" y="87"/>
                </a:lnTo>
                <a:lnTo>
                  <a:pt x="2489" y="123"/>
                </a:lnTo>
                <a:lnTo>
                  <a:pt x="2590" y="166"/>
                </a:lnTo>
                <a:lnTo>
                  <a:pt x="2687" y="214"/>
                </a:lnTo>
                <a:lnTo>
                  <a:pt x="2782" y="267"/>
                </a:lnTo>
                <a:lnTo>
                  <a:pt x="2873" y="327"/>
                </a:lnTo>
                <a:lnTo>
                  <a:pt x="2960" y="391"/>
                </a:lnTo>
                <a:lnTo>
                  <a:pt x="3042" y="460"/>
                </a:lnTo>
                <a:lnTo>
                  <a:pt x="3121" y="533"/>
                </a:lnTo>
                <a:lnTo>
                  <a:pt x="3195" y="612"/>
                </a:lnTo>
                <a:lnTo>
                  <a:pt x="3265" y="695"/>
                </a:lnTo>
                <a:lnTo>
                  <a:pt x="3329" y="781"/>
                </a:lnTo>
                <a:lnTo>
                  <a:pt x="3389" y="871"/>
                </a:lnTo>
                <a:lnTo>
                  <a:pt x="3443" y="964"/>
                </a:lnTo>
                <a:lnTo>
                  <a:pt x="3492" y="1062"/>
                </a:lnTo>
                <a:lnTo>
                  <a:pt x="3535" y="1162"/>
                </a:lnTo>
                <a:lnTo>
                  <a:pt x="3571" y="1266"/>
                </a:lnTo>
                <a:lnTo>
                  <a:pt x="3602" y="1372"/>
                </a:lnTo>
                <a:lnTo>
                  <a:pt x="3626" y="1480"/>
                </a:lnTo>
                <a:lnTo>
                  <a:pt x="3644" y="1590"/>
                </a:lnTo>
                <a:lnTo>
                  <a:pt x="3654" y="1703"/>
                </a:lnTo>
                <a:lnTo>
                  <a:pt x="3657" y="1818"/>
                </a:lnTo>
                <a:lnTo>
                  <a:pt x="3654" y="1932"/>
                </a:lnTo>
                <a:lnTo>
                  <a:pt x="3644" y="2045"/>
                </a:lnTo>
                <a:lnTo>
                  <a:pt x="3626" y="2157"/>
                </a:lnTo>
                <a:lnTo>
                  <a:pt x="3602" y="2265"/>
                </a:lnTo>
                <a:lnTo>
                  <a:pt x="3571" y="2371"/>
                </a:lnTo>
                <a:lnTo>
                  <a:pt x="3535" y="2475"/>
                </a:lnTo>
                <a:lnTo>
                  <a:pt x="3492" y="2575"/>
                </a:lnTo>
                <a:lnTo>
                  <a:pt x="3443" y="2672"/>
                </a:lnTo>
                <a:lnTo>
                  <a:pt x="3389" y="2766"/>
                </a:lnTo>
                <a:lnTo>
                  <a:pt x="3329" y="2856"/>
                </a:lnTo>
                <a:lnTo>
                  <a:pt x="3265" y="2942"/>
                </a:lnTo>
                <a:lnTo>
                  <a:pt x="3195" y="3024"/>
                </a:lnTo>
                <a:lnTo>
                  <a:pt x="3121" y="3102"/>
                </a:lnTo>
                <a:lnTo>
                  <a:pt x="3042" y="3176"/>
                </a:lnTo>
                <a:lnTo>
                  <a:pt x="2960" y="3245"/>
                </a:lnTo>
                <a:lnTo>
                  <a:pt x="2873" y="3310"/>
                </a:lnTo>
                <a:lnTo>
                  <a:pt x="2782" y="3368"/>
                </a:lnTo>
                <a:lnTo>
                  <a:pt x="2687" y="3422"/>
                </a:lnTo>
                <a:lnTo>
                  <a:pt x="2590" y="3471"/>
                </a:lnTo>
                <a:lnTo>
                  <a:pt x="2489" y="3513"/>
                </a:lnTo>
                <a:lnTo>
                  <a:pt x="2385" y="3549"/>
                </a:lnTo>
                <a:lnTo>
                  <a:pt x="2278" y="3580"/>
                </a:lnTo>
                <a:lnTo>
                  <a:pt x="2169" y="3604"/>
                </a:lnTo>
                <a:lnTo>
                  <a:pt x="2058" y="3622"/>
                </a:lnTo>
                <a:lnTo>
                  <a:pt x="1943" y="3632"/>
                </a:lnTo>
                <a:lnTo>
                  <a:pt x="1829" y="3636"/>
                </a:lnTo>
                <a:lnTo>
                  <a:pt x="1713" y="3632"/>
                </a:lnTo>
                <a:lnTo>
                  <a:pt x="1599" y="3622"/>
                </a:lnTo>
                <a:lnTo>
                  <a:pt x="1488" y="3604"/>
                </a:lnTo>
                <a:lnTo>
                  <a:pt x="1379" y="3580"/>
                </a:lnTo>
                <a:lnTo>
                  <a:pt x="1272" y="3549"/>
                </a:lnTo>
                <a:lnTo>
                  <a:pt x="1168" y="3513"/>
                </a:lnTo>
                <a:lnTo>
                  <a:pt x="1067" y="3471"/>
                </a:lnTo>
                <a:lnTo>
                  <a:pt x="969" y="3422"/>
                </a:lnTo>
                <a:lnTo>
                  <a:pt x="875" y="3368"/>
                </a:lnTo>
                <a:lnTo>
                  <a:pt x="785" y="3310"/>
                </a:lnTo>
                <a:lnTo>
                  <a:pt x="698" y="3245"/>
                </a:lnTo>
                <a:lnTo>
                  <a:pt x="614" y="3176"/>
                </a:lnTo>
                <a:lnTo>
                  <a:pt x="535" y="3102"/>
                </a:lnTo>
                <a:lnTo>
                  <a:pt x="461" y="3024"/>
                </a:lnTo>
                <a:lnTo>
                  <a:pt x="392" y="2942"/>
                </a:lnTo>
                <a:lnTo>
                  <a:pt x="328" y="2856"/>
                </a:lnTo>
                <a:lnTo>
                  <a:pt x="268" y="2766"/>
                </a:lnTo>
                <a:lnTo>
                  <a:pt x="214" y="2672"/>
                </a:lnTo>
                <a:lnTo>
                  <a:pt x="166" y="2575"/>
                </a:lnTo>
                <a:lnTo>
                  <a:pt x="123" y="2475"/>
                </a:lnTo>
                <a:lnTo>
                  <a:pt x="86" y="2371"/>
                </a:lnTo>
                <a:lnTo>
                  <a:pt x="56" y="2265"/>
                </a:lnTo>
                <a:lnTo>
                  <a:pt x="31" y="2157"/>
                </a:lnTo>
                <a:lnTo>
                  <a:pt x="14" y="2045"/>
                </a:lnTo>
                <a:lnTo>
                  <a:pt x="3" y="1932"/>
                </a:lnTo>
                <a:lnTo>
                  <a:pt x="0" y="1818"/>
                </a:lnTo>
                <a:lnTo>
                  <a:pt x="3" y="1703"/>
                </a:lnTo>
                <a:lnTo>
                  <a:pt x="14" y="1590"/>
                </a:lnTo>
                <a:lnTo>
                  <a:pt x="31" y="1480"/>
                </a:lnTo>
                <a:lnTo>
                  <a:pt x="56" y="1372"/>
                </a:lnTo>
                <a:lnTo>
                  <a:pt x="86" y="1266"/>
                </a:lnTo>
                <a:lnTo>
                  <a:pt x="123" y="1162"/>
                </a:lnTo>
                <a:lnTo>
                  <a:pt x="166" y="1062"/>
                </a:lnTo>
                <a:lnTo>
                  <a:pt x="214" y="964"/>
                </a:lnTo>
                <a:lnTo>
                  <a:pt x="268" y="871"/>
                </a:lnTo>
                <a:lnTo>
                  <a:pt x="328" y="781"/>
                </a:lnTo>
                <a:lnTo>
                  <a:pt x="392" y="695"/>
                </a:lnTo>
                <a:lnTo>
                  <a:pt x="461" y="612"/>
                </a:lnTo>
                <a:lnTo>
                  <a:pt x="535" y="533"/>
                </a:lnTo>
                <a:lnTo>
                  <a:pt x="614" y="460"/>
                </a:lnTo>
                <a:lnTo>
                  <a:pt x="698" y="391"/>
                </a:lnTo>
                <a:lnTo>
                  <a:pt x="785" y="327"/>
                </a:lnTo>
                <a:lnTo>
                  <a:pt x="875" y="267"/>
                </a:lnTo>
                <a:lnTo>
                  <a:pt x="969" y="214"/>
                </a:lnTo>
                <a:lnTo>
                  <a:pt x="1067" y="166"/>
                </a:lnTo>
                <a:lnTo>
                  <a:pt x="1168" y="123"/>
                </a:lnTo>
                <a:lnTo>
                  <a:pt x="1272" y="87"/>
                </a:lnTo>
                <a:lnTo>
                  <a:pt x="1379" y="57"/>
                </a:lnTo>
                <a:lnTo>
                  <a:pt x="1488" y="32"/>
                </a:lnTo>
                <a:lnTo>
                  <a:pt x="1599" y="15"/>
                </a:lnTo>
                <a:lnTo>
                  <a:pt x="1713" y="5"/>
                </a:lnTo>
                <a:lnTo>
                  <a:pt x="1829" y="0"/>
                </a:lnTo>
                <a:close/>
              </a:path>
            </a:pathLst>
          </a:custGeom>
          <a:solidFill>
            <a:schemeClr val="accent1"/>
          </a:solidFill>
          <a:ln w="19050" cap="flat" cmpd="sng">
            <a:solidFill>
              <a:srgbClr val="19516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>
              <a:buClr>
                <a:srgbClr val="000000"/>
              </a:buClr>
              <a:buSzPts val="1800"/>
              <a:defRPr/>
            </a:pPr>
            <a:endParaRPr sz="2800" dirty="0"/>
          </a:p>
        </p:txBody>
      </p:sp>
      <p:sp>
        <p:nvSpPr>
          <p:cNvPr id="7" name="Shape3_20210630_091508">
            <a:extLst>
              <a:ext uri="{FF2B5EF4-FFF2-40B4-BE49-F238E27FC236}">
                <a16:creationId xmlns:a16="http://schemas.microsoft.com/office/drawing/2014/main" id="{49B5DFDC-F488-FF1D-2F9E-8625DB56136E}"/>
              </a:ext>
            </a:extLst>
          </p:cNvPr>
          <p:cNvSpPr/>
          <p:nvPr/>
        </p:nvSpPr>
        <p:spPr>
          <a:xfrm>
            <a:off x="714254" y="4310130"/>
            <a:ext cx="586706" cy="582473"/>
          </a:xfrm>
          <a:custGeom>
            <a:avLst/>
            <a:gdLst/>
            <a:ahLst/>
            <a:cxnLst/>
            <a:rect l="l" t="t" r="r" b="b"/>
            <a:pathLst>
              <a:path w="3740" h="3713" extrusionOk="0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accent1"/>
          </a:solidFill>
          <a:ln w="19050" cap="flat" cmpd="sng">
            <a:solidFill>
              <a:srgbClr val="19516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>
              <a:buClr>
                <a:srgbClr val="000000"/>
              </a:buClr>
              <a:buSzPts val="1800"/>
            </a:pPr>
            <a:endParaRPr sz="2800" dirty="0"/>
          </a:p>
        </p:txBody>
      </p:sp>
      <p:sp>
        <p:nvSpPr>
          <p:cNvPr id="8" name="Shape1_20210621_150455">
            <a:extLst>
              <a:ext uri="{FF2B5EF4-FFF2-40B4-BE49-F238E27FC236}">
                <a16:creationId xmlns:a16="http://schemas.microsoft.com/office/drawing/2014/main" id="{EF42ADD7-89D4-8C32-4512-9BA40D03A197}"/>
              </a:ext>
            </a:extLst>
          </p:cNvPr>
          <p:cNvSpPr txBox="1"/>
          <p:nvPr/>
        </p:nvSpPr>
        <p:spPr>
          <a:xfrm>
            <a:off x="1446809" y="2397772"/>
            <a:ext cx="15665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" name="Shape2_20210621_150455">
            <a:extLst>
              <a:ext uri="{FF2B5EF4-FFF2-40B4-BE49-F238E27FC236}">
                <a16:creationId xmlns:a16="http://schemas.microsoft.com/office/drawing/2014/main" id="{EA4FDDA5-B01D-A40C-7297-113F1DEB0CDC}"/>
              </a:ext>
            </a:extLst>
          </p:cNvPr>
          <p:cNvSpPr txBox="1"/>
          <p:nvPr/>
        </p:nvSpPr>
        <p:spPr>
          <a:xfrm>
            <a:off x="1446809" y="4478253"/>
            <a:ext cx="15665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" name="Google Shape;504;p3">
            <a:extLst>
              <a:ext uri="{FF2B5EF4-FFF2-40B4-BE49-F238E27FC236}">
                <a16:creationId xmlns:a16="http://schemas.microsoft.com/office/drawing/2014/main" id="{60FF1898-B997-A60C-4C9A-498CE3676DE5}"/>
              </a:ext>
            </a:extLst>
          </p:cNvPr>
          <p:cNvSpPr txBox="1"/>
          <p:nvPr/>
        </p:nvSpPr>
        <p:spPr>
          <a:xfrm>
            <a:off x="714252" y="1690723"/>
            <a:ext cx="241550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104A65"/>
              </a:buClr>
              <a:buSzPts val="2000"/>
              <a:buFont typeface="Arial"/>
              <a:buNone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80A15C9-5720-74A5-10E6-05ACDC1022BE}"/>
              </a:ext>
            </a:extLst>
          </p:cNvPr>
          <p:cNvGraphicFramePr/>
          <p:nvPr/>
        </p:nvGraphicFramePr>
        <p:xfrm>
          <a:off x="3703570" y="1653050"/>
          <a:ext cx="7970270" cy="2677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97" name="Group 96">
            <a:extLst>
              <a:ext uri="{FF2B5EF4-FFF2-40B4-BE49-F238E27FC236}">
                <a16:creationId xmlns:a16="http://schemas.microsoft.com/office/drawing/2014/main" id="{899004CB-B007-601B-EC3D-F00C22ED55E3}"/>
              </a:ext>
            </a:extLst>
          </p:cNvPr>
          <p:cNvGrpSpPr/>
          <p:nvPr/>
        </p:nvGrpSpPr>
        <p:grpSpPr>
          <a:xfrm>
            <a:off x="852503" y="2367072"/>
            <a:ext cx="310210" cy="307624"/>
            <a:chOff x="852503" y="2367072"/>
            <a:chExt cx="310210" cy="307624"/>
          </a:xfrm>
          <a:solidFill>
            <a:schemeClr val="accent1"/>
          </a:solidFill>
        </p:grpSpPr>
        <p:sp>
          <p:nvSpPr>
            <p:cNvPr id="12" name="Freeform 1532">
              <a:extLst>
                <a:ext uri="{FF2B5EF4-FFF2-40B4-BE49-F238E27FC236}">
                  <a16:creationId xmlns:a16="http://schemas.microsoft.com/office/drawing/2014/main" id="{C9B3B76A-00E3-949B-3B67-9E3121383C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43" y="2577756"/>
              <a:ext cx="76237" cy="74968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3" name="Freeform 1533">
              <a:extLst>
                <a:ext uri="{FF2B5EF4-FFF2-40B4-BE49-F238E27FC236}">
                  <a16:creationId xmlns:a16="http://schemas.microsoft.com/office/drawing/2014/main" id="{833BA89C-0F7A-2F71-F776-B23757C3F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132" y="2369654"/>
              <a:ext cx="85440" cy="84016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4" name="Freeform 1534">
              <a:extLst>
                <a:ext uri="{FF2B5EF4-FFF2-40B4-BE49-F238E27FC236}">
                  <a16:creationId xmlns:a16="http://schemas.microsoft.com/office/drawing/2014/main" id="{B46A76DF-0CEA-129F-B8B3-50641E41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503" y="2414893"/>
              <a:ext cx="95955" cy="73675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5" name="Freeform 1535">
              <a:extLst>
                <a:ext uri="{FF2B5EF4-FFF2-40B4-BE49-F238E27FC236}">
                  <a16:creationId xmlns:a16="http://schemas.microsoft.com/office/drawing/2014/main" id="{E01B0EA9-4E6B-7D02-62F4-D974FC018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138" y="2367072"/>
              <a:ext cx="78867" cy="94355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6" name="Freeform 1536">
              <a:extLst>
                <a:ext uri="{FF2B5EF4-FFF2-40B4-BE49-F238E27FC236}">
                  <a16:creationId xmlns:a16="http://schemas.microsoft.com/office/drawing/2014/main" id="{0368BD0F-19D6-07A7-02A9-3ACBEEFB9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258" y="2473059"/>
              <a:ext cx="48634" cy="45239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7" name="Freeform 1537">
              <a:extLst>
                <a:ext uri="{FF2B5EF4-FFF2-40B4-BE49-F238E27FC236}">
                  <a16:creationId xmlns:a16="http://schemas.microsoft.com/office/drawing/2014/main" id="{5D44C515-7763-F712-0397-B50574B1E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3" y="2544150"/>
              <a:ext cx="49949" cy="47824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8" name="Freeform 1538">
              <a:extLst>
                <a:ext uri="{FF2B5EF4-FFF2-40B4-BE49-F238E27FC236}">
                  <a16:creationId xmlns:a16="http://schemas.microsoft.com/office/drawing/2014/main" id="{109343F8-498A-F6F1-E6D8-9A5741851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74" y="2453669"/>
              <a:ext cx="122243" cy="120207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9" name="Freeform 1539">
              <a:extLst>
                <a:ext uri="{FF2B5EF4-FFF2-40B4-BE49-F238E27FC236}">
                  <a16:creationId xmlns:a16="http://schemas.microsoft.com/office/drawing/2014/main" id="{9A72ADFB-4FD5-294F-D0C1-461674B62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155" y="2551904"/>
              <a:ext cx="123558" cy="122792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0" name="Freeform 1540">
              <a:extLst>
                <a:ext uri="{FF2B5EF4-FFF2-40B4-BE49-F238E27FC236}">
                  <a16:creationId xmlns:a16="http://schemas.microsoft.com/office/drawing/2014/main" id="{A0C7EDE6-2C62-CDD6-7044-7A55694E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407" y="2379994"/>
              <a:ext cx="153789" cy="153813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1" name="Freeform 1541">
              <a:extLst>
                <a:ext uri="{FF2B5EF4-FFF2-40B4-BE49-F238E27FC236}">
                  <a16:creationId xmlns:a16="http://schemas.microsoft.com/office/drawing/2014/main" id="{9E4B52B0-792C-3962-6867-17056F2125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447" y="2526055"/>
              <a:ext cx="149848" cy="143472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2" name="Freeform 1542">
              <a:extLst>
                <a:ext uri="{FF2B5EF4-FFF2-40B4-BE49-F238E27FC236}">
                  <a16:creationId xmlns:a16="http://schemas.microsoft.com/office/drawing/2014/main" id="{CCDA32D5-7109-03CE-B055-12E70CCA74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2916" y="2509249"/>
              <a:ext cx="60466" cy="56874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3" name="Freeform 1543">
              <a:extLst>
                <a:ext uri="{FF2B5EF4-FFF2-40B4-BE49-F238E27FC236}">
                  <a16:creationId xmlns:a16="http://schemas.microsoft.com/office/drawing/2014/main" id="{DEBAD237-4F7E-6CA4-9176-EF3150BE9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223" y="2379997"/>
              <a:ext cx="26289" cy="2585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7E8DA0FD-8A85-8AD6-48BB-D9E4F9B2ACEF}"/>
              </a:ext>
            </a:extLst>
          </p:cNvPr>
          <p:cNvGrpSpPr/>
          <p:nvPr/>
        </p:nvGrpSpPr>
        <p:grpSpPr>
          <a:xfrm>
            <a:off x="863016" y="4455330"/>
            <a:ext cx="289178" cy="292066"/>
            <a:chOff x="863016" y="4455330"/>
            <a:chExt cx="289178" cy="292066"/>
          </a:xfrm>
          <a:solidFill>
            <a:schemeClr val="accent1"/>
          </a:solidFill>
        </p:grpSpPr>
        <p:sp>
          <p:nvSpPr>
            <p:cNvPr id="24" name="Freeform 380">
              <a:extLst>
                <a:ext uri="{FF2B5EF4-FFF2-40B4-BE49-F238E27FC236}">
                  <a16:creationId xmlns:a16="http://schemas.microsoft.com/office/drawing/2014/main" id="{328BB8C4-6D86-9D2F-9F0C-DA918B126D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016" y="4455330"/>
              <a:ext cx="225559" cy="228450"/>
            </a:xfrm>
            <a:custGeom>
              <a:avLst/>
              <a:gdLst>
                <a:gd name="T0" fmla="*/ 142 w 285"/>
                <a:gd name="T1" fmla="*/ 285 h 285"/>
                <a:gd name="T2" fmla="*/ 0 w 285"/>
                <a:gd name="T3" fmla="*/ 143 h 285"/>
                <a:gd name="T4" fmla="*/ 142 w 285"/>
                <a:gd name="T5" fmla="*/ 0 h 285"/>
                <a:gd name="T6" fmla="*/ 285 w 285"/>
                <a:gd name="T7" fmla="*/ 143 h 285"/>
                <a:gd name="T8" fmla="*/ 142 w 285"/>
                <a:gd name="T9" fmla="*/ 285 h 285"/>
                <a:gd name="T10" fmla="*/ 142 w 285"/>
                <a:gd name="T11" fmla="*/ 12 h 285"/>
                <a:gd name="T12" fmla="*/ 12 w 285"/>
                <a:gd name="T13" fmla="*/ 143 h 285"/>
                <a:gd name="T14" fmla="*/ 142 w 285"/>
                <a:gd name="T15" fmla="*/ 273 h 285"/>
                <a:gd name="T16" fmla="*/ 273 w 285"/>
                <a:gd name="T17" fmla="*/ 143 h 285"/>
                <a:gd name="T18" fmla="*/ 142 w 285"/>
                <a:gd name="T19" fmla="*/ 1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5" h="285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5" name="Freeform 381">
              <a:extLst>
                <a:ext uri="{FF2B5EF4-FFF2-40B4-BE49-F238E27FC236}">
                  <a16:creationId xmlns:a16="http://schemas.microsoft.com/office/drawing/2014/main" id="{5465DB47-1F51-3563-CBF0-5EAA347592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522" y="4628832"/>
              <a:ext cx="115672" cy="118564"/>
            </a:xfrm>
            <a:custGeom>
              <a:avLst/>
              <a:gdLst>
                <a:gd name="T0" fmla="*/ 119 w 145"/>
                <a:gd name="T1" fmla="*/ 146 h 146"/>
                <a:gd name="T2" fmla="*/ 100 w 145"/>
                <a:gd name="T3" fmla="*/ 138 h 146"/>
                <a:gd name="T4" fmla="*/ 2 w 145"/>
                <a:gd name="T5" fmla="*/ 40 h 146"/>
                <a:gd name="T6" fmla="*/ 2 w 145"/>
                <a:gd name="T7" fmla="*/ 32 h 146"/>
                <a:gd name="T8" fmla="*/ 31 w 145"/>
                <a:gd name="T9" fmla="*/ 3 h 146"/>
                <a:gd name="T10" fmla="*/ 40 w 145"/>
                <a:gd name="T11" fmla="*/ 3 h 146"/>
                <a:gd name="T12" fmla="*/ 138 w 145"/>
                <a:gd name="T13" fmla="*/ 100 h 146"/>
                <a:gd name="T14" fmla="*/ 145 w 145"/>
                <a:gd name="T15" fmla="*/ 119 h 146"/>
                <a:gd name="T16" fmla="*/ 138 w 145"/>
                <a:gd name="T17" fmla="*/ 138 h 146"/>
                <a:gd name="T18" fmla="*/ 119 w 145"/>
                <a:gd name="T19" fmla="*/ 146 h 146"/>
                <a:gd name="T20" fmla="*/ 15 w 145"/>
                <a:gd name="T21" fmla="*/ 36 h 146"/>
                <a:gd name="T22" fmla="*/ 109 w 145"/>
                <a:gd name="T23" fmla="*/ 129 h 146"/>
                <a:gd name="T24" fmla="*/ 109 w 145"/>
                <a:gd name="T25" fmla="*/ 129 h 146"/>
                <a:gd name="T26" fmla="*/ 129 w 145"/>
                <a:gd name="T27" fmla="*/ 129 h 146"/>
                <a:gd name="T28" fmla="*/ 133 w 145"/>
                <a:gd name="T29" fmla="*/ 119 h 146"/>
                <a:gd name="T30" fmla="*/ 129 w 145"/>
                <a:gd name="T31" fmla="*/ 109 h 146"/>
                <a:gd name="T32" fmla="*/ 36 w 145"/>
                <a:gd name="T33" fmla="*/ 16 h 146"/>
                <a:gd name="T34" fmla="*/ 15 w 145"/>
                <a:gd name="T35" fmla="*/ 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6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6" name="Freeform 382">
              <a:extLst>
                <a:ext uri="{FF2B5EF4-FFF2-40B4-BE49-F238E27FC236}">
                  <a16:creationId xmlns:a16="http://schemas.microsoft.com/office/drawing/2014/main" id="{269206B2-BF71-4979-2F57-4CDF4D940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608" y="4492919"/>
              <a:ext cx="80971" cy="80971"/>
            </a:xfrm>
            <a:custGeom>
              <a:avLst/>
              <a:gdLst>
                <a:gd name="T0" fmla="*/ 6 w 99"/>
                <a:gd name="T1" fmla="*/ 100 h 100"/>
                <a:gd name="T2" fmla="*/ 0 w 99"/>
                <a:gd name="T3" fmla="*/ 94 h 100"/>
                <a:gd name="T4" fmla="*/ 93 w 99"/>
                <a:gd name="T5" fmla="*/ 0 h 100"/>
                <a:gd name="T6" fmla="*/ 99 w 99"/>
                <a:gd name="T7" fmla="*/ 6 h 100"/>
                <a:gd name="T8" fmla="*/ 93 w 99"/>
                <a:gd name="T9" fmla="*/ 12 h 100"/>
                <a:gd name="T10" fmla="*/ 12 w 99"/>
                <a:gd name="T11" fmla="*/ 94 h 100"/>
                <a:gd name="T12" fmla="*/ 6 w 9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10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</p:grpSp>
      <p:sp>
        <p:nvSpPr>
          <p:cNvPr id="27" name="Shape1_20210630_091508">
            <a:extLst>
              <a:ext uri="{FF2B5EF4-FFF2-40B4-BE49-F238E27FC236}">
                <a16:creationId xmlns:a16="http://schemas.microsoft.com/office/drawing/2014/main" id="{112B6F28-F3C3-1DD4-C673-67329930E180}"/>
              </a:ext>
            </a:extLst>
          </p:cNvPr>
          <p:cNvSpPr/>
          <p:nvPr/>
        </p:nvSpPr>
        <p:spPr>
          <a:xfrm>
            <a:off x="3645364" y="4497492"/>
            <a:ext cx="8028476" cy="11717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defRPr/>
            </a:pPr>
            <a:endParaRPr sz="2800" dirty="0">
              <a:solidFill>
                <a:srgbClr val="FFFFFF"/>
              </a:solidFill>
            </a:endParaRPr>
          </a:p>
        </p:txBody>
      </p:sp>
      <p:sp>
        <p:nvSpPr>
          <p:cNvPr id="28" name="Google Shape;511;p3">
            <a:extLst>
              <a:ext uri="{FF2B5EF4-FFF2-40B4-BE49-F238E27FC236}">
                <a16:creationId xmlns:a16="http://schemas.microsoft.com/office/drawing/2014/main" id="{111DE949-7DA8-6AF4-0CC4-F26710C17A86}"/>
              </a:ext>
            </a:extLst>
          </p:cNvPr>
          <p:cNvSpPr/>
          <p:nvPr/>
        </p:nvSpPr>
        <p:spPr>
          <a:xfrm>
            <a:off x="3736285" y="5226653"/>
            <a:ext cx="27214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600"/>
              <a:buFont typeface="Arial"/>
              <a:buNone/>
            </a:pPr>
            <a:r>
              <a:rPr lang="en-US" sz="1600" dirty="0">
                <a:solidFill>
                  <a:srgbClr val="FFFFFF"/>
                </a:solidFill>
              </a:rPr>
              <a:t>Insert Text Here</a:t>
            </a:r>
            <a:endParaRPr sz="1600" dirty="0">
              <a:solidFill>
                <a:srgbClr val="FFFFFF"/>
              </a:solidFill>
            </a:endParaRPr>
          </a:p>
        </p:txBody>
      </p:sp>
      <p:sp>
        <p:nvSpPr>
          <p:cNvPr id="83" name="Google Shape;513;p3">
            <a:extLst>
              <a:ext uri="{FF2B5EF4-FFF2-40B4-BE49-F238E27FC236}">
                <a16:creationId xmlns:a16="http://schemas.microsoft.com/office/drawing/2014/main" id="{8BF03853-45D8-FADA-F7C7-C5618E190C49}"/>
              </a:ext>
            </a:extLst>
          </p:cNvPr>
          <p:cNvSpPr/>
          <p:nvPr/>
        </p:nvSpPr>
        <p:spPr>
          <a:xfrm>
            <a:off x="4242541" y="4705077"/>
            <a:ext cx="221514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600"/>
              <a:buFont typeface="Arial"/>
              <a:buNone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sz="1600" b="1" dirty="0">
              <a:solidFill>
                <a:srgbClr val="FFFFFF"/>
              </a:solidFill>
            </a:endParaRPr>
          </a:p>
        </p:txBody>
      </p:sp>
      <p:sp>
        <p:nvSpPr>
          <p:cNvPr id="84" name="Freeform 843">
            <a:extLst>
              <a:ext uri="{FF2B5EF4-FFF2-40B4-BE49-F238E27FC236}">
                <a16:creationId xmlns:a16="http://schemas.microsoft.com/office/drawing/2014/main" id="{CC2F5BD2-F2F1-6425-B39B-57B8C91EE685}"/>
              </a:ext>
            </a:extLst>
          </p:cNvPr>
          <p:cNvSpPr>
            <a:spLocks noEditPoints="1"/>
          </p:cNvSpPr>
          <p:nvPr/>
        </p:nvSpPr>
        <p:spPr bwMode="auto">
          <a:xfrm>
            <a:off x="3929827" y="4651245"/>
            <a:ext cx="59938" cy="63315"/>
          </a:xfrm>
          <a:custGeom>
            <a:avLst/>
            <a:gdLst>
              <a:gd name="T0" fmla="*/ 39 w 78"/>
              <a:gd name="T1" fmla="*/ 79 h 79"/>
              <a:gd name="T2" fmla="*/ 0 w 78"/>
              <a:gd name="T3" fmla="*/ 40 h 79"/>
              <a:gd name="T4" fmla="*/ 39 w 78"/>
              <a:gd name="T5" fmla="*/ 0 h 79"/>
              <a:gd name="T6" fmla="*/ 78 w 78"/>
              <a:gd name="T7" fmla="*/ 40 h 79"/>
              <a:gd name="T8" fmla="*/ 39 w 78"/>
              <a:gd name="T9" fmla="*/ 79 h 79"/>
              <a:gd name="T10" fmla="*/ 39 w 78"/>
              <a:gd name="T11" fmla="*/ 13 h 79"/>
              <a:gd name="T12" fmla="*/ 12 w 78"/>
              <a:gd name="T13" fmla="*/ 40 h 79"/>
              <a:gd name="T14" fmla="*/ 39 w 78"/>
              <a:gd name="T15" fmla="*/ 66 h 79"/>
              <a:gd name="T16" fmla="*/ 66 w 78"/>
              <a:gd name="T17" fmla="*/ 40 h 79"/>
              <a:gd name="T18" fmla="*/ 39 w 78"/>
              <a:gd name="T19" fmla="*/ 13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8" h="79">
                <a:moveTo>
                  <a:pt x="39" y="79"/>
                </a:moveTo>
                <a:cubicBezTo>
                  <a:pt x="17" y="79"/>
                  <a:pt x="0" y="61"/>
                  <a:pt x="0" y="40"/>
                </a:cubicBezTo>
                <a:cubicBezTo>
                  <a:pt x="0" y="18"/>
                  <a:pt x="17" y="0"/>
                  <a:pt x="39" y="0"/>
                </a:cubicBezTo>
                <a:cubicBezTo>
                  <a:pt x="60" y="0"/>
                  <a:pt x="78" y="18"/>
                  <a:pt x="78" y="40"/>
                </a:cubicBezTo>
                <a:cubicBezTo>
                  <a:pt x="78" y="61"/>
                  <a:pt x="60" y="79"/>
                  <a:pt x="39" y="79"/>
                </a:cubicBezTo>
                <a:close/>
                <a:moveTo>
                  <a:pt x="39" y="13"/>
                </a:moveTo>
                <a:cubicBezTo>
                  <a:pt x="24" y="13"/>
                  <a:pt x="12" y="25"/>
                  <a:pt x="12" y="40"/>
                </a:cubicBezTo>
                <a:cubicBezTo>
                  <a:pt x="12" y="54"/>
                  <a:pt x="24" y="66"/>
                  <a:pt x="39" y="66"/>
                </a:cubicBezTo>
                <a:cubicBezTo>
                  <a:pt x="54" y="66"/>
                  <a:pt x="66" y="54"/>
                  <a:pt x="66" y="40"/>
                </a:cubicBezTo>
                <a:cubicBezTo>
                  <a:pt x="66" y="25"/>
                  <a:pt x="54" y="13"/>
                  <a:pt x="39" y="1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5" name="Freeform 844">
            <a:extLst>
              <a:ext uri="{FF2B5EF4-FFF2-40B4-BE49-F238E27FC236}">
                <a16:creationId xmlns:a16="http://schemas.microsoft.com/office/drawing/2014/main" id="{5D2792CA-E03C-C4DA-99BF-16081FA03EAB}"/>
              </a:ext>
            </a:extLst>
          </p:cNvPr>
          <p:cNvSpPr>
            <a:spLocks noEditPoints="1"/>
          </p:cNvSpPr>
          <p:nvPr/>
        </p:nvSpPr>
        <p:spPr bwMode="auto">
          <a:xfrm>
            <a:off x="3787117" y="4746218"/>
            <a:ext cx="111313" cy="247503"/>
          </a:xfrm>
          <a:custGeom>
            <a:avLst/>
            <a:gdLst>
              <a:gd name="T0" fmla="*/ 110 w 139"/>
              <a:gd name="T1" fmla="*/ 311 h 311"/>
              <a:gd name="T2" fmla="*/ 87 w 139"/>
              <a:gd name="T3" fmla="*/ 300 h 311"/>
              <a:gd name="T4" fmla="*/ 65 w 139"/>
              <a:gd name="T5" fmla="*/ 311 h 311"/>
              <a:gd name="T6" fmla="*/ 36 w 139"/>
              <a:gd name="T7" fmla="*/ 282 h 311"/>
              <a:gd name="T8" fmla="*/ 36 w 139"/>
              <a:gd name="T9" fmla="*/ 158 h 311"/>
              <a:gd name="T10" fmla="*/ 26 w 139"/>
              <a:gd name="T11" fmla="*/ 161 h 311"/>
              <a:gd name="T12" fmla="*/ 8 w 139"/>
              <a:gd name="T13" fmla="*/ 155 h 311"/>
              <a:gd name="T14" fmla="*/ 0 w 139"/>
              <a:gd name="T15" fmla="*/ 137 h 311"/>
              <a:gd name="T16" fmla="*/ 0 w 139"/>
              <a:gd name="T17" fmla="*/ 42 h 311"/>
              <a:gd name="T18" fmla="*/ 42 w 139"/>
              <a:gd name="T19" fmla="*/ 0 h 311"/>
              <a:gd name="T20" fmla="*/ 132 w 139"/>
              <a:gd name="T21" fmla="*/ 0 h 311"/>
              <a:gd name="T22" fmla="*/ 137 w 139"/>
              <a:gd name="T23" fmla="*/ 3 h 311"/>
              <a:gd name="T24" fmla="*/ 138 w 139"/>
              <a:gd name="T25" fmla="*/ 8 h 311"/>
              <a:gd name="T26" fmla="*/ 136 w 139"/>
              <a:gd name="T27" fmla="*/ 19 h 311"/>
              <a:gd name="T28" fmla="*/ 136 w 139"/>
              <a:gd name="T29" fmla="*/ 123 h 311"/>
              <a:gd name="T30" fmla="*/ 138 w 139"/>
              <a:gd name="T31" fmla="*/ 130 h 311"/>
              <a:gd name="T32" fmla="*/ 139 w 139"/>
              <a:gd name="T33" fmla="*/ 133 h 311"/>
              <a:gd name="T34" fmla="*/ 139 w 139"/>
              <a:gd name="T35" fmla="*/ 136 h 311"/>
              <a:gd name="T36" fmla="*/ 139 w 139"/>
              <a:gd name="T37" fmla="*/ 137 h 311"/>
              <a:gd name="T38" fmla="*/ 139 w 139"/>
              <a:gd name="T39" fmla="*/ 137 h 311"/>
              <a:gd name="T40" fmla="*/ 139 w 139"/>
              <a:gd name="T41" fmla="*/ 140 h 311"/>
              <a:gd name="T42" fmla="*/ 139 w 139"/>
              <a:gd name="T43" fmla="*/ 140 h 311"/>
              <a:gd name="T44" fmla="*/ 139 w 139"/>
              <a:gd name="T45" fmla="*/ 282 h 311"/>
              <a:gd name="T46" fmla="*/ 110 w 139"/>
              <a:gd name="T47" fmla="*/ 311 h 311"/>
              <a:gd name="T48" fmla="*/ 93 w 139"/>
              <a:gd name="T49" fmla="*/ 282 h 311"/>
              <a:gd name="T50" fmla="*/ 110 w 139"/>
              <a:gd name="T51" fmla="*/ 298 h 311"/>
              <a:gd name="T52" fmla="*/ 126 w 139"/>
              <a:gd name="T53" fmla="*/ 282 h 311"/>
              <a:gd name="T54" fmla="*/ 126 w 139"/>
              <a:gd name="T55" fmla="*/ 137 h 311"/>
              <a:gd name="T56" fmla="*/ 126 w 139"/>
              <a:gd name="T57" fmla="*/ 136 h 311"/>
              <a:gd name="T58" fmla="*/ 126 w 139"/>
              <a:gd name="T59" fmla="*/ 135 h 311"/>
              <a:gd name="T60" fmla="*/ 123 w 139"/>
              <a:gd name="T61" fmla="*/ 123 h 311"/>
              <a:gd name="T62" fmla="*/ 123 w 139"/>
              <a:gd name="T63" fmla="*/ 19 h 311"/>
              <a:gd name="T64" fmla="*/ 124 w 139"/>
              <a:gd name="T65" fmla="*/ 12 h 311"/>
              <a:gd name="T66" fmla="*/ 42 w 139"/>
              <a:gd name="T67" fmla="*/ 12 h 311"/>
              <a:gd name="T68" fmla="*/ 12 w 139"/>
              <a:gd name="T69" fmla="*/ 42 h 311"/>
              <a:gd name="T70" fmla="*/ 12 w 139"/>
              <a:gd name="T71" fmla="*/ 137 h 311"/>
              <a:gd name="T72" fmla="*/ 16 w 139"/>
              <a:gd name="T73" fmla="*/ 146 h 311"/>
              <a:gd name="T74" fmla="*/ 25 w 139"/>
              <a:gd name="T75" fmla="*/ 149 h 311"/>
              <a:gd name="T76" fmla="*/ 36 w 139"/>
              <a:gd name="T77" fmla="*/ 137 h 311"/>
              <a:gd name="T78" fmla="*/ 36 w 139"/>
              <a:gd name="T79" fmla="*/ 71 h 311"/>
              <a:gd name="T80" fmla="*/ 42 w 139"/>
              <a:gd name="T81" fmla="*/ 65 h 311"/>
              <a:gd name="T82" fmla="*/ 48 w 139"/>
              <a:gd name="T83" fmla="*/ 71 h 311"/>
              <a:gd name="T84" fmla="*/ 48 w 139"/>
              <a:gd name="T85" fmla="*/ 282 h 311"/>
              <a:gd name="T86" fmla="*/ 65 w 139"/>
              <a:gd name="T87" fmla="*/ 298 h 311"/>
              <a:gd name="T88" fmla="*/ 81 w 139"/>
              <a:gd name="T89" fmla="*/ 282 h 311"/>
              <a:gd name="T90" fmla="*/ 81 w 139"/>
              <a:gd name="T91" fmla="*/ 172 h 311"/>
              <a:gd name="T92" fmla="*/ 87 w 139"/>
              <a:gd name="T93" fmla="*/ 166 h 311"/>
              <a:gd name="T94" fmla="*/ 93 w 139"/>
              <a:gd name="T95" fmla="*/ 172 h 311"/>
              <a:gd name="T96" fmla="*/ 93 w 139"/>
              <a:gd name="T97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9" h="311">
                <a:moveTo>
                  <a:pt x="110" y="311"/>
                </a:moveTo>
                <a:cubicBezTo>
                  <a:pt x="101" y="311"/>
                  <a:pt x="93" y="306"/>
                  <a:pt x="87" y="300"/>
                </a:cubicBezTo>
                <a:cubicBezTo>
                  <a:pt x="82" y="306"/>
                  <a:pt x="74" y="311"/>
                  <a:pt x="65" y="311"/>
                </a:cubicBezTo>
                <a:cubicBezTo>
                  <a:pt x="49" y="311"/>
                  <a:pt x="36" y="298"/>
                  <a:pt x="36" y="282"/>
                </a:cubicBezTo>
                <a:cubicBezTo>
                  <a:pt x="36" y="158"/>
                  <a:pt x="36" y="158"/>
                  <a:pt x="36" y="158"/>
                </a:cubicBezTo>
                <a:cubicBezTo>
                  <a:pt x="33" y="160"/>
                  <a:pt x="30" y="161"/>
                  <a:pt x="26" y="161"/>
                </a:cubicBezTo>
                <a:cubicBezTo>
                  <a:pt x="19" y="162"/>
                  <a:pt x="13" y="160"/>
                  <a:pt x="8" y="155"/>
                </a:cubicBezTo>
                <a:cubicBezTo>
                  <a:pt x="3" y="151"/>
                  <a:pt x="0" y="144"/>
                  <a:pt x="0" y="13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9"/>
                  <a:pt x="19" y="0"/>
                  <a:pt x="4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4" y="0"/>
                  <a:pt x="136" y="1"/>
                  <a:pt x="137" y="3"/>
                </a:cubicBezTo>
                <a:cubicBezTo>
                  <a:pt x="138" y="4"/>
                  <a:pt x="138" y="6"/>
                  <a:pt x="138" y="8"/>
                </a:cubicBezTo>
                <a:cubicBezTo>
                  <a:pt x="136" y="12"/>
                  <a:pt x="136" y="16"/>
                  <a:pt x="136" y="19"/>
                </a:cubicBezTo>
                <a:cubicBezTo>
                  <a:pt x="136" y="123"/>
                  <a:pt x="136" y="123"/>
                  <a:pt x="136" y="123"/>
                </a:cubicBezTo>
                <a:cubicBezTo>
                  <a:pt x="136" y="125"/>
                  <a:pt x="136" y="128"/>
                  <a:pt x="138" y="130"/>
                </a:cubicBezTo>
                <a:cubicBezTo>
                  <a:pt x="138" y="131"/>
                  <a:pt x="139" y="132"/>
                  <a:pt x="139" y="133"/>
                </a:cubicBezTo>
                <a:cubicBezTo>
                  <a:pt x="139" y="136"/>
                  <a:pt x="139" y="136"/>
                  <a:pt x="139" y="136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282"/>
                  <a:pt x="139" y="282"/>
                  <a:pt x="139" y="282"/>
                </a:cubicBezTo>
                <a:cubicBezTo>
                  <a:pt x="139" y="298"/>
                  <a:pt x="126" y="311"/>
                  <a:pt x="110" y="311"/>
                </a:cubicBezTo>
                <a:close/>
                <a:moveTo>
                  <a:pt x="93" y="282"/>
                </a:moveTo>
                <a:cubicBezTo>
                  <a:pt x="93" y="291"/>
                  <a:pt x="101" y="298"/>
                  <a:pt x="110" y="298"/>
                </a:cubicBezTo>
                <a:cubicBezTo>
                  <a:pt x="119" y="298"/>
                  <a:pt x="126" y="291"/>
                  <a:pt x="126" y="282"/>
                </a:cubicBezTo>
                <a:cubicBezTo>
                  <a:pt x="126" y="137"/>
                  <a:pt x="126" y="137"/>
                  <a:pt x="126" y="137"/>
                </a:cubicBezTo>
                <a:cubicBezTo>
                  <a:pt x="126" y="137"/>
                  <a:pt x="126" y="136"/>
                  <a:pt x="126" y="136"/>
                </a:cubicBezTo>
                <a:cubicBezTo>
                  <a:pt x="126" y="136"/>
                  <a:pt x="126" y="135"/>
                  <a:pt x="126" y="135"/>
                </a:cubicBezTo>
                <a:cubicBezTo>
                  <a:pt x="124" y="131"/>
                  <a:pt x="123" y="127"/>
                  <a:pt x="123" y="123"/>
                </a:cubicBezTo>
                <a:cubicBezTo>
                  <a:pt x="123" y="19"/>
                  <a:pt x="123" y="19"/>
                  <a:pt x="123" y="19"/>
                </a:cubicBezTo>
                <a:cubicBezTo>
                  <a:pt x="123" y="17"/>
                  <a:pt x="124" y="15"/>
                  <a:pt x="124" y="12"/>
                </a:cubicBezTo>
                <a:cubicBezTo>
                  <a:pt x="42" y="12"/>
                  <a:pt x="42" y="12"/>
                  <a:pt x="42" y="12"/>
                </a:cubicBezTo>
                <a:cubicBezTo>
                  <a:pt x="25" y="12"/>
                  <a:pt x="12" y="26"/>
                  <a:pt x="12" y="42"/>
                </a:cubicBezTo>
                <a:cubicBezTo>
                  <a:pt x="12" y="137"/>
                  <a:pt x="12" y="137"/>
                  <a:pt x="12" y="137"/>
                </a:cubicBezTo>
                <a:cubicBezTo>
                  <a:pt x="12" y="141"/>
                  <a:pt x="13" y="144"/>
                  <a:pt x="16" y="146"/>
                </a:cubicBezTo>
                <a:cubicBezTo>
                  <a:pt x="18" y="148"/>
                  <a:pt x="22" y="150"/>
                  <a:pt x="25" y="149"/>
                </a:cubicBezTo>
                <a:cubicBezTo>
                  <a:pt x="31" y="149"/>
                  <a:pt x="36" y="143"/>
                  <a:pt x="36" y="137"/>
                </a:cubicBezTo>
                <a:cubicBezTo>
                  <a:pt x="36" y="71"/>
                  <a:pt x="36" y="71"/>
                  <a:pt x="36" y="71"/>
                </a:cubicBezTo>
                <a:cubicBezTo>
                  <a:pt x="36" y="68"/>
                  <a:pt x="39" y="65"/>
                  <a:pt x="42" y="65"/>
                </a:cubicBezTo>
                <a:cubicBezTo>
                  <a:pt x="45" y="65"/>
                  <a:pt x="48" y="68"/>
                  <a:pt x="48" y="71"/>
                </a:cubicBezTo>
                <a:cubicBezTo>
                  <a:pt x="48" y="282"/>
                  <a:pt x="48" y="282"/>
                  <a:pt x="48" y="282"/>
                </a:cubicBezTo>
                <a:cubicBezTo>
                  <a:pt x="48" y="291"/>
                  <a:pt x="55" y="298"/>
                  <a:pt x="65" y="298"/>
                </a:cubicBezTo>
                <a:cubicBezTo>
                  <a:pt x="74" y="298"/>
                  <a:pt x="81" y="291"/>
                  <a:pt x="81" y="282"/>
                </a:cubicBezTo>
                <a:cubicBezTo>
                  <a:pt x="81" y="172"/>
                  <a:pt x="81" y="172"/>
                  <a:pt x="81" y="172"/>
                </a:cubicBezTo>
                <a:cubicBezTo>
                  <a:pt x="81" y="169"/>
                  <a:pt x="84" y="166"/>
                  <a:pt x="87" y="166"/>
                </a:cubicBezTo>
                <a:cubicBezTo>
                  <a:pt x="91" y="166"/>
                  <a:pt x="93" y="169"/>
                  <a:pt x="93" y="172"/>
                </a:cubicBezTo>
                <a:lnTo>
                  <a:pt x="93" y="28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6" name="Freeform 845">
            <a:extLst>
              <a:ext uri="{FF2B5EF4-FFF2-40B4-BE49-F238E27FC236}">
                <a16:creationId xmlns:a16="http://schemas.microsoft.com/office/drawing/2014/main" id="{FF2E1B39-8508-FE58-F22E-D37E473482AF}"/>
              </a:ext>
            </a:extLst>
          </p:cNvPr>
          <p:cNvSpPr>
            <a:spLocks noEditPoints="1"/>
          </p:cNvSpPr>
          <p:nvPr/>
        </p:nvSpPr>
        <p:spPr bwMode="auto">
          <a:xfrm>
            <a:off x="3827078" y="4680025"/>
            <a:ext cx="57083" cy="57559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6" y="0"/>
                  <a:pt x="73" y="16"/>
                  <a:pt x="73" y="36"/>
                </a:cubicBezTo>
                <a:cubicBezTo>
                  <a:pt x="73" y="56"/>
                  <a:pt x="56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7" name="Freeform 846">
            <a:extLst>
              <a:ext uri="{FF2B5EF4-FFF2-40B4-BE49-F238E27FC236}">
                <a16:creationId xmlns:a16="http://schemas.microsoft.com/office/drawing/2014/main" id="{7E79494E-1B05-45DF-AA4C-DD22CFF1D019}"/>
              </a:ext>
            </a:extLst>
          </p:cNvPr>
          <p:cNvSpPr>
            <a:spLocks noEditPoints="1"/>
          </p:cNvSpPr>
          <p:nvPr/>
        </p:nvSpPr>
        <p:spPr bwMode="auto">
          <a:xfrm>
            <a:off x="4021158" y="4746218"/>
            <a:ext cx="111313" cy="247503"/>
          </a:xfrm>
          <a:custGeom>
            <a:avLst/>
            <a:gdLst>
              <a:gd name="T0" fmla="*/ 74 w 139"/>
              <a:gd name="T1" fmla="*/ 311 h 311"/>
              <a:gd name="T2" fmla="*/ 51 w 139"/>
              <a:gd name="T3" fmla="*/ 300 h 311"/>
              <a:gd name="T4" fmla="*/ 29 w 139"/>
              <a:gd name="T5" fmla="*/ 311 h 311"/>
              <a:gd name="T6" fmla="*/ 0 w 139"/>
              <a:gd name="T7" fmla="*/ 282 h 311"/>
              <a:gd name="T8" fmla="*/ 0 w 139"/>
              <a:gd name="T9" fmla="*/ 137 h 311"/>
              <a:gd name="T10" fmla="*/ 0 w 139"/>
              <a:gd name="T11" fmla="*/ 135 h 311"/>
              <a:gd name="T12" fmla="*/ 3 w 139"/>
              <a:gd name="T13" fmla="*/ 123 h 311"/>
              <a:gd name="T14" fmla="*/ 3 w 139"/>
              <a:gd name="T15" fmla="*/ 19 h 311"/>
              <a:gd name="T16" fmla="*/ 1 w 139"/>
              <a:gd name="T17" fmla="*/ 8 h 311"/>
              <a:gd name="T18" fmla="*/ 2 w 139"/>
              <a:gd name="T19" fmla="*/ 3 h 311"/>
              <a:gd name="T20" fmla="*/ 7 w 139"/>
              <a:gd name="T21" fmla="*/ 0 h 311"/>
              <a:gd name="T22" fmla="*/ 97 w 139"/>
              <a:gd name="T23" fmla="*/ 0 h 311"/>
              <a:gd name="T24" fmla="*/ 139 w 139"/>
              <a:gd name="T25" fmla="*/ 42 h 311"/>
              <a:gd name="T26" fmla="*/ 139 w 139"/>
              <a:gd name="T27" fmla="*/ 137 h 311"/>
              <a:gd name="T28" fmla="*/ 131 w 139"/>
              <a:gd name="T29" fmla="*/ 155 h 311"/>
              <a:gd name="T30" fmla="*/ 112 w 139"/>
              <a:gd name="T31" fmla="*/ 161 h 311"/>
              <a:gd name="T32" fmla="*/ 103 w 139"/>
              <a:gd name="T33" fmla="*/ 158 h 311"/>
              <a:gd name="T34" fmla="*/ 103 w 139"/>
              <a:gd name="T35" fmla="*/ 282 h 311"/>
              <a:gd name="T36" fmla="*/ 74 w 139"/>
              <a:gd name="T37" fmla="*/ 311 h 311"/>
              <a:gd name="T38" fmla="*/ 58 w 139"/>
              <a:gd name="T39" fmla="*/ 282 h 311"/>
              <a:gd name="T40" fmla="*/ 74 w 139"/>
              <a:gd name="T41" fmla="*/ 298 h 311"/>
              <a:gd name="T42" fmla="*/ 91 w 139"/>
              <a:gd name="T43" fmla="*/ 282 h 311"/>
              <a:gd name="T44" fmla="*/ 91 w 139"/>
              <a:gd name="T45" fmla="*/ 137 h 311"/>
              <a:gd name="T46" fmla="*/ 91 w 139"/>
              <a:gd name="T47" fmla="*/ 137 h 311"/>
              <a:gd name="T48" fmla="*/ 91 w 139"/>
              <a:gd name="T49" fmla="*/ 71 h 311"/>
              <a:gd name="T50" fmla="*/ 97 w 139"/>
              <a:gd name="T51" fmla="*/ 65 h 311"/>
              <a:gd name="T52" fmla="*/ 103 w 139"/>
              <a:gd name="T53" fmla="*/ 71 h 311"/>
              <a:gd name="T54" fmla="*/ 103 w 139"/>
              <a:gd name="T55" fmla="*/ 136 h 311"/>
              <a:gd name="T56" fmla="*/ 103 w 139"/>
              <a:gd name="T57" fmla="*/ 137 h 311"/>
              <a:gd name="T58" fmla="*/ 114 w 139"/>
              <a:gd name="T59" fmla="*/ 149 h 311"/>
              <a:gd name="T60" fmla="*/ 123 w 139"/>
              <a:gd name="T61" fmla="*/ 146 h 311"/>
              <a:gd name="T62" fmla="*/ 127 w 139"/>
              <a:gd name="T63" fmla="*/ 137 h 311"/>
              <a:gd name="T64" fmla="*/ 127 w 139"/>
              <a:gd name="T65" fmla="*/ 42 h 311"/>
              <a:gd name="T66" fmla="*/ 97 w 139"/>
              <a:gd name="T67" fmla="*/ 12 h 311"/>
              <a:gd name="T68" fmla="*/ 15 w 139"/>
              <a:gd name="T69" fmla="*/ 12 h 311"/>
              <a:gd name="T70" fmla="*/ 15 w 139"/>
              <a:gd name="T71" fmla="*/ 19 h 311"/>
              <a:gd name="T72" fmla="*/ 15 w 139"/>
              <a:gd name="T73" fmla="*/ 123 h 311"/>
              <a:gd name="T74" fmla="*/ 12 w 139"/>
              <a:gd name="T75" fmla="*/ 137 h 311"/>
              <a:gd name="T76" fmla="*/ 12 w 139"/>
              <a:gd name="T77" fmla="*/ 282 h 311"/>
              <a:gd name="T78" fmla="*/ 29 w 139"/>
              <a:gd name="T79" fmla="*/ 298 h 311"/>
              <a:gd name="T80" fmla="*/ 45 w 139"/>
              <a:gd name="T81" fmla="*/ 282 h 311"/>
              <a:gd name="T82" fmla="*/ 45 w 139"/>
              <a:gd name="T83" fmla="*/ 172 h 311"/>
              <a:gd name="T84" fmla="*/ 51 w 139"/>
              <a:gd name="T85" fmla="*/ 166 h 311"/>
              <a:gd name="T86" fmla="*/ 58 w 139"/>
              <a:gd name="T87" fmla="*/ 172 h 311"/>
              <a:gd name="T88" fmla="*/ 58 w 139"/>
              <a:gd name="T89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39" h="311">
                <a:moveTo>
                  <a:pt x="74" y="311"/>
                </a:moveTo>
                <a:cubicBezTo>
                  <a:pt x="65" y="311"/>
                  <a:pt x="57" y="306"/>
                  <a:pt x="51" y="300"/>
                </a:cubicBezTo>
                <a:cubicBezTo>
                  <a:pt x="46" y="306"/>
                  <a:pt x="38" y="311"/>
                  <a:pt x="29" y="311"/>
                </a:cubicBezTo>
                <a:cubicBezTo>
                  <a:pt x="13" y="311"/>
                  <a:pt x="0" y="298"/>
                  <a:pt x="0" y="282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136"/>
                  <a:pt x="0" y="135"/>
                  <a:pt x="0" y="135"/>
                </a:cubicBezTo>
                <a:cubicBezTo>
                  <a:pt x="2" y="130"/>
                  <a:pt x="3" y="124"/>
                  <a:pt x="3" y="123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16"/>
                  <a:pt x="2" y="12"/>
                  <a:pt x="1" y="8"/>
                </a:cubicBezTo>
                <a:cubicBezTo>
                  <a:pt x="0" y="6"/>
                  <a:pt x="1" y="4"/>
                  <a:pt x="2" y="3"/>
                </a:cubicBezTo>
                <a:cubicBezTo>
                  <a:pt x="3" y="1"/>
                  <a:pt x="5" y="0"/>
                  <a:pt x="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20" y="0"/>
                  <a:pt x="139" y="19"/>
                  <a:pt x="139" y="42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4"/>
                  <a:pt x="136" y="151"/>
                  <a:pt x="131" y="155"/>
                </a:cubicBezTo>
                <a:cubicBezTo>
                  <a:pt x="126" y="160"/>
                  <a:pt x="119" y="162"/>
                  <a:pt x="112" y="161"/>
                </a:cubicBezTo>
                <a:cubicBezTo>
                  <a:pt x="109" y="161"/>
                  <a:pt x="106" y="160"/>
                  <a:pt x="103" y="158"/>
                </a:cubicBezTo>
                <a:cubicBezTo>
                  <a:pt x="103" y="282"/>
                  <a:pt x="103" y="282"/>
                  <a:pt x="103" y="282"/>
                </a:cubicBezTo>
                <a:cubicBezTo>
                  <a:pt x="103" y="298"/>
                  <a:pt x="90" y="311"/>
                  <a:pt x="74" y="311"/>
                </a:cubicBezTo>
                <a:close/>
                <a:moveTo>
                  <a:pt x="58" y="282"/>
                </a:moveTo>
                <a:cubicBezTo>
                  <a:pt x="58" y="291"/>
                  <a:pt x="65" y="298"/>
                  <a:pt x="74" y="298"/>
                </a:cubicBezTo>
                <a:cubicBezTo>
                  <a:pt x="83" y="298"/>
                  <a:pt x="91" y="291"/>
                  <a:pt x="91" y="282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71"/>
                  <a:pt x="91" y="71"/>
                  <a:pt x="91" y="71"/>
                </a:cubicBezTo>
                <a:cubicBezTo>
                  <a:pt x="91" y="68"/>
                  <a:pt x="93" y="65"/>
                  <a:pt x="97" y="65"/>
                </a:cubicBezTo>
                <a:cubicBezTo>
                  <a:pt x="100" y="65"/>
                  <a:pt x="103" y="68"/>
                  <a:pt x="103" y="71"/>
                </a:cubicBezTo>
                <a:cubicBezTo>
                  <a:pt x="103" y="136"/>
                  <a:pt x="103" y="136"/>
                  <a:pt x="103" y="136"/>
                </a:cubicBezTo>
                <a:cubicBezTo>
                  <a:pt x="103" y="136"/>
                  <a:pt x="103" y="136"/>
                  <a:pt x="103" y="137"/>
                </a:cubicBezTo>
                <a:cubicBezTo>
                  <a:pt x="103" y="143"/>
                  <a:pt x="108" y="149"/>
                  <a:pt x="114" y="149"/>
                </a:cubicBezTo>
                <a:cubicBezTo>
                  <a:pt x="117" y="149"/>
                  <a:pt x="120" y="148"/>
                  <a:pt x="123" y="146"/>
                </a:cubicBezTo>
                <a:cubicBezTo>
                  <a:pt x="125" y="144"/>
                  <a:pt x="127" y="141"/>
                  <a:pt x="127" y="137"/>
                </a:cubicBezTo>
                <a:cubicBezTo>
                  <a:pt x="127" y="42"/>
                  <a:pt x="127" y="42"/>
                  <a:pt x="127" y="42"/>
                </a:cubicBezTo>
                <a:cubicBezTo>
                  <a:pt x="127" y="26"/>
                  <a:pt x="113" y="12"/>
                  <a:pt x="97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5" y="15"/>
                  <a:pt x="15" y="17"/>
                  <a:pt x="15" y="19"/>
                </a:cubicBezTo>
                <a:cubicBezTo>
                  <a:pt x="15" y="123"/>
                  <a:pt x="15" y="123"/>
                  <a:pt x="15" y="123"/>
                </a:cubicBezTo>
                <a:cubicBezTo>
                  <a:pt x="15" y="127"/>
                  <a:pt x="13" y="134"/>
                  <a:pt x="12" y="137"/>
                </a:cubicBezTo>
                <a:cubicBezTo>
                  <a:pt x="12" y="282"/>
                  <a:pt x="12" y="282"/>
                  <a:pt x="12" y="282"/>
                </a:cubicBezTo>
                <a:cubicBezTo>
                  <a:pt x="12" y="291"/>
                  <a:pt x="20" y="298"/>
                  <a:pt x="29" y="298"/>
                </a:cubicBezTo>
                <a:cubicBezTo>
                  <a:pt x="38" y="298"/>
                  <a:pt x="45" y="291"/>
                  <a:pt x="45" y="282"/>
                </a:cubicBezTo>
                <a:cubicBezTo>
                  <a:pt x="45" y="172"/>
                  <a:pt x="45" y="172"/>
                  <a:pt x="45" y="172"/>
                </a:cubicBezTo>
                <a:cubicBezTo>
                  <a:pt x="45" y="169"/>
                  <a:pt x="48" y="166"/>
                  <a:pt x="51" y="166"/>
                </a:cubicBezTo>
                <a:cubicBezTo>
                  <a:pt x="55" y="166"/>
                  <a:pt x="58" y="169"/>
                  <a:pt x="58" y="172"/>
                </a:cubicBezTo>
                <a:lnTo>
                  <a:pt x="58" y="28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8" name="Freeform 847">
            <a:extLst>
              <a:ext uri="{FF2B5EF4-FFF2-40B4-BE49-F238E27FC236}">
                <a16:creationId xmlns:a16="http://schemas.microsoft.com/office/drawing/2014/main" id="{56D1E04A-5AB4-4FBD-1A46-EBF3470849BC}"/>
              </a:ext>
            </a:extLst>
          </p:cNvPr>
          <p:cNvSpPr>
            <a:spLocks noEditPoints="1"/>
          </p:cNvSpPr>
          <p:nvPr/>
        </p:nvSpPr>
        <p:spPr bwMode="auto">
          <a:xfrm>
            <a:off x="3884160" y="4726072"/>
            <a:ext cx="148414" cy="267650"/>
          </a:xfrm>
          <a:custGeom>
            <a:avLst/>
            <a:gdLst>
              <a:gd name="T0" fmla="*/ 119 w 189"/>
              <a:gd name="T1" fmla="*/ 336 h 336"/>
              <a:gd name="T2" fmla="*/ 95 w 189"/>
              <a:gd name="T3" fmla="*/ 324 h 336"/>
              <a:gd name="T4" fmla="*/ 70 w 189"/>
              <a:gd name="T5" fmla="*/ 336 h 336"/>
              <a:gd name="T6" fmla="*/ 39 w 189"/>
              <a:gd name="T7" fmla="*/ 306 h 336"/>
              <a:gd name="T8" fmla="*/ 39 w 189"/>
              <a:gd name="T9" fmla="*/ 170 h 336"/>
              <a:gd name="T10" fmla="*/ 29 w 189"/>
              <a:gd name="T11" fmla="*/ 174 h 336"/>
              <a:gd name="T12" fmla="*/ 4 w 189"/>
              <a:gd name="T13" fmla="*/ 162 h 336"/>
              <a:gd name="T14" fmla="*/ 0 w 189"/>
              <a:gd name="T15" fmla="*/ 149 h 336"/>
              <a:gd name="T16" fmla="*/ 0 w 189"/>
              <a:gd name="T17" fmla="*/ 45 h 336"/>
              <a:gd name="T18" fmla="*/ 3 w 189"/>
              <a:gd name="T19" fmla="*/ 30 h 336"/>
              <a:gd name="T20" fmla="*/ 46 w 189"/>
              <a:gd name="T21" fmla="*/ 0 h 336"/>
              <a:gd name="T22" fmla="*/ 144 w 189"/>
              <a:gd name="T23" fmla="*/ 0 h 336"/>
              <a:gd name="T24" fmla="*/ 187 w 189"/>
              <a:gd name="T25" fmla="*/ 30 h 336"/>
              <a:gd name="T26" fmla="*/ 187 w 189"/>
              <a:gd name="T27" fmla="*/ 30 h 336"/>
              <a:gd name="T28" fmla="*/ 189 w 189"/>
              <a:gd name="T29" fmla="*/ 45 h 336"/>
              <a:gd name="T30" fmla="*/ 189 w 189"/>
              <a:gd name="T31" fmla="*/ 149 h 336"/>
              <a:gd name="T32" fmla="*/ 185 w 189"/>
              <a:gd name="T33" fmla="*/ 162 h 336"/>
              <a:gd name="T34" fmla="*/ 161 w 189"/>
              <a:gd name="T35" fmla="*/ 174 h 336"/>
              <a:gd name="T36" fmla="*/ 150 w 189"/>
              <a:gd name="T37" fmla="*/ 170 h 336"/>
              <a:gd name="T38" fmla="*/ 150 w 189"/>
              <a:gd name="T39" fmla="*/ 306 h 336"/>
              <a:gd name="T40" fmla="*/ 119 w 189"/>
              <a:gd name="T41" fmla="*/ 336 h 336"/>
              <a:gd name="T42" fmla="*/ 95 w 189"/>
              <a:gd name="T43" fmla="*/ 299 h 336"/>
              <a:gd name="T44" fmla="*/ 101 w 189"/>
              <a:gd name="T45" fmla="*/ 306 h 336"/>
              <a:gd name="T46" fmla="*/ 119 w 189"/>
              <a:gd name="T47" fmla="*/ 324 h 336"/>
              <a:gd name="T48" fmla="*/ 138 w 189"/>
              <a:gd name="T49" fmla="*/ 306 h 336"/>
              <a:gd name="T50" fmla="*/ 138 w 189"/>
              <a:gd name="T51" fmla="*/ 148 h 336"/>
              <a:gd name="T52" fmla="*/ 144 w 189"/>
              <a:gd name="T53" fmla="*/ 142 h 336"/>
              <a:gd name="T54" fmla="*/ 144 w 189"/>
              <a:gd name="T55" fmla="*/ 142 h 336"/>
              <a:gd name="T56" fmla="*/ 150 w 189"/>
              <a:gd name="T57" fmla="*/ 148 h 336"/>
              <a:gd name="T58" fmla="*/ 162 w 189"/>
              <a:gd name="T59" fmla="*/ 162 h 336"/>
              <a:gd name="T60" fmla="*/ 175 w 189"/>
              <a:gd name="T61" fmla="*/ 156 h 336"/>
              <a:gd name="T62" fmla="*/ 177 w 189"/>
              <a:gd name="T63" fmla="*/ 149 h 336"/>
              <a:gd name="T64" fmla="*/ 177 w 189"/>
              <a:gd name="T65" fmla="*/ 45 h 336"/>
              <a:gd name="T66" fmla="*/ 175 w 189"/>
              <a:gd name="T67" fmla="*/ 34 h 336"/>
              <a:gd name="T68" fmla="*/ 144 w 189"/>
              <a:gd name="T69" fmla="*/ 12 h 336"/>
              <a:gd name="T70" fmla="*/ 46 w 189"/>
              <a:gd name="T71" fmla="*/ 12 h 336"/>
              <a:gd name="T72" fmla="*/ 15 w 189"/>
              <a:gd name="T73" fmla="*/ 34 h 336"/>
              <a:gd name="T74" fmla="*/ 13 w 189"/>
              <a:gd name="T75" fmla="*/ 45 h 336"/>
              <a:gd name="T76" fmla="*/ 13 w 189"/>
              <a:gd name="T77" fmla="*/ 149 h 336"/>
              <a:gd name="T78" fmla="*/ 15 w 189"/>
              <a:gd name="T79" fmla="*/ 156 h 336"/>
              <a:gd name="T80" fmla="*/ 27 w 189"/>
              <a:gd name="T81" fmla="*/ 162 h 336"/>
              <a:gd name="T82" fmla="*/ 39 w 189"/>
              <a:gd name="T83" fmla="*/ 148 h 336"/>
              <a:gd name="T84" fmla="*/ 46 w 189"/>
              <a:gd name="T85" fmla="*/ 142 h 336"/>
              <a:gd name="T86" fmla="*/ 52 w 189"/>
              <a:gd name="T87" fmla="*/ 148 h 336"/>
              <a:gd name="T88" fmla="*/ 52 w 189"/>
              <a:gd name="T89" fmla="*/ 306 h 336"/>
              <a:gd name="T90" fmla="*/ 70 w 189"/>
              <a:gd name="T91" fmla="*/ 324 h 336"/>
              <a:gd name="T92" fmla="*/ 89 w 189"/>
              <a:gd name="T93" fmla="*/ 306 h 336"/>
              <a:gd name="T94" fmla="*/ 95 w 189"/>
              <a:gd name="T95" fmla="*/ 299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9" h="336">
                <a:moveTo>
                  <a:pt x="119" y="336"/>
                </a:moveTo>
                <a:cubicBezTo>
                  <a:pt x="109" y="336"/>
                  <a:pt x="100" y="331"/>
                  <a:pt x="95" y="324"/>
                </a:cubicBezTo>
                <a:cubicBezTo>
                  <a:pt x="89" y="331"/>
                  <a:pt x="80" y="336"/>
                  <a:pt x="70" y="336"/>
                </a:cubicBezTo>
                <a:cubicBezTo>
                  <a:pt x="53" y="336"/>
                  <a:pt x="39" y="323"/>
                  <a:pt x="39" y="306"/>
                </a:cubicBezTo>
                <a:cubicBezTo>
                  <a:pt x="39" y="170"/>
                  <a:pt x="39" y="170"/>
                  <a:pt x="39" y="170"/>
                </a:cubicBezTo>
                <a:cubicBezTo>
                  <a:pt x="36" y="173"/>
                  <a:pt x="33" y="174"/>
                  <a:pt x="29" y="174"/>
                </a:cubicBezTo>
                <a:cubicBezTo>
                  <a:pt x="19" y="175"/>
                  <a:pt x="10" y="171"/>
                  <a:pt x="4" y="162"/>
                </a:cubicBezTo>
                <a:cubicBezTo>
                  <a:pt x="2" y="158"/>
                  <a:pt x="0" y="153"/>
                  <a:pt x="0" y="14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0"/>
                  <a:pt x="1" y="35"/>
                  <a:pt x="3" y="30"/>
                </a:cubicBezTo>
                <a:cubicBezTo>
                  <a:pt x="9" y="12"/>
                  <a:pt x="27" y="0"/>
                  <a:pt x="46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63" y="0"/>
                  <a:pt x="180" y="12"/>
                  <a:pt x="187" y="30"/>
                </a:cubicBezTo>
                <a:cubicBezTo>
                  <a:pt x="187" y="30"/>
                  <a:pt x="187" y="30"/>
                  <a:pt x="187" y="30"/>
                </a:cubicBezTo>
                <a:cubicBezTo>
                  <a:pt x="188" y="35"/>
                  <a:pt x="189" y="40"/>
                  <a:pt x="189" y="45"/>
                </a:cubicBezTo>
                <a:cubicBezTo>
                  <a:pt x="189" y="149"/>
                  <a:pt x="189" y="149"/>
                  <a:pt x="189" y="149"/>
                </a:cubicBezTo>
                <a:cubicBezTo>
                  <a:pt x="189" y="153"/>
                  <a:pt x="188" y="158"/>
                  <a:pt x="185" y="162"/>
                </a:cubicBezTo>
                <a:cubicBezTo>
                  <a:pt x="180" y="171"/>
                  <a:pt x="171" y="175"/>
                  <a:pt x="161" y="174"/>
                </a:cubicBezTo>
                <a:cubicBezTo>
                  <a:pt x="157" y="174"/>
                  <a:pt x="153" y="173"/>
                  <a:pt x="150" y="170"/>
                </a:cubicBezTo>
                <a:cubicBezTo>
                  <a:pt x="150" y="306"/>
                  <a:pt x="150" y="306"/>
                  <a:pt x="150" y="306"/>
                </a:cubicBezTo>
                <a:cubicBezTo>
                  <a:pt x="150" y="323"/>
                  <a:pt x="136" y="336"/>
                  <a:pt x="119" y="336"/>
                </a:cubicBezTo>
                <a:close/>
                <a:moveTo>
                  <a:pt x="95" y="299"/>
                </a:moveTo>
                <a:cubicBezTo>
                  <a:pt x="98" y="299"/>
                  <a:pt x="101" y="302"/>
                  <a:pt x="101" y="306"/>
                </a:cubicBezTo>
                <a:cubicBezTo>
                  <a:pt x="101" y="316"/>
                  <a:pt x="109" y="324"/>
                  <a:pt x="119" y="324"/>
                </a:cubicBezTo>
                <a:cubicBezTo>
                  <a:pt x="130" y="324"/>
                  <a:pt x="138" y="316"/>
                  <a:pt x="138" y="306"/>
                </a:cubicBezTo>
                <a:cubicBezTo>
                  <a:pt x="138" y="148"/>
                  <a:pt x="138" y="148"/>
                  <a:pt x="138" y="148"/>
                </a:cubicBezTo>
                <a:cubicBezTo>
                  <a:pt x="138" y="145"/>
                  <a:pt x="141" y="142"/>
                  <a:pt x="144" y="142"/>
                </a:cubicBezTo>
                <a:cubicBezTo>
                  <a:pt x="144" y="142"/>
                  <a:pt x="144" y="142"/>
                  <a:pt x="144" y="142"/>
                </a:cubicBezTo>
                <a:cubicBezTo>
                  <a:pt x="147" y="142"/>
                  <a:pt x="150" y="144"/>
                  <a:pt x="150" y="148"/>
                </a:cubicBezTo>
                <a:cubicBezTo>
                  <a:pt x="150" y="155"/>
                  <a:pt x="156" y="161"/>
                  <a:pt x="162" y="162"/>
                </a:cubicBezTo>
                <a:cubicBezTo>
                  <a:pt x="167" y="163"/>
                  <a:pt x="172" y="160"/>
                  <a:pt x="175" y="156"/>
                </a:cubicBezTo>
                <a:cubicBezTo>
                  <a:pt x="176" y="154"/>
                  <a:pt x="177" y="151"/>
                  <a:pt x="177" y="149"/>
                </a:cubicBezTo>
                <a:cubicBezTo>
                  <a:pt x="177" y="45"/>
                  <a:pt x="177" y="45"/>
                  <a:pt x="177" y="45"/>
                </a:cubicBezTo>
                <a:cubicBezTo>
                  <a:pt x="177" y="42"/>
                  <a:pt x="176" y="38"/>
                  <a:pt x="175" y="34"/>
                </a:cubicBezTo>
                <a:cubicBezTo>
                  <a:pt x="170" y="21"/>
                  <a:pt x="158" y="12"/>
                  <a:pt x="144" y="12"/>
                </a:cubicBezTo>
                <a:cubicBezTo>
                  <a:pt x="46" y="12"/>
                  <a:pt x="46" y="12"/>
                  <a:pt x="46" y="12"/>
                </a:cubicBezTo>
                <a:cubicBezTo>
                  <a:pt x="32" y="12"/>
                  <a:pt x="19" y="21"/>
                  <a:pt x="15" y="34"/>
                </a:cubicBezTo>
                <a:cubicBezTo>
                  <a:pt x="13" y="38"/>
                  <a:pt x="13" y="42"/>
                  <a:pt x="13" y="45"/>
                </a:cubicBezTo>
                <a:cubicBezTo>
                  <a:pt x="13" y="149"/>
                  <a:pt x="13" y="149"/>
                  <a:pt x="13" y="149"/>
                </a:cubicBezTo>
                <a:cubicBezTo>
                  <a:pt x="13" y="151"/>
                  <a:pt x="13" y="154"/>
                  <a:pt x="15" y="156"/>
                </a:cubicBezTo>
                <a:cubicBezTo>
                  <a:pt x="17" y="160"/>
                  <a:pt x="22" y="163"/>
                  <a:pt x="27" y="162"/>
                </a:cubicBezTo>
                <a:cubicBezTo>
                  <a:pt x="34" y="161"/>
                  <a:pt x="39" y="155"/>
                  <a:pt x="39" y="148"/>
                </a:cubicBezTo>
                <a:cubicBezTo>
                  <a:pt x="39" y="144"/>
                  <a:pt x="42" y="142"/>
                  <a:pt x="46" y="142"/>
                </a:cubicBezTo>
                <a:cubicBezTo>
                  <a:pt x="49" y="142"/>
                  <a:pt x="52" y="144"/>
                  <a:pt x="52" y="148"/>
                </a:cubicBezTo>
                <a:cubicBezTo>
                  <a:pt x="52" y="306"/>
                  <a:pt x="52" y="306"/>
                  <a:pt x="52" y="306"/>
                </a:cubicBezTo>
                <a:cubicBezTo>
                  <a:pt x="52" y="316"/>
                  <a:pt x="60" y="324"/>
                  <a:pt x="70" y="324"/>
                </a:cubicBezTo>
                <a:cubicBezTo>
                  <a:pt x="80" y="324"/>
                  <a:pt x="89" y="316"/>
                  <a:pt x="89" y="306"/>
                </a:cubicBezTo>
                <a:cubicBezTo>
                  <a:pt x="89" y="302"/>
                  <a:pt x="91" y="299"/>
                  <a:pt x="95" y="2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9" name="Freeform 848">
            <a:extLst>
              <a:ext uri="{FF2B5EF4-FFF2-40B4-BE49-F238E27FC236}">
                <a16:creationId xmlns:a16="http://schemas.microsoft.com/office/drawing/2014/main" id="{EA078F5D-7BAA-6647-7B28-17F496CA9D11}"/>
              </a:ext>
            </a:extLst>
          </p:cNvPr>
          <p:cNvSpPr>
            <a:spLocks noEditPoints="1"/>
          </p:cNvSpPr>
          <p:nvPr/>
        </p:nvSpPr>
        <p:spPr bwMode="auto">
          <a:xfrm>
            <a:off x="4032577" y="4680025"/>
            <a:ext cx="57083" cy="57559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7" y="0"/>
                  <a:pt x="73" y="16"/>
                  <a:pt x="73" y="36"/>
                </a:cubicBezTo>
                <a:cubicBezTo>
                  <a:pt x="73" y="56"/>
                  <a:pt x="57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0" name="Freeform 849">
            <a:extLst>
              <a:ext uri="{FF2B5EF4-FFF2-40B4-BE49-F238E27FC236}">
                <a16:creationId xmlns:a16="http://schemas.microsoft.com/office/drawing/2014/main" id="{A7FCDD82-BAA5-79B4-74D0-519A3AEF93D5}"/>
              </a:ext>
            </a:extLst>
          </p:cNvPr>
          <p:cNvSpPr>
            <a:spLocks/>
          </p:cNvSpPr>
          <p:nvPr/>
        </p:nvSpPr>
        <p:spPr bwMode="auto">
          <a:xfrm>
            <a:off x="3955512" y="4869968"/>
            <a:ext cx="8565" cy="103606"/>
          </a:xfrm>
          <a:custGeom>
            <a:avLst/>
            <a:gdLst>
              <a:gd name="T0" fmla="*/ 6 w 12"/>
              <a:gd name="T1" fmla="*/ 131 h 131"/>
              <a:gd name="T2" fmla="*/ 0 w 12"/>
              <a:gd name="T3" fmla="*/ 125 h 131"/>
              <a:gd name="T4" fmla="*/ 0 w 12"/>
              <a:gd name="T5" fmla="*/ 6 h 131"/>
              <a:gd name="T6" fmla="*/ 6 w 12"/>
              <a:gd name="T7" fmla="*/ 0 h 131"/>
              <a:gd name="T8" fmla="*/ 12 w 12"/>
              <a:gd name="T9" fmla="*/ 6 h 131"/>
              <a:gd name="T10" fmla="*/ 12 w 12"/>
              <a:gd name="T11" fmla="*/ 125 h 131"/>
              <a:gd name="T12" fmla="*/ 6 w 12"/>
              <a:gd name="T13" fmla="*/ 131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131">
                <a:moveTo>
                  <a:pt x="6" y="131"/>
                </a:moveTo>
                <a:cubicBezTo>
                  <a:pt x="2" y="131"/>
                  <a:pt x="0" y="128"/>
                  <a:pt x="0" y="12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125"/>
                  <a:pt x="12" y="125"/>
                  <a:pt x="12" y="125"/>
                </a:cubicBezTo>
                <a:cubicBezTo>
                  <a:pt x="12" y="128"/>
                  <a:pt x="9" y="131"/>
                  <a:pt x="6" y="1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1" name="Freeform 850">
            <a:extLst>
              <a:ext uri="{FF2B5EF4-FFF2-40B4-BE49-F238E27FC236}">
                <a16:creationId xmlns:a16="http://schemas.microsoft.com/office/drawing/2014/main" id="{CF3C4BEA-E6AD-B7AB-3D7B-B8352E826E8A}"/>
              </a:ext>
            </a:extLst>
          </p:cNvPr>
          <p:cNvSpPr>
            <a:spLocks/>
          </p:cNvSpPr>
          <p:nvPr/>
        </p:nvSpPr>
        <p:spPr bwMode="auto">
          <a:xfrm>
            <a:off x="3915553" y="4774997"/>
            <a:ext cx="8565" cy="74828"/>
          </a:xfrm>
          <a:custGeom>
            <a:avLst/>
            <a:gdLst>
              <a:gd name="T0" fmla="*/ 7 w 13"/>
              <a:gd name="T1" fmla="*/ 93 h 93"/>
              <a:gd name="T2" fmla="*/ 0 w 13"/>
              <a:gd name="T3" fmla="*/ 87 h 93"/>
              <a:gd name="T4" fmla="*/ 0 w 13"/>
              <a:gd name="T5" fmla="*/ 6 h 93"/>
              <a:gd name="T6" fmla="*/ 7 w 13"/>
              <a:gd name="T7" fmla="*/ 0 h 93"/>
              <a:gd name="T8" fmla="*/ 13 w 13"/>
              <a:gd name="T9" fmla="*/ 6 h 93"/>
              <a:gd name="T10" fmla="*/ 13 w 13"/>
              <a:gd name="T11" fmla="*/ 87 h 93"/>
              <a:gd name="T12" fmla="*/ 7 w 13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93">
                <a:moveTo>
                  <a:pt x="7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10" y="0"/>
                  <a:pt x="13" y="3"/>
                  <a:pt x="13" y="6"/>
                </a:cubicBezTo>
                <a:cubicBezTo>
                  <a:pt x="13" y="87"/>
                  <a:pt x="13" y="87"/>
                  <a:pt x="13" y="87"/>
                </a:cubicBezTo>
                <a:cubicBezTo>
                  <a:pt x="13" y="90"/>
                  <a:pt x="10" y="93"/>
                  <a:pt x="7" y="9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2" name="Freeform 851">
            <a:extLst>
              <a:ext uri="{FF2B5EF4-FFF2-40B4-BE49-F238E27FC236}">
                <a16:creationId xmlns:a16="http://schemas.microsoft.com/office/drawing/2014/main" id="{E54A1648-BB6D-C8A9-7FA2-979F5B9D956E}"/>
              </a:ext>
            </a:extLst>
          </p:cNvPr>
          <p:cNvSpPr>
            <a:spLocks/>
          </p:cNvSpPr>
          <p:nvPr/>
        </p:nvSpPr>
        <p:spPr bwMode="auto">
          <a:xfrm>
            <a:off x="3992616" y="4774997"/>
            <a:ext cx="11416" cy="74828"/>
          </a:xfrm>
          <a:custGeom>
            <a:avLst/>
            <a:gdLst>
              <a:gd name="T0" fmla="*/ 6 w 12"/>
              <a:gd name="T1" fmla="*/ 93 h 93"/>
              <a:gd name="T2" fmla="*/ 0 w 12"/>
              <a:gd name="T3" fmla="*/ 87 h 93"/>
              <a:gd name="T4" fmla="*/ 0 w 12"/>
              <a:gd name="T5" fmla="*/ 6 h 93"/>
              <a:gd name="T6" fmla="*/ 6 w 12"/>
              <a:gd name="T7" fmla="*/ 0 h 93"/>
              <a:gd name="T8" fmla="*/ 12 w 12"/>
              <a:gd name="T9" fmla="*/ 6 h 93"/>
              <a:gd name="T10" fmla="*/ 12 w 12"/>
              <a:gd name="T11" fmla="*/ 87 h 93"/>
              <a:gd name="T12" fmla="*/ 6 w 12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93">
                <a:moveTo>
                  <a:pt x="6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87"/>
                  <a:pt x="12" y="87"/>
                  <a:pt x="12" y="87"/>
                </a:cubicBezTo>
                <a:cubicBezTo>
                  <a:pt x="12" y="90"/>
                  <a:pt x="9" y="93"/>
                  <a:pt x="6" y="9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3" name="Google Shape;497;p3">
            <a:extLst>
              <a:ext uri="{FF2B5EF4-FFF2-40B4-BE49-F238E27FC236}">
                <a16:creationId xmlns:a16="http://schemas.microsoft.com/office/drawing/2014/main" id="{D059D40D-EC2E-9797-C9F7-0D6C39692076}"/>
              </a:ext>
            </a:extLst>
          </p:cNvPr>
          <p:cNvSpPr txBox="1">
            <a:spLocks/>
          </p:cNvSpPr>
          <p:nvPr/>
        </p:nvSpPr>
        <p:spPr>
          <a:xfrm>
            <a:off x="714255" y="1919516"/>
            <a:ext cx="2415508" cy="19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600" dirty="0"/>
              <a:t>Insert text here</a:t>
            </a:r>
            <a:endParaRPr sz="1600" dirty="0"/>
          </a:p>
        </p:txBody>
      </p:sp>
      <p:cxnSp>
        <p:nvCxnSpPr>
          <p:cNvPr id="95" name="Google Shape;514;p3">
            <a:extLst>
              <a:ext uri="{FF2B5EF4-FFF2-40B4-BE49-F238E27FC236}">
                <a16:creationId xmlns:a16="http://schemas.microsoft.com/office/drawing/2014/main" id="{17786058-5070-4892-CC87-0B0D163EB497}"/>
              </a:ext>
            </a:extLst>
          </p:cNvPr>
          <p:cNvCxnSpPr>
            <a:cxnSpLocks/>
          </p:cNvCxnSpPr>
          <p:nvPr/>
        </p:nvCxnSpPr>
        <p:spPr>
          <a:xfrm>
            <a:off x="3392016" y="1565742"/>
            <a:ext cx="0" cy="4103453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70927580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FEEF07-7861-62C9-D1A4-49E54B19BE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D21632A8-D742-9A32-7C47-975B4B337F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1632A8-D742-9A32-7C47-975B4B337F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F8F986-946E-5B63-AEC6-EFC8E0BB5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B305078-BCF9-77B5-E7AF-AA1C7DCD209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Google Shape;3129;p46">
            <a:extLst>
              <a:ext uri="{FF2B5EF4-FFF2-40B4-BE49-F238E27FC236}">
                <a16:creationId xmlns:a16="http://schemas.microsoft.com/office/drawing/2014/main" id="{F9BA584C-8AAE-3A2F-FFB5-089CBE97F17F}"/>
              </a:ext>
            </a:extLst>
          </p:cNvPr>
          <p:cNvSpPr/>
          <p:nvPr/>
        </p:nvSpPr>
        <p:spPr>
          <a:xfrm>
            <a:off x="3146981" y="1583526"/>
            <a:ext cx="4226613" cy="21504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29" name="Google Shape;3132;p46">
            <a:extLst>
              <a:ext uri="{FF2B5EF4-FFF2-40B4-BE49-F238E27FC236}">
                <a16:creationId xmlns:a16="http://schemas.microsoft.com/office/drawing/2014/main" id="{491BF69F-FF80-8392-A1F0-5EA2CD02EBDE}"/>
              </a:ext>
            </a:extLst>
          </p:cNvPr>
          <p:cNvSpPr/>
          <p:nvPr/>
        </p:nvSpPr>
        <p:spPr>
          <a:xfrm>
            <a:off x="7357255" y="1583526"/>
            <a:ext cx="4226613" cy="21504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0" name="Google Shape;3128;p46">
            <a:extLst>
              <a:ext uri="{FF2B5EF4-FFF2-40B4-BE49-F238E27FC236}">
                <a16:creationId xmlns:a16="http://schemas.microsoft.com/office/drawing/2014/main" id="{C42E3606-90D3-E7B0-E841-EDA37132EDAD}"/>
              </a:ext>
            </a:extLst>
          </p:cNvPr>
          <p:cNvSpPr/>
          <p:nvPr/>
        </p:nvSpPr>
        <p:spPr>
          <a:xfrm>
            <a:off x="630475" y="1583525"/>
            <a:ext cx="2516507" cy="397573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1" name="Google Shape;3130;p46">
            <a:extLst>
              <a:ext uri="{FF2B5EF4-FFF2-40B4-BE49-F238E27FC236}">
                <a16:creationId xmlns:a16="http://schemas.microsoft.com/office/drawing/2014/main" id="{F86DFDE1-C278-6D17-7A75-3A3ADE7D80FC}"/>
              </a:ext>
            </a:extLst>
          </p:cNvPr>
          <p:cNvSpPr/>
          <p:nvPr/>
        </p:nvSpPr>
        <p:spPr>
          <a:xfrm>
            <a:off x="3146981" y="3566373"/>
            <a:ext cx="4226613" cy="199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2" name="Google Shape;3133;p46">
            <a:extLst>
              <a:ext uri="{FF2B5EF4-FFF2-40B4-BE49-F238E27FC236}">
                <a16:creationId xmlns:a16="http://schemas.microsoft.com/office/drawing/2014/main" id="{068BAE1F-06C0-CC40-326C-E8DC53622C42}"/>
              </a:ext>
            </a:extLst>
          </p:cNvPr>
          <p:cNvSpPr/>
          <p:nvPr/>
        </p:nvSpPr>
        <p:spPr>
          <a:xfrm>
            <a:off x="7357255" y="3566373"/>
            <a:ext cx="4226613" cy="19928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3" name="Shape1_20220427_134847">
            <a:extLst>
              <a:ext uri="{FF2B5EF4-FFF2-40B4-BE49-F238E27FC236}">
                <a16:creationId xmlns:a16="http://schemas.microsoft.com/office/drawing/2014/main" id="{A0F9C7D3-254D-F370-121F-2EE3EBC6D75D}"/>
              </a:ext>
            </a:extLst>
          </p:cNvPr>
          <p:cNvSpPr txBox="1"/>
          <p:nvPr/>
        </p:nvSpPr>
        <p:spPr>
          <a:xfrm>
            <a:off x="858822" y="2856585"/>
            <a:ext cx="205981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32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4" name="Shape2_20220427_134847">
            <a:extLst>
              <a:ext uri="{FF2B5EF4-FFF2-40B4-BE49-F238E27FC236}">
                <a16:creationId xmlns:a16="http://schemas.microsoft.com/office/drawing/2014/main" id="{42A561C7-C6AC-AAC3-AB1E-F748DDA6A755}"/>
              </a:ext>
            </a:extLst>
          </p:cNvPr>
          <p:cNvSpPr txBox="1"/>
          <p:nvPr/>
        </p:nvSpPr>
        <p:spPr>
          <a:xfrm>
            <a:off x="861556" y="3131332"/>
            <a:ext cx="205434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8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35" name="Shape3_20220427_134847">
            <a:extLst>
              <a:ext uri="{FF2B5EF4-FFF2-40B4-BE49-F238E27FC236}">
                <a16:creationId xmlns:a16="http://schemas.microsoft.com/office/drawing/2014/main" id="{A47830DE-44AB-A88F-6AEB-1A44CBA6B894}"/>
              </a:ext>
            </a:extLst>
          </p:cNvPr>
          <p:cNvSpPr txBox="1"/>
          <p:nvPr/>
        </p:nvSpPr>
        <p:spPr>
          <a:xfrm>
            <a:off x="3317398" y="1847683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6" name="Shape4_20220427_134847">
            <a:extLst>
              <a:ext uri="{FF2B5EF4-FFF2-40B4-BE49-F238E27FC236}">
                <a16:creationId xmlns:a16="http://schemas.microsoft.com/office/drawing/2014/main" id="{0D628FAB-68B3-5CDF-DD64-83BBD41B6C73}"/>
              </a:ext>
            </a:extLst>
          </p:cNvPr>
          <p:cNvSpPr txBox="1"/>
          <p:nvPr/>
        </p:nvSpPr>
        <p:spPr>
          <a:xfrm>
            <a:off x="3322557" y="2122427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37" name="Shape5_20220427_134847">
            <a:extLst>
              <a:ext uri="{FF2B5EF4-FFF2-40B4-BE49-F238E27FC236}">
                <a16:creationId xmlns:a16="http://schemas.microsoft.com/office/drawing/2014/main" id="{08A7989A-1E4A-A6B6-CDAC-4B4A421D2B19}"/>
              </a:ext>
            </a:extLst>
          </p:cNvPr>
          <p:cNvSpPr txBox="1"/>
          <p:nvPr/>
        </p:nvSpPr>
        <p:spPr>
          <a:xfrm>
            <a:off x="3317398" y="4110609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8" name="Shape6_20220427_134847">
            <a:extLst>
              <a:ext uri="{FF2B5EF4-FFF2-40B4-BE49-F238E27FC236}">
                <a16:creationId xmlns:a16="http://schemas.microsoft.com/office/drawing/2014/main" id="{06974D22-F56C-8A9B-E1A3-69EF5DBBC0D4}"/>
              </a:ext>
            </a:extLst>
          </p:cNvPr>
          <p:cNvSpPr txBox="1"/>
          <p:nvPr/>
        </p:nvSpPr>
        <p:spPr>
          <a:xfrm>
            <a:off x="3322557" y="4385353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39" name="Google Shape;3143;p46">
            <a:extLst>
              <a:ext uri="{FF2B5EF4-FFF2-40B4-BE49-F238E27FC236}">
                <a16:creationId xmlns:a16="http://schemas.microsoft.com/office/drawing/2014/main" id="{69443810-6472-26AE-819A-FBF3590F6DB4}"/>
              </a:ext>
            </a:extLst>
          </p:cNvPr>
          <p:cNvSpPr txBox="1"/>
          <p:nvPr/>
        </p:nvSpPr>
        <p:spPr>
          <a:xfrm>
            <a:off x="7527670" y="1847683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0" name="Shape3_20210622_174643">
            <a:extLst>
              <a:ext uri="{FF2B5EF4-FFF2-40B4-BE49-F238E27FC236}">
                <a16:creationId xmlns:a16="http://schemas.microsoft.com/office/drawing/2014/main" id="{625F5217-A8B1-FC7E-E35E-A4CB8B8E14EE}"/>
              </a:ext>
            </a:extLst>
          </p:cNvPr>
          <p:cNvSpPr txBox="1"/>
          <p:nvPr/>
        </p:nvSpPr>
        <p:spPr>
          <a:xfrm>
            <a:off x="7532830" y="2122427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41" name="Shape0_20220427_134847">
            <a:extLst>
              <a:ext uri="{FF2B5EF4-FFF2-40B4-BE49-F238E27FC236}">
                <a16:creationId xmlns:a16="http://schemas.microsoft.com/office/drawing/2014/main" id="{BEF39793-F7A9-07F0-B655-EB001088BBA3}"/>
              </a:ext>
            </a:extLst>
          </p:cNvPr>
          <p:cNvSpPr txBox="1"/>
          <p:nvPr/>
        </p:nvSpPr>
        <p:spPr>
          <a:xfrm>
            <a:off x="7527670" y="4110609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2" name="Shape7_20220427_134847">
            <a:extLst>
              <a:ext uri="{FF2B5EF4-FFF2-40B4-BE49-F238E27FC236}">
                <a16:creationId xmlns:a16="http://schemas.microsoft.com/office/drawing/2014/main" id="{796E50B4-D229-DF64-AC85-1B5398AB5A12}"/>
              </a:ext>
            </a:extLst>
          </p:cNvPr>
          <p:cNvSpPr txBox="1"/>
          <p:nvPr/>
        </p:nvSpPr>
        <p:spPr>
          <a:xfrm>
            <a:off x="7532830" y="4385353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43" name="Freeform 1532">
            <a:extLst>
              <a:ext uri="{FF2B5EF4-FFF2-40B4-BE49-F238E27FC236}">
                <a16:creationId xmlns:a16="http://schemas.microsoft.com/office/drawing/2014/main" id="{7F6D0AAF-FE89-F366-36BF-3CD49CAC6D81}"/>
              </a:ext>
            </a:extLst>
          </p:cNvPr>
          <p:cNvSpPr>
            <a:spLocks noEditPoints="1"/>
          </p:cNvSpPr>
          <p:nvPr/>
        </p:nvSpPr>
        <p:spPr bwMode="auto">
          <a:xfrm>
            <a:off x="1299284" y="2190752"/>
            <a:ext cx="136822" cy="134544"/>
          </a:xfrm>
          <a:custGeom>
            <a:avLst/>
            <a:gdLst>
              <a:gd name="T0" fmla="*/ 16 w 41"/>
              <a:gd name="T1" fmla="*/ 41 h 41"/>
              <a:gd name="T2" fmla="*/ 13 w 41"/>
              <a:gd name="T3" fmla="*/ 40 h 41"/>
              <a:gd name="T4" fmla="*/ 1 w 41"/>
              <a:gd name="T5" fmla="*/ 28 h 41"/>
              <a:gd name="T6" fmla="*/ 0 w 41"/>
              <a:gd name="T7" fmla="*/ 24 h 41"/>
              <a:gd name="T8" fmla="*/ 5 w 41"/>
              <a:gd name="T9" fmla="*/ 7 h 41"/>
              <a:gd name="T10" fmla="*/ 7 w 41"/>
              <a:gd name="T11" fmla="*/ 5 h 41"/>
              <a:gd name="T12" fmla="*/ 24 w 41"/>
              <a:gd name="T13" fmla="*/ 0 h 41"/>
              <a:gd name="T14" fmla="*/ 28 w 41"/>
              <a:gd name="T15" fmla="*/ 1 h 41"/>
              <a:gd name="T16" fmla="*/ 40 w 41"/>
              <a:gd name="T17" fmla="*/ 14 h 41"/>
              <a:gd name="T18" fmla="*/ 40 w 41"/>
              <a:gd name="T19" fmla="*/ 14 h 41"/>
              <a:gd name="T20" fmla="*/ 41 w 41"/>
              <a:gd name="T21" fmla="*/ 17 h 41"/>
              <a:gd name="T22" fmla="*/ 36 w 41"/>
              <a:gd name="T23" fmla="*/ 34 h 41"/>
              <a:gd name="T24" fmla="*/ 34 w 41"/>
              <a:gd name="T25" fmla="*/ 37 h 41"/>
              <a:gd name="T26" fmla="*/ 17 w 41"/>
              <a:gd name="T27" fmla="*/ 41 h 41"/>
              <a:gd name="T28" fmla="*/ 16 w 41"/>
              <a:gd name="T29" fmla="*/ 41 h 41"/>
              <a:gd name="T30" fmla="*/ 5 w 41"/>
              <a:gd name="T31" fmla="*/ 25 h 41"/>
              <a:gd name="T32" fmla="*/ 16 w 41"/>
              <a:gd name="T33" fmla="*/ 36 h 41"/>
              <a:gd name="T34" fmla="*/ 32 w 41"/>
              <a:gd name="T35" fmla="*/ 32 h 41"/>
              <a:gd name="T36" fmla="*/ 36 w 41"/>
              <a:gd name="T37" fmla="*/ 17 h 41"/>
              <a:gd name="T38" fmla="*/ 25 w 41"/>
              <a:gd name="T39" fmla="*/ 5 h 41"/>
              <a:gd name="T40" fmla="*/ 9 w 41"/>
              <a:gd name="T41" fmla="*/ 9 h 41"/>
              <a:gd name="T42" fmla="*/ 5 w 41"/>
              <a:gd name="T43" fmla="*/ 25 h 41"/>
              <a:gd name="T44" fmla="*/ 32 w 41"/>
              <a:gd name="T45" fmla="*/ 33 h 41"/>
              <a:gd name="T46" fmla="*/ 32 w 41"/>
              <a:gd name="T47" fmla="*/ 33 h 41"/>
              <a:gd name="T48" fmla="*/ 5 w 41"/>
              <a:gd name="T49" fmla="*/ 26 h 41"/>
              <a:gd name="T50" fmla="*/ 5 w 41"/>
              <a:gd name="T51" fmla="*/ 26 h 41"/>
              <a:gd name="T52" fmla="*/ 5 w 41"/>
              <a:gd name="T53" fmla="*/ 26 h 41"/>
              <a:gd name="T54" fmla="*/ 36 w 41"/>
              <a:gd name="T55" fmla="*/ 16 h 41"/>
              <a:gd name="T56" fmla="*/ 36 w 41"/>
              <a:gd name="T57" fmla="*/ 16 h 41"/>
              <a:gd name="T58" fmla="*/ 9 w 41"/>
              <a:gd name="T59" fmla="*/ 9 h 41"/>
              <a:gd name="T60" fmla="*/ 9 w 41"/>
              <a:gd name="T61" fmla="*/ 9 h 41"/>
              <a:gd name="T62" fmla="*/ 9 w 41"/>
              <a:gd name="T63" fmla="*/ 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" h="41">
                <a:moveTo>
                  <a:pt x="16" y="41"/>
                </a:moveTo>
                <a:cubicBezTo>
                  <a:pt x="15" y="41"/>
                  <a:pt x="14" y="41"/>
                  <a:pt x="13" y="4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27"/>
                  <a:pt x="0" y="26"/>
                  <a:pt x="0" y="24"/>
                </a:cubicBezTo>
                <a:cubicBezTo>
                  <a:pt x="5" y="7"/>
                  <a:pt x="5" y="7"/>
                  <a:pt x="5" y="7"/>
                </a:cubicBezTo>
                <a:cubicBezTo>
                  <a:pt x="5" y="6"/>
                  <a:pt x="6" y="5"/>
                  <a:pt x="7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0"/>
                  <a:pt x="28" y="1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0" y="14"/>
                </a:cubicBezTo>
                <a:cubicBezTo>
                  <a:pt x="41" y="15"/>
                  <a:pt x="41" y="16"/>
                  <a:pt x="41" y="17"/>
                </a:cubicBezTo>
                <a:cubicBezTo>
                  <a:pt x="36" y="34"/>
                  <a:pt x="36" y="34"/>
                  <a:pt x="36" y="34"/>
                </a:cubicBezTo>
                <a:cubicBezTo>
                  <a:pt x="36" y="35"/>
                  <a:pt x="35" y="36"/>
                  <a:pt x="34" y="37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1"/>
                  <a:pt x="16" y="41"/>
                  <a:pt x="16" y="41"/>
                </a:cubicBezTo>
                <a:close/>
                <a:moveTo>
                  <a:pt x="5" y="25"/>
                </a:moveTo>
                <a:cubicBezTo>
                  <a:pt x="16" y="36"/>
                  <a:pt x="16" y="36"/>
                  <a:pt x="16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6" y="17"/>
                  <a:pt x="36" y="17"/>
                  <a:pt x="36" y="17"/>
                </a:cubicBezTo>
                <a:cubicBezTo>
                  <a:pt x="25" y="5"/>
                  <a:pt x="25" y="5"/>
                  <a:pt x="25" y="5"/>
                </a:cubicBezTo>
                <a:cubicBezTo>
                  <a:pt x="9" y="9"/>
                  <a:pt x="9" y="9"/>
                  <a:pt x="9" y="9"/>
                </a:cubicBezTo>
                <a:lnTo>
                  <a:pt x="5" y="25"/>
                </a:lnTo>
                <a:close/>
                <a:moveTo>
                  <a:pt x="32" y="33"/>
                </a:moveTo>
                <a:cubicBezTo>
                  <a:pt x="32" y="33"/>
                  <a:pt x="32" y="33"/>
                  <a:pt x="32" y="33"/>
                </a:cubicBezTo>
                <a:close/>
                <a:moveTo>
                  <a:pt x="5" y="26"/>
                </a:moveTo>
                <a:cubicBezTo>
                  <a:pt x="5" y="26"/>
                  <a:pt x="5" y="26"/>
                  <a:pt x="5" y="26"/>
                </a:cubicBezTo>
                <a:cubicBezTo>
                  <a:pt x="5" y="26"/>
                  <a:pt x="5" y="26"/>
                  <a:pt x="5" y="26"/>
                </a:cubicBezTo>
                <a:close/>
                <a:moveTo>
                  <a:pt x="36" y="16"/>
                </a:moveTo>
                <a:cubicBezTo>
                  <a:pt x="36" y="16"/>
                  <a:pt x="36" y="16"/>
                  <a:pt x="36" y="16"/>
                </a:cubicBezTo>
                <a:close/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4" name="Freeform 1533">
            <a:extLst>
              <a:ext uri="{FF2B5EF4-FFF2-40B4-BE49-F238E27FC236}">
                <a16:creationId xmlns:a16="http://schemas.microsoft.com/office/drawing/2014/main" id="{A2E1DDF9-F44D-EAC5-972B-C67730CD2AE1}"/>
              </a:ext>
            </a:extLst>
          </p:cNvPr>
          <p:cNvSpPr>
            <a:spLocks/>
          </p:cNvSpPr>
          <p:nvPr/>
        </p:nvSpPr>
        <p:spPr bwMode="auto">
          <a:xfrm>
            <a:off x="921842" y="1817281"/>
            <a:ext cx="153336" cy="150780"/>
          </a:xfrm>
          <a:custGeom>
            <a:avLst/>
            <a:gdLst>
              <a:gd name="T0" fmla="*/ 18 w 46"/>
              <a:gd name="T1" fmla="*/ 46 h 46"/>
              <a:gd name="T2" fmla="*/ 16 w 46"/>
              <a:gd name="T3" fmla="*/ 45 h 46"/>
              <a:gd name="T4" fmla="*/ 1 w 46"/>
              <a:gd name="T5" fmla="*/ 30 h 46"/>
              <a:gd name="T6" fmla="*/ 1 w 46"/>
              <a:gd name="T7" fmla="*/ 26 h 46"/>
              <a:gd name="T8" fmla="*/ 5 w 46"/>
              <a:gd name="T9" fmla="*/ 26 h 46"/>
              <a:gd name="T10" fmla="*/ 19 w 46"/>
              <a:gd name="T11" fmla="*/ 41 h 46"/>
              <a:gd name="T12" fmla="*/ 36 w 46"/>
              <a:gd name="T13" fmla="*/ 36 h 46"/>
              <a:gd name="T14" fmla="*/ 40 w 46"/>
              <a:gd name="T15" fmla="*/ 19 h 46"/>
              <a:gd name="T16" fmla="*/ 26 w 46"/>
              <a:gd name="T17" fmla="*/ 5 h 46"/>
              <a:gd name="T18" fmla="*/ 26 w 46"/>
              <a:gd name="T19" fmla="*/ 1 h 46"/>
              <a:gd name="T20" fmla="*/ 30 w 46"/>
              <a:gd name="T21" fmla="*/ 1 h 46"/>
              <a:gd name="T22" fmla="*/ 45 w 46"/>
              <a:gd name="T23" fmla="*/ 17 h 46"/>
              <a:gd name="T24" fmla="*/ 45 w 46"/>
              <a:gd name="T25" fmla="*/ 19 h 46"/>
              <a:gd name="T26" fmla="*/ 40 w 46"/>
              <a:gd name="T27" fmla="*/ 39 h 46"/>
              <a:gd name="T28" fmla="*/ 38 w 46"/>
              <a:gd name="T29" fmla="*/ 40 h 46"/>
              <a:gd name="T30" fmla="*/ 19 w 46"/>
              <a:gd name="T31" fmla="*/ 46 h 46"/>
              <a:gd name="T32" fmla="*/ 18 w 46"/>
              <a:gd name="T33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46">
                <a:moveTo>
                  <a:pt x="18" y="46"/>
                </a:moveTo>
                <a:cubicBezTo>
                  <a:pt x="18" y="46"/>
                  <a:pt x="17" y="46"/>
                  <a:pt x="16" y="45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29"/>
                  <a:pt x="0" y="27"/>
                  <a:pt x="1" y="26"/>
                </a:cubicBezTo>
                <a:cubicBezTo>
                  <a:pt x="2" y="25"/>
                  <a:pt x="4" y="25"/>
                  <a:pt x="5" y="26"/>
                </a:cubicBezTo>
                <a:cubicBezTo>
                  <a:pt x="19" y="41"/>
                  <a:pt x="19" y="41"/>
                  <a:pt x="19" y="41"/>
                </a:cubicBezTo>
                <a:cubicBezTo>
                  <a:pt x="36" y="36"/>
                  <a:pt x="36" y="36"/>
                  <a:pt x="36" y="36"/>
                </a:cubicBezTo>
                <a:cubicBezTo>
                  <a:pt x="40" y="19"/>
                  <a:pt x="40" y="19"/>
                  <a:pt x="40" y="19"/>
                </a:cubicBezTo>
                <a:cubicBezTo>
                  <a:pt x="26" y="5"/>
                  <a:pt x="26" y="5"/>
                  <a:pt x="26" y="5"/>
                </a:cubicBezTo>
                <a:cubicBezTo>
                  <a:pt x="25" y="4"/>
                  <a:pt x="25" y="2"/>
                  <a:pt x="26" y="1"/>
                </a:cubicBezTo>
                <a:cubicBezTo>
                  <a:pt x="27" y="0"/>
                  <a:pt x="29" y="0"/>
                  <a:pt x="30" y="1"/>
                </a:cubicBezTo>
                <a:cubicBezTo>
                  <a:pt x="45" y="17"/>
                  <a:pt x="45" y="17"/>
                  <a:pt x="45" y="17"/>
                </a:cubicBezTo>
                <a:cubicBezTo>
                  <a:pt x="45" y="17"/>
                  <a:pt x="46" y="18"/>
                  <a:pt x="45" y="1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40"/>
                  <a:pt x="39" y="40"/>
                  <a:pt x="38" y="40"/>
                </a:cubicBezTo>
                <a:cubicBezTo>
                  <a:pt x="19" y="46"/>
                  <a:pt x="19" y="46"/>
                  <a:pt x="19" y="46"/>
                </a:cubicBezTo>
                <a:cubicBezTo>
                  <a:pt x="19" y="46"/>
                  <a:pt x="18" y="46"/>
                  <a:pt x="18" y="4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5" name="Freeform 1534">
            <a:extLst>
              <a:ext uri="{FF2B5EF4-FFF2-40B4-BE49-F238E27FC236}">
                <a16:creationId xmlns:a16="http://schemas.microsoft.com/office/drawing/2014/main" id="{F95DD9AD-5354-9EAA-CC04-360F570BD954}"/>
              </a:ext>
            </a:extLst>
          </p:cNvPr>
          <p:cNvSpPr>
            <a:spLocks/>
          </p:cNvSpPr>
          <p:nvPr/>
        </p:nvSpPr>
        <p:spPr bwMode="auto">
          <a:xfrm>
            <a:off x="917126" y="1898470"/>
            <a:ext cx="172208" cy="132224"/>
          </a:xfrm>
          <a:custGeom>
            <a:avLst/>
            <a:gdLst>
              <a:gd name="T0" fmla="*/ 33 w 51"/>
              <a:gd name="T1" fmla="*/ 40 h 40"/>
              <a:gd name="T2" fmla="*/ 11 w 51"/>
              <a:gd name="T3" fmla="*/ 30 h 40"/>
              <a:gd name="T4" fmla="*/ 1 w 51"/>
              <a:gd name="T5" fmla="*/ 3 h 40"/>
              <a:gd name="T6" fmla="*/ 4 w 51"/>
              <a:gd name="T7" fmla="*/ 1 h 40"/>
              <a:gd name="T8" fmla="*/ 6 w 51"/>
              <a:gd name="T9" fmla="*/ 3 h 40"/>
              <a:gd name="T10" fmla="*/ 14 w 51"/>
              <a:gd name="T11" fmla="*/ 27 h 40"/>
              <a:gd name="T12" fmla="*/ 47 w 51"/>
              <a:gd name="T13" fmla="*/ 31 h 40"/>
              <a:gd name="T14" fmla="*/ 50 w 51"/>
              <a:gd name="T15" fmla="*/ 32 h 40"/>
              <a:gd name="T16" fmla="*/ 50 w 51"/>
              <a:gd name="T17" fmla="*/ 35 h 40"/>
              <a:gd name="T18" fmla="*/ 33 w 51"/>
              <a:gd name="T1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" h="40">
                <a:moveTo>
                  <a:pt x="33" y="40"/>
                </a:moveTo>
                <a:cubicBezTo>
                  <a:pt x="25" y="40"/>
                  <a:pt x="17" y="36"/>
                  <a:pt x="11" y="30"/>
                </a:cubicBezTo>
                <a:cubicBezTo>
                  <a:pt x="3" y="23"/>
                  <a:pt x="0" y="13"/>
                  <a:pt x="1" y="3"/>
                </a:cubicBezTo>
                <a:cubicBezTo>
                  <a:pt x="2" y="1"/>
                  <a:pt x="3" y="0"/>
                  <a:pt x="4" y="1"/>
                </a:cubicBezTo>
                <a:cubicBezTo>
                  <a:pt x="6" y="1"/>
                  <a:pt x="7" y="2"/>
                  <a:pt x="6" y="3"/>
                </a:cubicBezTo>
                <a:cubicBezTo>
                  <a:pt x="5" y="12"/>
                  <a:pt x="8" y="21"/>
                  <a:pt x="14" y="27"/>
                </a:cubicBezTo>
                <a:cubicBezTo>
                  <a:pt x="23" y="36"/>
                  <a:pt x="36" y="37"/>
                  <a:pt x="47" y="31"/>
                </a:cubicBezTo>
                <a:cubicBezTo>
                  <a:pt x="48" y="30"/>
                  <a:pt x="50" y="31"/>
                  <a:pt x="50" y="32"/>
                </a:cubicBezTo>
                <a:cubicBezTo>
                  <a:pt x="51" y="33"/>
                  <a:pt x="51" y="34"/>
                  <a:pt x="50" y="35"/>
                </a:cubicBezTo>
                <a:cubicBezTo>
                  <a:pt x="45" y="38"/>
                  <a:pt x="39" y="40"/>
                  <a:pt x="33" y="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6" name="Freeform 1535">
            <a:extLst>
              <a:ext uri="{FF2B5EF4-FFF2-40B4-BE49-F238E27FC236}">
                <a16:creationId xmlns:a16="http://schemas.microsoft.com/office/drawing/2014/main" id="{B2A348CF-83B7-6980-F530-DE986F89E2F8}"/>
              </a:ext>
            </a:extLst>
          </p:cNvPr>
          <p:cNvSpPr>
            <a:spLocks/>
          </p:cNvSpPr>
          <p:nvPr/>
        </p:nvSpPr>
        <p:spPr bwMode="auto">
          <a:xfrm>
            <a:off x="1004408" y="1812641"/>
            <a:ext cx="141540" cy="169339"/>
          </a:xfrm>
          <a:custGeom>
            <a:avLst/>
            <a:gdLst>
              <a:gd name="T0" fmla="*/ 33 w 42"/>
              <a:gd name="T1" fmla="*/ 51 h 51"/>
              <a:gd name="T2" fmla="*/ 31 w 42"/>
              <a:gd name="T3" fmla="*/ 51 h 51"/>
              <a:gd name="T4" fmla="*/ 31 w 42"/>
              <a:gd name="T5" fmla="*/ 47 h 51"/>
              <a:gd name="T6" fmla="*/ 26 w 42"/>
              <a:gd name="T7" fmla="*/ 14 h 51"/>
              <a:gd name="T8" fmla="*/ 3 w 42"/>
              <a:gd name="T9" fmla="*/ 7 h 51"/>
              <a:gd name="T10" fmla="*/ 0 w 42"/>
              <a:gd name="T11" fmla="*/ 5 h 51"/>
              <a:gd name="T12" fmla="*/ 2 w 42"/>
              <a:gd name="T13" fmla="*/ 2 h 51"/>
              <a:gd name="T14" fmla="*/ 30 w 42"/>
              <a:gd name="T15" fmla="*/ 11 h 51"/>
              <a:gd name="T16" fmla="*/ 35 w 42"/>
              <a:gd name="T17" fmla="*/ 50 h 51"/>
              <a:gd name="T18" fmla="*/ 33 w 42"/>
              <a:gd name="T19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51">
                <a:moveTo>
                  <a:pt x="33" y="51"/>
                </a:moveTo>
                <a:cubicBezTo>
                  <a:pt x="32" y="51"/>
                  <a:pt x="32" y="51"/>
                  <a:pt x="31" y="51"/>
                </a:cubicBezTo>
                <a:cubicBezTo>
                  <a:pt x="30" y="50"/>
                  <a:pt x="30" y="49"/>
                  <a:pt x="31" y="47"/>
                </a:cubicBezTo>
                <a:cubicBezTo>
                  <a:pt x="37" y="37"/>
                  <a:pt x="35" y="23"/>
                  <a:pt x="26" y="14"/>
                </a:cubicBezTo>
                <a:cubicBezTo>
                  <a:pt x="20" y="8"/>
                  <a:pt x="12" y="5"/>
                  <a:pt x="3" y="7"/>
                </a:cubicBezTo>
                <a:cubicBezTo>
                  <a:pt x="2" y="7"/>
                  <a:pt x="1" y="6"/>
                  <a:pt x="0" y="5"/>
                </a:cubicBezTo>
                <a:cubicBezTo>
                  <a:pt x="0" y="3"/>
                  <a:pt x="1" y="2"/>
                  <a:pt x="2" y="2"/>
                </a:cubicBezTo>
                <a:cubicBezTo>
                  <a:pt x="12" y="0"/>
                  <a:pt x="23" y="4"/>
                  <a:pt x="30" y="11"/>
                </a:cubicBezTo>
                <a:cubicBezTo>
                  <a:pt x="40" y="21"/>
                  <a:pt x="42" y="37"/>
                  <a:pt x="35" y="50"/>
                </a:cubicBezTo>
                <a:cubicBezTo>
                  <a:pt x="34" y="51"/>
                  <a:pt x="34" y="51"/>
                  <a:pt x="33" y="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7" name="Freeform 1536">
            <a:extLst>
              <a:ext uri="{FF2B5EF4-FFF2-40B4-BE49-F238E27FC236}">
                <a16:creationId xmlns:a16="http://schemas.microsoft.com/office/drawing/2014/main" id="{1B787059-9E59-78C4-5ABB-0E7DBA0C8778}"/>
              </a:ext>
            </a:extLst>
          </p:cNvPr>
          <p:cNvSpPr>
            <a:spLocks/>
          </p:cNvSpPr>
          <p:nvPr/>
        </p:nvSpPr>
        <p:spPr bwMode="auto">
          <a:xfrm>
            <a:off x="1072818" y="2002858"/>
            <a:ext cx="87284" cy="81190"/>
          </a:xfrm>
          <a:custGeom>
            <a:avLst/>
            <a:gdLst>
              <a:gd name="T0" fmla="*/ 23 w 26"/>
              <a:gd name="T1" fmla="*/ 25 h 25"/>
              <a:gd name="T2" fmla="*/ 21 w 26"/>
              <a:gd name="T3" fmla="*/ 25 h 25"/>
              <a:gd name="T4" fmla="*/ 1 w 26"/>
              <a:gd name="T5" fmla="*/ 4 h 25"/>
              <a:gd name="T6" fmla="*/ 1 w 26"/>
              <a:gd name="T7" fmla="*/ 1 h 25"/>
              <a:gd name="T8" fmla="*/ 5 w 26"/>
              <a:gd name="T9" fmla="*/ 1 h 25"/>
              <a:gd name="T10" fmla="*/ 25 w 26"/>
              <a:gd name="T11" fmla="*/ 21 h 25"/>
              <a:gd name="T12" fmla="*/ 25 w 26"/>
              <a:gd name="T13" fmla="*/ 25 h 25"/>
              <a:gd name="T14" fmla="*/ 23 w 26"/>
              <a:gd name="T1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25">
                <a:moveTo>
                  <a:pt x="23" y="25"/>
                </a:moveTo>
                <a:cubicBezTo>
                  <a:pt x="23" y="25"/>
                  <a:pt x="22" y="25"/>
                  <a:pt x="21" y="25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2"/>
                  <a:pt x="26" y="24"/>
                  <a:pt x="25" y="25"/>
                </a:cubicBezTo>
                <a:cubicBezTo>
                  <a:pt x="24" y="25"/>
                  <a:pt x="24" y="25"/>
                  <a:pt x="23" y="2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8" name="Freeform 1537">
            <a:extLst>
              <a:ext uri="{FF2B5EF4-FFF2-40B4-BE49-F238E27FC236}">
                <a16:creationId xmlns:a16="http://schemas.microsoft.com/office/drawing/2014/main" id="{3DC887F3-3D2D-107F-F562-1A53A7DA072F}"/>
              </a:ext>
            </a:extLst>
          </p:cNvPr>
          <p:cNvSpPr>
            <a:spLocks/>
          </p:cNvSpPr>
          <p:nvPr/>
        </p:nvSpPr>
        <p:spPr bwMode="auto">
          <a:xfrm>
            <a:off x="1202567" y="2130441"/>
            <a:ext cx="89642" cy="85830"/>
          </a:xfrm>
          <a:custGeom>
            <a:avLst/>
            <a:gdLst>
              <a:gd name="T0" fmla="*/ 24 w 27"/>
              <a:gd name="T1" fmla="*/ 26 h 26"/>
              <a:gd name="T2" fmla="*/ 22 w 27"/>
              <a:gd name="T3" fmla="*/ 26 h 26"/>
              <a:gd name="T4" fmla="*/ 1 w 27"/>
              <a:gd name="T5" fmla="*/ 4 h 26"/>
              <a:gd name="T6" fmla="*/ 1 w 27"/>
              <a:gd name="T7" fmla="*/ 1 h 26"/>
              <a:gd name="T8" fmla="*/ 5 w 27"/>
              <a:gd name="T9" fmla="*/ 1 h 26"/>
              <a:gd name="T10" fmla="*/ 26 w 27"/>
              <a:gd name="T11" fmla="*/ 22 h 26"/>
              <a:gd name="T12" fmla="*/ 26 w 27"/>
              <a:gd name="T13" fmla="*/ 26 h 26"/>
              <a:gd name="T14" fmla="*/ 24 w 27"/>
              <a:gd name="T15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6">
                <a:moveTo>
                  <a:pt x="24" y="26"/>
                </a:moveTo>
                <a:cubicBezTo>
                  <a:pt x="24" y="26"/>
                  <a:pt x="23" y="26"/>
                  <a:pt x="22" y="26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6" y="22"/>
                  <a:pt x="26" y="22"/>
                  <a:pt x="26" y="22"/>
                </a:cubicBezTo>
                <a:cubicBezTo>
                  <a:pt x="27" y="23"/>
                  <a:pt x="27" y="25"/>
                  <a:pt x="26" y="26"/>
                </a:cubicBezTo>
                <a:cubicBezTo>
                  <a:pt x="25" y="26"/>
                  <a:pt x="25" y="26"/>
                  <a:pt x="24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9" name="Freeform 1538">
            <a:extLst>
              <a:ext uri="{FF2B5EF4-FFF2-40B4-BE49-F238E27FC236}">
                <a16:creationId xmlns:a16="http://schemas.microsoft.com/office/drawing/2014/main" id="{FBA08011-EF7D-71EF-0F4C-F9955091BEEE}"/>
              </a:ext>
            </a:extLst>
          </p:cNvPr>
          <p:cNvSpPr>
            <a:spLocks/>
          </p:cNvSpPr>
          <p:nvPr/>
        </p:nvSpPr>
        <p:spPr bwMode="auto">
          <a:xfrm>
            <a:off x="1108204" y="1968059"/>
            <a:ext cx="219389" cy="215734"/>
          </a:xfrm>
          <a:custGeom>
            <a:avLst/>
            <a:gdLst>
              <a:gd name="T0" fmla="*/ 63 w 65"/>
              <a:gd name="T1" fmla="*/ 65 h 65"/>
              <a:gd name="T2" fmla="*/ 61 w 65"/>
              <a:gd name="T3" fmla="*/ 64 h 65"/>
              <a:gd name="T4" fmla="*/ 1 w 65"/>
              <a:gd name="T5" fmla="*/ 4 h 65"/>
              <a:gd name="T6" fmla="*/ 1 w 65"/>
              <a:gd name="T7" fmla="*/ 1 h 65"/>
              <a:gd name="T8" fmla="*/ 4 w 65"/>
              <a:gd name="T9" fmla="*/ 1 h 65"/>
              <a:gd name="T10" fmla="*/ 64 w 65"/>
              <a:gd name="T11" fmla="*/ 61 h 65"/>
              <a:gd name="T12" fmla="*/ 64 w 65"/>
              <a:gd name="T13" fmla="*/ 64 h 65"/>
              <a:gd name="T14" fmla="*/ 63 w 65"/>
              <a:gd name="T15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" h="65">
                <a:moveTo>
                  <a:pt x="63" y="65"/>
                </a:moveTo>
                <a:cubicBezTo>
                  <a:pt x="62" y="65"/>
                  <a:pt x="61" y="65"/>
                  <a:pt x="61" y="64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64" y="61"/>
                  <a:pt x="64" y="61"/>
                  <a:pt x="64" y="61"/>
                </a:cubicBezTo>
                <a:cubicBezTo>
                  <a:pt x="65" y="62"/>
                  <a:pt x="65" y="63"/>
                  <a:pt x="64" y="64"/>
                </a:cubicBezTo>
                <a:cubicBezTo>
                  <a:pt x="64" y="65"/>
                  <a:pt x="63" y="65"/>
                  <a:pt x="63" y="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0" name="Freeform 1539">
            <a:extLst>
              <a:ext uri="{FF2B5EF4-FFF2-40B4-BE49-F238E27FC236}">
                <a16:creationId xmlns:a16="http://schemas.microsoft.com/office/drawing/2014/main" id="{222A085A-651A-67C1-90EF-6CA7DB0B6028}"/>
              </a:ext>
            </a:extLst>
          </p:cNvPr>
          <p:cNvSpPr>
            <a:spLocks/>
          </p:cNvSpPr>
          <p:nvPr/>
        </p:nvSpPr>
        <p:spPr bwMode="auto">
          <a:xfrm>
            <a:off x="1252104" y="2144360"/>
            <a:ext cx="221748" cy="220371"/>
          </a:xfrm>
          <a:custGeom>
            <a:avLst/>
            <a:gdLst>
              <a:gd name="T0" fmla="*/ 34 w 66"/>
              <a:gd name="T1" fmla="*/ 67 h 67"/>
              <a:gd name="T2" fmla="*/ 12 w 66"/>
              <a:gd name="T3" fmla="*/ 57 h 67"/>
              <a:gd name="T4" fmla="*/ 7 w 66"/>
              <a:gd name="T5" fmla="*/ 19 h 67"/>
              <a:gd name="T6" fmla="*/ 10 w 66"/>
              <a:gd name="T7" fmla="*/ 18 h 67"/>
              <a:gd name="T8" fmla="*/ 11 w 66"/>
              <a:gd name="T9" fmla="*/ 21 h 67"/>
              <a:gd name="T10" fmla="*/ 16 w 66"/>
              <a:gd name="T11" fmla="*/ 54 h 67"/>
              <a:gd name="T12" fmla="*/ 34 w 66"/>
              <a:gd name="T13" fmla="*/ 62 h 67"/>
              <a:gd name="T14" fmla="*/ 53 w 66"/>
              <a:gd name="T15" fmla="*/ 54 h 67"/>
              <a:gd name="T16" fmla="*/ 61 w 66"/>
              <a:gd name="T17" fmla="*/ 35 h 67"/>
              <a:gd name="T18" fmla="*/ 53 w 66"/>
              <a:gd name="T19" fmla="*/ 16 h 67"/>
              <a:gd name="T20" fmla="*/ 21 w 66"/>
              <a:gd name="T21" fmla="*/ 12 h 67"/>
              <a:gd name="T22" fmla="*/ 18 w 66"/>
              <a:gd name="T23" fmla="*/ 11 h 67"/>
              <a:gd name="T24" fmla="*/ 18 w 66"/>
              <a:gd name="T25" fmla="*/ 7 h 67"/>
              <a:gd name="T26" fmla="*/ 57 w 66"/>
              <a:gd name="T27" fmla="*/ 12 h 67"/>
              <a:gd name="T28" fmla="*/ 66 w 66"/>
              <a:gd name="T29" fmla="*/ 35 h 67"/>
              <a:gd name="T30" fmla="*/ 57 w 66"/>
              <a:gd name="T31" fmla="*/ 57 h 67"/>
              <a:gd name="T32" fmla="*/ 34 w 66"/>
              <a:gd name="T33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6" h="67">
                <a:moveTo>
                  <a:pt x="34" y="67"/>
                </a:moveTo>
                <a:cubicBezTo>
                  <a:pt x="26" y="67"/>
                  <a:pt x="18" y="63"/>
                  <a:pt x="12" y="57"/>
                </a:cubicBezTo>
                <a:cubicBezTo>
                  <a:pt x="2" y="47"/>
                  <a:pt x="0" y="31"/>
                  <a:pt x="7" y="19"/>
                </a:cubicBezTo>
                <a:cubicBezTo>
                  <a:pt x="8" y="18"/>
                  <a:pt x="9" y="17"/>
                  <a:pt x="10" y="18"/>
                </a:cubicBezTo>
                <a:cubicBezTo>
                  <a:pt x="12" y="19"/>
                  <a:pt x="12" y="20"/>
                  <a:pt x="11" y="21"/>
                </a:cubicBezTo>
                <a:cubicBezTo>
                  <a:pt x="5" y="32"/>
                  <a:pt x="7" y="45"/>
                  <a:pt x="16" y="54"/>
                </a:cubicBezTo>
                <a:cubicBezTo>
                  <a:pt x="21" y="59"/>
                  <a:pt x="27" y="62"/>
                  <a:pt x="34" y="62"/>
                </a:cubicBezTo>
                <a:cubicBezTo>
                  <a:pt x="42" y="62"/>
                  <a:pt x="48" y="59"/>
                  <a:pt x="53" y="54"/>
                </a:cubicBezTo>
                <a:cubicBezTo>
                  <a:pt x="59" y="49"/>
                  <a:pt x="61" y="42"/>
                  <a:pt x="61" y="35"/>
                </a:cubicBezTo>
                <a:cubicBezTo>
                  <a:pt x="61" y="28"/>
                  <a:pt x="59" y="21"/>
                  <a:pt x="53" y="16"/>
                </a:cubicBezTo>
                <a:cubicBezTo>
                  <a:pt x="45" y="7"/>
                  <a:pt x="31" y="5"/>
                  <a:pt x="21" y="12"/>
                </a:cubicBezTo>
                <a:cubicBezTo>
                  <a:pt x="20" y="12"/>
                  <a:pt x="18" y="12"/>
                  <a:pt x="18" y="11"/>
                </a:cubicBezTo>
                <a:cubicBezTo>
                  <a:pt x="17" y="10"/>
                  <a:pt x="17" y="8"/>
                  <a:pt x="18" y="7"/>
                </a:cubicBezTo>
                <a:cubicBezTo>
                  <a:pt x="31" y="0"/>
                  <a:pt x="47" y="2"/>
                  <a:pt x="57" y="12"/>
                </a:cubicBezTo>
                <a:cubicBezTo>
                  <a:pt x="63" y="18"/>
                  <a:pt x="66" y="26"/>
                  <a:pt x="66" y="35"/>
                </a:cubicBezTo>
                <a:cubicBezTo>
                  <a:pt x="66" y="43"/>
                  <a:pt x="63" y="51"/>
                  <a:pt x="57" y="57"/>
                </a:cubicBezTo>
                <a:cubicBezTo>
                  <a:pt x="51" y="63"/>
                  <a:pt x="43" y="67"/>
                  <a:pt x="34" y="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1" name="Freeform 1540">
            <a:extLst>
              <a:ext uri="{FF2B5EF4-FFF2-40B4-BE49-F238E27FC236}">
                <a16:creationId xmlns:a16="http://schemas.microsoft.com/office/drawing/2014/main" id="{77EFF592-0B48-F443-92D0-4B7B9EAD42B7}"/>
              </a:ext>
            </a:extLst>
          </p:cNvPr>
          <p:cNvSpPr>
            <a:spLocks/>
          </p:cNvSpPr>
          <p:nvPr/>
        </p:nvSpPr>
        <p:spPr bwMode="auto">
          <a:xfrm>
            <a:off x="1178975" y="1835839"/>
            <a:ext cx="276004" cy="276046"/>
          </a:xfrm>
          <a:custGeom>
            <a:avLst/>
            <a:gdLst>
              <a:gd name="T0" fmla="*/ 2 w 82"/>
              <a:gd name="T1" fmla="*/ 83 h 83"/>
              <a:gd name="T2" fmla="*/ 1 w 82"/>
              <a:gd name="T3" fmla="*/ 82 h 83"/>
              <a:gd name="T4" fmla="*/ 1 w 82"/>
              <a:gd name="T5" fmla="*/ 78 h 83"/>
              <a:gd name="T6" fmla="*/ 78 w 82"/>
              <a:gd name="T7" fmla="*/ 1 h 83"/>
              <a:gd name="T8" fmla="*/ 81 w 82"/>
              <a:gd name="T9" fmla="*/ 1 h 83"/>
              <a:gd name="T10" fmla="*/ 81 w 82"/>
              <a:gd name="T11" fmla="*/ 5 h 83"/>
              <a:gd name="T12" fmla="*/ 4 w 82"/>
              <a:gd name="T13" fmla="*/ 82 h 83"/>
              <a:gd name="T14" fmla="*/ 2 w 82"/>
              <a:gd name="T15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83">
                <a:moveTo>
                  <a:pt x="2" y="83"/>
                </a:moveTo>
                <a:cubicBezTo>
                  <a:pt x="2" y="83"/>
                  <a:pt x="1" y="82"/>
                  <a:pt x="1" y="82"/>
                </a:cubicBezTo>
                <a:cubicBezTo>
                  <a:pt x="0" y="81"/>
                  <a:pt x="0" y="79"/>
                  <a:pt x="1" y="78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0"/>
                  <a:pt x="80" y="0"/>
                  <a:pt x="81" y="1"/>
                </a:cubicBezTo>
                <a:cubicBezTo>
                  <a:pt x="82" y="2"/>
                  <a:pt x="82" y="4"/>
                  <a:pt x="81" y="5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2"/>
                  <a:pt x="3" y="83"/>
                  <a:pt x="2" y="8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2" name="Freeform 1541">
            <a:extLst>
              <a:ext uri="{FF2B5EF4-FFF2-40B4-BE49-F238E27FC236}">
                <a16:creationId xmlns:a16="http://schemas.microsoft.com/office/drawing/2014/main" id="{7ECAD614-992B-A56D-BD46-DDCAD8AAF3C0}"/>
              </a:ext>
            </a:extLst>
          </p:cNvPr>
          <p:cNvSpPr>
            <a:spLocks noEditPoints="1"/>
          </p:cNvSpPr>
          <p:nvPr/>
        </p:nvSpPr>
        <p:spPr bwMode="auto">
          <a:xfrm>
            <a:off x="924201" y="2097966"/>
            <a:ext cx="268926" cy="257486"/>
          </a:xfrm>
          <a:custGeom>
            <a:avLst/>
            <a:gdLst>
              <a:gd name="T0" fmla="*/ 26 w 80"/>
              <a:gd name="T1" fmla="*/ 78 h 78"/>
              <a:gd name="T2" fmla="*/ 20 w 80"/>
              <a:gd name="T3" fmla="*/ 76 h 78"/>
              <a:gd name="T4" fmla="*/ 4 w 80"/>
              <a:gd name="T5" fmla="*/ 60 h 78"/>
              <a:gd name="T6" fmla="*/ 4 w 80"/>
              <a:gd name="T7" fmla="*/ 48 h 78"/>
              <a:gd name="T8" fmla="*/ 49 w 80"/>
              <a:gd name="T9" fmla="*/ 3 h 78"/>
              <a:gd name="T10" fmla="*/ 55 w 80"/>
              <a:gd name="T11" fmla="*/ 0 h 78"/>
              <a:gd name="T12" fmla="*/ 61 w 80"/>
              <a:gd name="T13" fmla="*/ 3 h 78"/>
              <a:gd name="T14" fmla="*/ 77 w 80"/>
              <a:gd name="T15" fmla="*/ 19 h 78"/>
              <a:gd name="T16" fmla="*/ 77 w 80"/>
              <a:gd name="T17" fmla="*/ 31 h 78"/>
              <a:gd name="T18" fmla="*/ 32 w 80"/>
              <a:gd name="T19" fmla="*/ 76 h 78"/>
              <a:gd name="T20" fmla="*/ 26 w 80"/>
              <a:gd name="T21" fmla="*/ 78 h 78"/>
              <a:gd name="T22" fmla="*/ 55 w 80"/>
              <a:gd name="T23" fmla="*/ 5 h 78"/>
              <a:gd name="T24" fmla="*/ 52 w 80"/>
              <a:gd name="T25" fmla="*/ 7 h 78"/>
              <a:gd name="T26" fmla="*/ 7 w 80"/>
              <a:gd name="T27" fmla="*/ 51 h 78"/>
              <a:gd name="T28" fmla="*/ 7 w 80"/>
              <a:gd name="T29" fmla="*/ 57 h 78"/>
              <a:gd name="T30" fmla="*/ 23 w 80"/>
              <a:gd name="T31" fmla="*/ 72 h 78"/>
              <a:gd name="T32" fmla="*/ 28 w 80"/>
              <a:gd name="T33" fmla="*/ 72 h 78"/>
              <a:gd name="T34" fmla="*/ 73 w 80"/>
              <a:gd name="T35" fmla="*/ 28 h 78"/>
              <a:gd name="T36" fmla="*/ 73 w 80"/>
              <a:gd name="T37" fmla="*/ 22 h 78"/>
              <a:gd name="T38" fmla="*/ 58 w 80"/>
              <a:gd name="T39" fmla="*/ 7 h 78"/>
              <a:gd name="T40" fmla="*/ 55 w 80"/>
              <a:gd name="T41" fmla="*/ 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78">
                <a:moveTo>
                  <a:pt x="26" y="78"/>
                </a:moveTo>
                <a:cubicBezTo>
                  <a:pt x="23" y="78"/>
                  <a:pt x="21" y="77"/>
                  <a:pt x="20" y="76"/>
                </a:cubicBezTo>
                <a:cubicBezTo>
                  <a:pt x="4" y="60"/>
                  <a:pt x="4" y="60"/>
                  <a:pt x="4" y="60"/>
                </a:cubicBezTo>
                <a:cubicBezTo>
                  <a:pt x="0" y="57"/>
                  <a:pt x="0" y="51"/>
                  <a:pt x="4" y="48"/>
                </a:cubicBezTo>
                <a:cubicBezTo>
                  <a:pt x="49" y="3"/>
                  <a:pt x="49" y="3"/>
                  <a:pt x="49" y="3"/>
                </a:cubicBezTo>
                <a:cubicBezTo>
                  <a:pt x="50" y="1"/>
                  <a:pt x="52" y="0"/>
                  <a:pt x="55" y="0"/>
                </a:cubicBezTo>
                <a:cubicBezTo>
                  <a:pt x="57" y="0"/>
                  <a:pt x="59" y="1"/>
                  <a:pt x="61" y="3"/>
                </a:cubicBezTo>
                <a:cubicBezTo>
                  <a:pt x="77" y="19"/>
                  <a:pt x="77" y="19"/>
                  <a:pt x="77" y="19"/>
                </a:cubicBezTo>
                <a:cubicBezTo>
                  <a:pt x="80" y="22"/>
                  <a:pt x="80" y="28"/>
                  <a:pt x="77" y="31"/>
                </a:cubicBezTo>
                <a:cubicBezTo>
                  <a:pt x="32" y="76"/>
                  <a:pt x="32" y="76"/>
                  <a:pt x="32" y="76"/>
                </a:cubicBezTo>
                <a:cubicBezTo>
                  <a:pt x="30" y="77"/>
                  <a:pt x="28" y="78"/>
                  <a:pt x="26" y="78"/>
                </a:cubicBezTo>
                <a:close/>
                <a:moveTo>
                  <a:pt x="55" y="5"/>
                </a:moveTo>
                <a:cubicBezTo>
                  <a:pt x="54" y="5"/>
                  <a:pt x="53" y="6"/>
                  <a:pt x="52" y="7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3"/>
                  <a:pt x="6" y="55"/>
                  <a:pt x="7" y="57"/>
                </a:cubicBezTo>
                <a:cubicBezTo>
                  <a:pt x="23" y="72"/>
                  <a:pt x="23" y="72"/>
                  <a:pt x="23" y="72"/>
                </a:cubicBezTo>
                <a:cubicBezTo>
                  <a:pt x="24" y="74"/>
                  <a:pt x="27" y="74"/>
                  <a:pt x="28" y="72"/>
                </a:cubicBezTo>
                <a:cubicBezTo>
                  <a:pt x="73" y="28"/>
                  <a:pt x="73" y="28"/>
                  <a:pt x="73" y="28"/>
                </a:cubicBezTo>
                <a:cubicBezTo>
                  <a:pt x="75" y="26"/>
                  <a:pt x="75" y="24"/>
                  <a:pt x="73" y="2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6"/>
                  <a:pt x="56" y="5"/>
                  <a:pt x="55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3" name="Freeform 1542">
            <a:extLst>
              <a:ext uri="{FF2B5EF4-FFF2-40B4-BE49-F238E27FC236}">
                <a16:creationId xmlns:a16="http://schemas.microsoft.com/office/drawing/2014/main" id="{CD738547-F804-772C-D2DA-4DF0349F310E}"/>
              </a:ext>
            </a:extLst>
          </p:cNvPr>
          <p:cNvSpPr>
            <a:spLocks noEditPoints="1"/>
          </p:cNvSpPr>
          <p:nvPr/>
        </p:nvSpPr>
        <p:spPr bwMode="auto">
          <a:xfrm>
            <a:off x="1115280" y="2067808"/>
            <a:ext cx="108516" cy="102068"/>
          </a:xfrm>
          <a:custGeom>
            <a:avLst/>
            <a:gdLst>
              <a:gd name="T0" fmla="*/ 19 w 32"/>
              <a:gd name="T1" fmla="*/ 31 h 31"/>
              <a:gd name="T2" fmla="*/ 14 w 32"/>
              <a:gd name="T3" fmla="*/ 29 h 31"/>
              <a:gd name="T4" fmla="*/ 2 w 32"/>
              <a:gd name="T5" fmla="*/ 17 h 31"/>
              <a:gd name="T6" fmla="*/ 0 w 32"/>
              <a:gd name="T7" fmla="*/ 12 h 31"/>
              <a:gd name="T8" fmla="*/ 2 w 32"/>
              <a:gd name="T9" fmla="*/ 7 h 31"/>
              <a:gd name="T10" fmla="*/ 7 w 32"/>
              <a:gd name="T11" fmla="*/ 3 h 31"/>
              <a:gd name="T12" fmla="*/ 12 w 32"/>
              <a:gd name="T13" fmla="*/ 0 h 31"/>
              <a:gd name="T14" fmla="*/ 17 w 32"/>
              <a:gd name="T15" fmla="*/ 3 h 31"/>
              <a:gd name="T16" fmla="*/ 29 w 32"/>
              <a:gd name="T17" fmla="*/ 14 h 31"/>
              <a:gd name="T18" fmla="*/ 29 w 32"/>
              <a:gd name="T19" fmla="*/ 24 h 31"/>
              <a:gd name="T20" fmla="*/ 24 w 32"/>
              <a:gd name="T21" fmla="*/ 29 h 31"/>
              <a:gd name="T22" fmla="*/ 19 w 32"/>
              <a:gd name="T23" fmla="*/ 31 h 31"/>
              <a:gd name="T24" fmla="*/ 12 w 32"/>
              <a:gd name="T25" fmla="*/ 5 h 31"/>
              <a:gd name="T26" fmla="*/ 11 w 32"/>
              <a:gd name="T27" fmla="*/ 6 h 31"/>
              <a:gd name="T28" fmla="*/ 6 w 32"/>
              <a:gd name="T29" fmla="*/ 11 h 31"/>
              <a:gd name="T30" fmla="*/ 5 w 32"/>
              <a:gd name="T31" fmla="*/ 12 h 31"/>
              <a:gd name="T32" fmla="*/ 6 w 32"/>
              <a:gd name="T33" fmla="*/ 14 h 31"/>
              <a:gd name="T34" fmla="*/ 18 w 32"/>
              <a:gd name="T35" fmla="*/ 26 h 31"/>
              <a:gd name="T36" fmla="*/ 21 w 32"/>
              <a:gd name="T37" fmla="*/ 26 h 31"/>
              <a:gd name="T38" fmla="*/ 24 w 32"/>
              <a:gd name="T39" fmla="*/ 23 h 31"/>
              <a:gd name="T40" fmla="*/ 24 w 32"/>
              <a:gd name="T41" fmla="*/ 23 h 31"/>
              <a:gd name="T42" fmla="*/ 26 w 32"/>
              <a:gd name="T43" fmla="*/ 21 h 31"/>
              <a:gd name="T44" fmla="*/ 26 w 32"/>
              <a:gd name="T45" fmla="*/ 18 h 31"/>
              <a:gd name="T46" fmla="*/ 14 w 32"/>
              <a:gd name="T47" fmla="*/ 6 h 31"/>
              <a:gd name="T48" fmla="*/ 12 w 32"/>
              <a:gd name="T4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31">
                <a:moveTo>
                  <a:pt x="19" y="31"/>
                </a:moveTo>
                <a:cubicBezTo>
                  <a:pt x="17" y="31"/>
                  <a:pt x="16" y="31"/>
                  <a:pt x="14" y="29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6"/>
                  <a:pt x="0" y="14"/>
                  <a:pt x="0" y="12"/>
                </a:cubicBezTo>
                <a:cubicBezTo>
                  <a:pt x="0" y="10"/>
                  <a:pt x="1" y="9"/>
                  <a:pt x="2" y="7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2" y="0"/>
                </a:cubicBezTo>
                <a:cubicBezTo>
                  <a:pt x="14" y="0"/>
                  <a:pt x="16" y="1"/>
                  <a:pt x="17" y="3"/>
                </a:cubicBezTo>
                <a:cubicBezTo>
                  <a:pt x="29" y="14"/>
                  <a:pt x="29" y="14"/>
                  <a:pt x="29" y="14"/>
                </a:cubicBezTo>
                <a:cubicBezTo>
                  <a:pt x="32" y="17"/>
                  <a:pt x="32" y="22"/>
                  <a:pt x="29" y="24"/>
                </a:cubicBezTo>
                <a:cubicBezTo>
                  <a:pt x="24" y="29"/>
                  <a:pt x="24" y="29"/>
                  <a:pt x="24" y="29"/>
                </a:cubicBezTo>
                <a:cubicBezTo>
                  <a:pt x="23" y="31"/>
                  <a:pt x="21" y="31"/>
                  <a:pt x="19" y="31"/>
                </a:cubicBezTo>
                <a:close/>
                <a:moveTo>
                  <a:pt x="12" y="5"/>
                </a:moveTo>
                <a:cubicBezTo>
                  <a:pt x="12" y="5"/>
                  <a:pt x="11" y="6"/>
                  <a:pt x="11" y="6"/>
                </a:cubicBezTo>
                <a:cubicBezTo>
                  <a:pt x="6" y="11"/>
                  <a:pt x="6" y="11"/>
                  <a:pt x="6" y="11"/>
                </a:cubicBezTo>
                <a:cubicBezTo>
                  <a:pt x="5" y="11"/>
                  <a:pt x="5" y="12"/>
                  <a:pt x="5" y="12"/>
                </a:cubicBezTo>
                <a:cubicBezTo>
                  <a:pt x="5" y="13"/>
                  <a:pt x="5" y="13"/>
                  <a:pt x="6" y="14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7"/>
                  <a:pt x="20" y="27"/>
                  <a:pt x="21" y="26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0"/>
                  <a:pt x="27" y="19"/>
                  <a:pt x="26" y="1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5"/>
                  <a:pt x="1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4" name="Freeform 1543">
            <a:extLst>
              <a:ext uri="{FF2B5EF4-FFF2-40B4-BE49-F238E27FC236}">
                <a16:creationId xmlns:a16="http://schemas.microsoft.com/office/drawing/2014/main" id="{84369332-D4E2-7C08-DEA2-CCE645F9F7D6}"/>
              </a:ext>
            </a:extLst>
          </p:cNvPr>
          <p:cNvSpPr>
            <a:spLocks/>
          </p:cNvSpPr>
          <p:nvPr/>
        </p:nvSpPr>
        <p:spPr bwMode="auto">
          <a:xfrm>
            <a:off x="1410157" y="1835838"/>
            <a:ext cx="47179" cy="46393"/>
          </a:xfrm>
          <a:custGeom>
            <a:avLst/>
            <a:gdLst>
              <a:gd name="T0" fmla="*/ 4 w 14"/>
              <a:gd name="T1" fmla="*/ 14 h 14"/>
              <a:gd name="T2" fmla="*/ 1 w 14"/>
              <a:gd name="T3" fmla="*/ 13 h 14"/>
              <a:gd name="T4" fmla="*/ 1 w 14"/>
              <a:gd name="T5" fmla="*/ 13 h 14"/>
              <a:gd name="T6" fmla="*/ 1 w 14"/>
              <a:gd name="T7" fmla="*/ 8 h 14"/>
              <a:gd name="T8" fmla="*/ 8 w 14"/>
              <a:gd name="T9" fmla="*/ 1 h 14"/>
              <a:gd name="T10" fmla="*/ 13 w 14"/>
              <a:gd name="T11" fmla="*/ 1 h 14"/>
              <a:gd name="T12" fmla="*/ 14 w 14"/>
              <a:gd name="T13" fmla="*/ 3 h 14"/>
              <a:gd name="T14" fmla="*/ 13 w 14"/>
              <a:gd name="T15" fmla="*/ 6 h 14"/>
              <a:gd name="T16" fmla="*/ 6 w 14"/>
              <a:gd name="T17" fmla="*/ 13 h 14"/>
              <a:gd name="T18" fmla="*/ 4 w 14"/>
              <a:gd name="T19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4">
                <a:moveTo>
                  <a:pt x="4" y="14"/>
                </a:moveTo>
                <a:cubicBezTo>
                  <a:pt x="3" y="14"/>
                  <a:pt x="2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1"/>
                  <a:pt x="0" y="9"/>
                  <a:pt x="1" y="8"/>
                </a:cubicBezTo>
                <a:cubicBezTo>
                  <a:pt x="8" y="1"/>
                  <a:pt x="8" y="1"/>
                  <a:pt x="8" y="1"/>
                </a:cubicBezTo>
                <a:cubicBezTo>
                  <a:pt x="9" y="0"/>
                  <a:pt x="11" y="0"/>
                  <a:pt x="13" y="1"/>
                </a:cubicBezTo>
                <a:cubicBezTo>
                  <a:pt x="13" y="2"/>
                  <a:pt x="14" y="3"/>
                  <a:pt x="14" y="3"/>
                </a:cubicBezTo>
                <a:cubicBezTo>
                  <a:pt x="14" y="4"/>
                  <a:pt x="13" y="5"/>
                  <a:pt x="13" y="6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4"/>
                  <a:pt x="4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6" name="Freeform 44">
            <a:extLst>
              <a:ext uri="{FF2B5EF4-FFF2-40B4-BE49-F238E27FC236}">
                <a16:creationId xmlns:a16="http://schemas.microsoft.com/office/drawing/2014/main" id="{D3D6147C-12F0-898A-154C-2ED73E0AF265}"/>
              </a:ext>
            </a:extLst>
          </p:cNvPr>
          <p:cNvSpPr>
            <a:spLocks noEditPoints="1"/>
          </p:cNvSpPr>
          <p:nvPr/>
        </p:nvSpPr>
        <p:spPr bwMode="auto">
          <a:xfrm>
            <a:off x="6834947" y="4005950"/>
            <a:ext cx="236266" cy="236269"/>
          </a:xfrm>
          <a:custGeom>
            <a:avLst/>
            <a:gdLst>
              <a:gd name="T0" fmla="*/ 114 w 228"/>
              <a:gd name="T1" fmla="*/ 228 h 228"/>
              <a:gd name="T2" fmla="*/ 0 w 228"/>
              <a:gd name="T3" fmla="*/ 114 h 228"/>
              <a:gd name="T4" fmla="*/ 114 w 228"/>
              <a:gd name="T5" fmla="*/ 0 h 228"/>
              <a:gd name="T6" fmla="*/ 228 w 228"/>
              <a:gd name="T7" fmla="*/ 114 h 228"/>
              <a:gd name="T8" fmla="*/ 114 w 228"/>
              <a:gd name="T9" fmla="*/ 228 h 228"/>
              <a:gd name="T10" fmla="*/ 114 w 228"/>
              <a:gd name="T11" fmla="*/ 12 h 228"/>
              <a:gd name="T12" fmla="*/ 12 w 228"/>
              <a:gd name="T13" fmla="*/ 114 h 228"/>
              <a:gd name="T14" fmla="*/ 114 w 228"/>
              <a:gd name="T15" fmla="*/ 216 h 228"/>
              <a:gd name="T16" fmla="*/ 216 w 228"/>
              <a:gd name="T17" fmla="*/ 114 h 228"/>
              <a:gd name="T18" fmla="*/ 114 w 228"/>
              <a:gd name="T19" fmla="*/ 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28">
                <a:moveTo>
                  <a:pt x="114" y="228"/>
                </a:moveTo>
                <a:cubicBezTo>
                  <a:pt x="51" y="228"/>
                  <a:pt x="0" y="177"/>
                  <a:pt x="0" y="114"/>
                </a:cubicBezTo>
                <a:cubicBezTo>
                  <a:pt x="0" y="51"/>
                  <a:pt x="51" y="0"/>
                  <a:pt x="114" y="0"/>
                </a:cubicBezTo>
                <a:cubicBezTo>
                  <a:pt x="177" y="0"/>
                  <a:pt x="228" y="51"/>
                  <a:pt x="228" y="114"/>
                </a:cubicBezTo>
                <a:cubicBezTo>
                  <a:pt x="228" y="177"/>
                  <a:pt x="177" y="228"/>
                  <a:pt x="114" y="228"/>
                </a:cubicBezTo>
                <a:close/>
                <a:moveTo>
                  <a:pt x="114" y="12"/>
                </a:moveTo>
                <a:cubicBezTo>
                  <a:pt x="58" y="12"/>
                  <a:pt x="12" y="58"/>
                  <a:pt x="12" y="114"/>
                </a:cubicBezTo>
                <a:cubicBezTo>
                  <a:pt x="12" y="170"/>
                  <a:pt x="58" y="216"/>
                  <a:pt x="114" y="216"/>
                </a:cubicBezTo>
                <a:cubicBezTo>
                  <a:pt x="170" y="216"/>
                  <a:pt x="216" y="170"/>
                  <a:pt x="216" y="114"/>
                </a:cubicBezTo>
                <a:cubicBezTo>
                  <a:pt x="216" y="58"/>
                  <a:pt x="170" y="12"/>
                  <a:pt x="114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7" name="Freeform 45">
            <a:extLst>
              <a:ext uri="{FF2B5EF4-FFF2-40B4-BE49-F238E27FC236}">
                <a16:creationId xmlns:a16="http://schemas.microsoft.com/office/drawing/2014/main" id="{2364B643-5FCB-5CC3-E91F-4FFA088917A2}"/>
              </a:ext>
            </a:extLst>
          </p:cNvPr>
          <p:cNvSpPr>
            <a:spLocks noEditPoints="1"/>
          </p:cNvSpPr>
          <p:nvPr/>
        </p:nvSpPr>
        <p:spPr bwMode="auto">
          <a:xfrm>
            <a:off x="6729941" y="3900943"/>
            <a:ext cx="450025" cy="446279"/>
          </a:xfrm>
          <a:custGeom>
            <a:avLst/>
            <a:gdLst>
              <a:gd name="T0" fmla="*/ 204 w 432"/>
              <a:gd name="T1" fmla="*/ 432 h 432"/>
              <a:gd name="T2" fmla="*/ 172 w 432"/>
              <a:gd name="T3" fmla="*/ 379 h 432"/>
              <a:gd name="T4" fmla="*/ 116 w 432"/>
              <a:gd name="T5" fmla="*/ 378 h 432"/>
              <a:gd name="T6" fmla="*/ 54 w 432"/>
              <a:gd name="T7" fmla="*/ 360 h 432"/>
              <a:gd name="T8" fmla="*/ 54 w 432"/>
              <a:gd name="T9" fmla="*/ 316 h 432"/>
              <a:gd name="T10" fmla="*/ 53 w 432"/>
              <a:gd name="T11" fmla="*/ 260 h 432"/>
              <a:gd name="T12" fmla="*/ 0 w 432"/>
              <a:gd name="T13" fmla="*/ 228 h 432"/>
              <a:gd name="T14" fmla="*/ 31 w 432"/>
              <a:gd name="T15" fmla="*/ 172 h 432"/>
              <a:gd name="T16" fmla="*/ 70 w 432"/>
              <a:gd name="T17" fmla="*/ 132 h 432"/>
              <a:gd name="T18" fmla="*/ 45 w 432"/>
              <a:gd name="T19" fmla="*/ 94 h 432"/>
              <a:gd name="T20" fmla="*/ 72 w 432"/>
              <a:gd name="T21" fmla="*/ 54 h 432"/>
              <a:gd name="T22" fmla="*/ 132 w 432"/>
              <a:gd name="T23" fmla="*/ 70 h 432"/>
              <a:gd name="T24" fmla="*/ 172 w 432"/>
              <a:gd name="T25" fmla="*/ 31 h 432"/>
              <a:gd name="T26" fmla="*/ 229 w 432"/>
              <a:gd name="T27" fmla="*/ 0 h 432"/>
              <a:gd name="T28" fmla="*/ 260 w 432"/>
              <a:gd name="T29" fmla="*/ 53 h 432"/>
              <a:gd name="T30" fmla="*/ 316 w 432"/>
              <a:gd name="T31" fmla="*/ 54 h 432"/>
              <a:gd name="T32" fmla="*/ 378 w 432"/>
              <a:gd name="T33" fmla="*/ 72 h 432"/>
              <a:gd name="T34" fmla="*/ 378 w 432"/>
              <a:gd name="T35" fmla="*/ 116 h 432"/>
              <a:gd name="T36" fmla="*/ 379 w 432"/>
              <a:gd name="T37" fmla="*/ 172 h 432"/>
              <a:gd name="T38" fmla="*/ 432 w 432"/>
              <a:gd name="T39" fmla="*/ 203 h 432"/>
              <a:gd name="T40" fmla="*/ 401 w 432"/>
              <a:gd name="T41" fmla="*/ 260 h 432"/>
              <a:gd name="T42" fmla="*/ 362 w 432"/>
              <a:gd name="T43" fmla="*/ 300 h 432"/>
              <a:gd name="T44" fmla="*/ 387 w 432"/>
              <a:gd name="T45" fmla="*/ 338 h 432"/>
              <a:gd name="T46" fmla="*/ 360 w 432"/>
              <a:gd name="T47" fmla="*/ 378 h 432"/>
              <a:gd name="T48" fmla="*/ 300 w 432"/>
              <a:gd name="T49" fmla="*/ 362 h 432"/>
              <a:gd name="T50" fmla="*/ 260 w 432"/>
              <a:gd name="T51" fmla="*/ 401 h 432"/>
              <a:gd name="T52" fmla="*/ 131 w 432"/>
              <a:gd name="T53" fmla="*/ 348 h 432"/>
              <a:gd name="T54" fmla="*/ 180 w 432"/>
              <a:gd name="T55" fmla="*/ 368 h 432"/>
              <a:gd name="T56" fmla="*/ 185 w 432"/>
              <a:gd name="T57" fmla="*/ 401 h 432"/>
              <a:gd name="T58" fmla="*/ 229 w 432"/>
              <a:gd name="T59" fmla="*/ 420 h 432"/>
              <a:gd name="T60" fmla="*/ 248 w 432"/>
              <a:gd name="T61" fmla="*/ 374 h 432"/>
              <a:gd name="T62" fmla="*/ 298 w 432"/>
              <a:gd name="T63" fmla="*/ 349 h 432"/>
              <a:gd name="T64" fmla="*/ 325 w 432"/>
              <a:gd name="T65" fmla="*/ 369 h 432"/>
              <a:gd name="T66" fmla="*/ 369 w 432"/>
              <a:gd name="T67" fmla="*/ 351 h 432"/>
              <a:gd name="T68" fmla="*/ 351 w 432"/>
              <a:gd name="T69" fmla="*/ 306 h 432"/>
              <a:gd name="T70" fmla="*/ 349 w 432"/>
              <a:gd name="T71" fmla="*/ 298 h 432"/>
              <a:gd name="T72" fmla="*/ 374 w 432"/>
              <a:gd name="T73" fmla="*/ 247 h 432"/>
              <a:gd name="T74" fmla="*/ 420 w 432"/>
              <a:gd name="T75" fmla="*/ 228 h 432"/>
              <a:gd name="T76" fmla="*/ 401 w 432"/>
              <a:gd name="T77" fmla="*/ 184 h 432"/>
              <a:gd name="T78" fmla="*/ 368 w 432"/>
              <a:gd name="T79" fmla="*/ 180 h 432"/>
              <a:gd name="T80" fmla="*/ 350 w 432"/>
              <a:gd name="T81" fmla="*/ 126 h 432"/>
              <a:gd name="T82" fmla="*/ 369 w 432"/>
              <a:gd name="T83" fmla="*/ 80 h 432"/>
              <a:gd name="T84" fmla="*/ 325 w 432"/>
              <a:gd name="T85" fmla="*/ 63 h 432"/>
              <a:gd name="T86" fmla="*/ 298 w 432"/>
              <a:gd name="T87" fmla="*/ 83 h 432"/>
              <a:gd name="T88" fmla="*/ 248 w 432"/>
              <a:gd name="T89" fmla="*/ 58 h 432"/>
              <a:gd name="T90" fmla="*/ 229 w 432"/>
              <a:gd name="T91" fmla="*/ 12 h 432"/>
              <a:gd name="T92" fmla="*/ 185 w 432"/>
              <a:gd name="T93" fmla="*/ 31 h 432"/>
              <a:gd name="T94" fmla="*/ 180 w 432"/>
              <a:gd name="T95" fmla="*/ 64 h 432"/>
              <a:gd name="T96" fmla="*/ 127 w 432"/>
              <a:gd name="T97" fmla="*/ 82 h 432"/>
              <a:gd name="T98" fmla="*/ 81 w 432"/>
              <a:gd name="T99" fmla="*/ 63 h 432"/>
              <a:gd name="T100" fmla="*/ 57 w 432"/>
              <a:gd name="T101" fmla="*/ 94 h 432"/>
              <a:gd name="T102" fmla="*/ 82 w 432"/>
              <a:gd name="T103" fmla="*/ 126 h 432"/>
              <a:gd name="T104" fmla="*/ 64 w 432"/>
              <a:gd name="T105" fmla="*/ 180 h 432"/>
              <a:gd name="T106" fmla="*/ 31 w 432"/>
              <a:gd name="T107" fmla="*/ 184 h 432"/>
              <a:gd name="T108" fmla="*/ 12 w 432"/>
              <a:gd name="T109" fmla="*/ 228 h 432"/>
              <a:gd name="T110" fmla="*/ 58 w 432"/>
              <a:gd name="T111" fmla="*/ 247 h 432"/>
              <a:gd name="T112" fmla="*/ 83 w 432"/>
              <a:gd name="T113" fmla="*/ 298 h 432"/>
              <a:gd name="T114" fmla="*/ 82 w 432"/>
              <a:gd name="T115" fmla="*/ 306 h 432"/>
              <a:gd name="T116" fmla="*/ 57 w 432"/>
              <a:gd name="T117" fmla="*/ 338 h 432"/>
              <a:gd name="T118" fmla="*/ 81 w 432"/>
              <a:gd name="T119" fmla="*/ 369 h 432"/>
              <a:gd name="T120" fmla="*/ 126 w 432"/>
              <a:gd name="T121" fmla="*/ 35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2" h="432">
                <a:moveTo>
                  <a:pt x="229" y="432"/>
                </a:moveTo>
                <a:cubicBezTo>
                  <a:pt x="204" y="432"/>
                  <a:pt x="204" y="432"/>
                  <a:pt x="204" y="432"/>
                </a:cubicBezTo>
                <a:cubicBezTo>
                  <a:pt x="186" y="432"/>
                  <a:pt x="172" y="418"/>
                  <a:pt x="172" y="401"/>
                </a:cubicBezTo>
                <a:cubicBezTo>
                  <a:pt x="172" y="379"/>
                  <a:pt x="172" y="379"/>
                  <a:pt x="172" y="379"/>
                </a:cubicBezTo>
                <a:cubicBezTo>
                  <a:pt x="158" y="375"/>
                  <a:pt x="145" y="369"/>
                  <a:pt x="132" y="362"/>
                </a:cubicBezTo>
                <a:cubicBezTo>
                  <a:pt x="116" y="378"/>
                  <a:pt x="116" y="378"/>
                  <a:pt x="116" y="378"/>
                </a:cubicBezTo>
                <a:cubicBezTo>
                  <a:pt x="104" y="390"/>
                  <a:pt x="84" y="390"/>
                  <a:pt x="72" y="378"/>
                </a:cubicBezTo>
                <a:cubicBezTo>
                  <a:pt x="54" y="360"/>
                  <a:pt x="54" y="360"/>
                  <a:pt x="54" y="360"/>
                </a:cubicBezTo>
                <a:cubicBezTo>
                  <a:pt x="48" y="354"/>
                  <a:pt x="45" y="346"/>
                  <a:pt x="45" y="338"/>
                </a:cubicBezTo>
                <a:cubicBezTo>
                  <a:pt x="45" y="329"/>
                  <a:pt x="48" y="322"/>
                  <a:pt x="54" y="316"/>
                </a:cubicBezTo>
                <a:cubicBezTo>
                  <a:pt x="70" y="300"/>
                  <a:pt x="70" y="300"/>
                  <a:pt x="70" y="300"/>
                </a:cubicBezTo>
                <a:cubicBezTo>
                  <a:pt x="63" y="287"/>
                  <a:pt x="57" y="274"/>
                  <a:pt x="53" y="260"/>
                </a:cubicBezTo>
                <a:cubicBezTo>
                  <a:pt x="31" y="260"/>
                  <a:pt x="31" y="260"/>
                  <a:pt x="31" y="260"/>
                </a:cubicBezTo>
                <a:cubicBezTo>
                  <a:pt x="14" y="260"/>
                  <a:pt x="0" y="246"/>
                  <a:pt x="0" y="228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186"/>
                  <a:pt x="14" y="172"/>
                  <a:pt x="31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7" y="158"/>
                  <a:pt x="63" y="144"/>
                  <a:pt x="70" y="132"/>
                </a:cubicBezTo>
                <a:cubicBezTo>
                  <a:pt x="54" y="116"/>
                  <a:pt x="54" y="116"/>
                  <a:pt x="54" y="116"/>
                </a:cubicBezTo>
                <a:cubicBezTo>
                  <a:pt x="48" y="110"/>
                  <a:pt x="45" y="102"/>
                  <a:pt x="45" y="94"/>
                </a:cubicBezTo>
                <a:cubicBezTo>
                  <a:pt x="45" y="85"/>
                  <a:pt x="48" y="78"/>
                  <a:pt x="54" y="72"/>
                </a:cubicBezTo>
                <a:cubicBezTo>
                  <a:pt x="72" y="54"/>
                  <a:pt x="72" y="54"/>
                  <a:pt x="72" y="54"/>
                </a:cubicBezTo>
                <a:cubicBezTo>
                  <a:pt x="84" y="42"/>
                  <a:pt x="104" y="42"/>
                  <a:pt x="116" y="54"/>
                </a:cubicBezTo>
                <a:cubicBezTo>
                  <a:pt x="132" y="70"/>
                  <a:pt x="132" y="70"/>
                  <a:pt x="132" y="70"/>
                </a:cubicBezTo>
                <a:cubicBezTo>
                  <a:pt x="145" y="62"/>
                  <a:pt x="158" y="57"/>
                  <a:pt x="172" y="53"/>
                </a:cubicBezTo>
                <a:cubicBezTo>
                  <a:pt x="172" y="31"/>
                  <a:pt x="172" y="31"/>
                  <a:pt x="172" y="31"/>
                </a:cubicBezTo>
                <a:cubicBezTo>
                  <a:pt x="172" y="14"/>
                  <a:pt x="186" y="0"/>
                  <a:pt x="204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46" y="0"/>
                  <a:pt x="260" y="14"/>
                  <a:pt x="260" y="31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74" y="57"/>
                  <a:pt x="288" y="62"/>
                  <a:pt x="300" y="70"/>
                </a:cubicBezTo>
                <a:cubicBezTo>
                  <a:pt x="316" y="54"/>
                  <a:pt x="316" y="54"/>
                  <a:pt x="316" y="54"/>
                </a:cubicBezTo>
                <a:cubicBezTo>
                  <a:pt x="328" y="42"/>
                  <a:pt x="348" y="42"/>
                  <a:pt x="360" y="54"/>
                </a:cubicBezTo>
                <a:cubicBezTo>
                  <a:pt x="378" y="72"/>
                  <a:pt x="378" y="72"/>
                  <a:pt x="378" y="72"/>
                </a:cubicBezTo>
                <a:cubicBezTo>
                  <a:pt x="384" y="78"/>
                  <a:pt x="387" y="85"/>
                  <a:pt x="387" y="94"/>
                </a:cubicBezTo>
                <a:cubicBezTo>
                  <a:pt x="387" y="102"/>
                  <a:pt x="384" y="110"/>
                  <a:pt x="378" y="116"/>
                </a:cubicBezTo>
                <a:cubicBezTo>
                  <a:pt x="362" y="132"/>
                  <a:pt x="362" y="132"/>
                  <a:pt x="362" y="132"/>
                </a:cubicBezTo>
                <a:cubicBezTo>
                  <a:pt x="370" y="144"/>
                  <a:pt x="375" y="158"/>
                  <a:pt x="379" y="172"/>
                </a:cubicBezTo>
                <a:cubicBezTo>
                  <a:pt x="401" y="172"/>
                  <a:pt x="401" y="172"/>
                  <a:pt x="401" y="172"/>
                </a:cubicBezTo>
                <a:cubicBezTo>
                  <a:pt x="418" y="172"/>
                  <a:pt x="432" y="186"/>
                  <a:pt x="432" y="203"/>
                </a:cubicBezTo>
                <a:cubicBezTo>
                  <a:pt x="432" y="228"/>
                  <a:pt x="432" y="228"/>
                  <a:pt x="432" y="228"/>
                </a:cubicBezTo>
                <a:cubicBezTo>
                  <a:pt x="432" y="246"/>
                  <a:pt x="418" y="260"/>
                  <a:pt x="401" y="260"/>
                </a:cubicBezTo>
                <a:cubicBezTo>
                  <a:pt x="379" y="260"/>
                  <a:pt x="379" y="260"/>
                  <a:pt x="379" y="260"/>
                </a:cubicBezTo>
                <a:cubicBezTo>
                  <a:pt x="375" y="274"/>
                  <a:pt x="370" y="287"/>
                  <a:pt x="362" y="300"/>
                </a:cubicBezTo>
                <a:cubicBezTo>
                  <a:pt x="378" y="316"/>
                  <a:pt x="378" y="316"/>
                  <a:pt x="378" y="316"/>
                </a:cubicBezTo>
                <a:cubicBezTo>
                  <a:pt x="384" y="322"/>
                  <a:pt x="387" y="329"/>
                  <a:pt x="387" y="338"/>
                </a:cubicBezTo>
                <a:cubicBezTo>
                  <a:pt x="387" y="346"/>
                  <a:pt x="384" y="354"/>
                  <a:pt x="378" y="360"/>
                </a:cubicBezTo>
                <a:cubicBezTo>
                  <a:pt x="360" y="378"/>
                  <a:pt x="360" y="378"/>
                  <a:pt x="360" y="378"/>
                </a:cubicBezTo>
                <a:cubicBezTo>
                  <a:pt x="348" y="390"/>
                  <a:pt x="328" y="390"/>
                  <a:pt x="316" y="378"/>
                </a:cubicBezTo>
                <a:cubicBezTo>
                  <a:pt x="300" y="362"/>
                  <a:pt x="300" y="362"/>
                  <a:pt x="300" y="362"/>
                </a:cubicBezTo>
                <a:cubicBezTo>
                  <a:pt x="288" y="369"/>
                  <a:pt x="274" y="375"/>
                  <a:pt x="260" y="379"/>
                </a:cubicBezTo>
                <a:cubicBezTo>
                  <a:pt x="260" y="401"/>
                  <a:pt x="260" y="401"/>
                  <a:pt x="260" y="401"/>
                </a:cubicBezTo>
                <a:cubicBezTo>
                  <a:pt x="260" y="418"/>
                  <a:pt x="246" y="432"/>
                  <a:pt x="229" y="432"/>
                </a:cubicBezTo>
                <a:close/>
                <a:moveTo>
                  <a:pt x="131" y="348"/>
                </a:moveTo>
                <a:cubicBezTo>
                  <a:pt x="132" y="348"/>
                  <a:pt x="133" y="349"/>
                  <a:pt x="134" y="349"/>
                </a:cubicBezTo>
                <a:cubicBezTo>
                  <a:pt x="148" y="358"/>
                  <a:pt x="164" y="364"/>
                  <a:pt x="180" y="368"/>
                </a:cubicBezTo>
                <a:cubicBezTo>
                  <a:pt x="183" y="369"/>
                  <a:pt x="185" y="371"/>
                  <a:pt x="185" y="374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185" y="411"/>
                  <a:pt x="193" y="420"/>
                  <a:pt x="204" y="420"/>
                </a:cubicBezTo>
                <a:cubicBezTo>
                  <a:pt x="229" y="420"/>
                  <a:pt x="229" y="420"/>
                  <a:pt x="229" y="420"/>
                </a:cubicBezTo>
                <a:cubicBezTo>
                  <a:pt x="239" y="420"/>
                  <a:pt x="248" y="411"/>
                  <a:pt x="248" y="401"/>
                </a:cubicBezTo>
                <a:cubicBezTo>
                  <a:pt x="248" y="374"/>
                  <a:pt x="248" y="374"/>
                  <a:pt x="248" y="374"/>
                </a:cubicBezTo>
                <a:cubicBezTo>
                  <a:pt x="248" y="371"/>
                  <a:pt x="250" y="369"/>
                  <a:pt x="252" y="368"/>
                </a:cubicBezTo>
                <a:cubicBezTo>
                  <a:pt x="269" y="364"/>
                  <a:pt x="284" y="358"/>
                  <a:pt x="298" y="349"/>
                </a:cubicBezTo>
                <a:cubicBezTo>
                  <a:pt x="301" y="348"/>
                  <a:pt x="304" y="348"/>
                  <a:pt x="306" y="350"/>
                </a:cubicBezTo>
                <a:cubicBezTo>
                  <a:pt x="325" y="369"/>
                  <a:pt x="325" y="369"/>
                  <a:pt x="325" y="369"/>
                </a:cubicBezTo>
                <a:cubicBezTo>
                  <a:pt x="332" y="376"/>
                  <a:pt x="344" y="376"/>
                  <a:pt x="352" y="369"/>
                </a:cubicBezTo>
                <a:cubicBezTo>
                  <a:pt x="369" y="351"/>
                  <a:pt x="369" y="351"/>
                  <a:pt x="369" y="351"/>
                </a:cubicBezTo>
                <a:cubicBezTo>
                  <a:pt x="377" y="344"/>
                  <a:pt x="377" y="332"/>
                  <a:pt x="369" y="324"/>
                </a:cubicBezTo>
                <a:cubicBezTo>
                  <a:pt x="351" y="306"/>
                  <a:pt x="351" y="306"/>
                  <a:pt x="351" y="306"/>
                </a:cubicBezTo>
                <a:cubicBezTo>
                  <a:pt x="349" y="304"/>
                  <a:pt x="348" y="302"/>
                  <a:pt x="349" y="299"/>
                </a:cubicBezTo>
                <a:cubicBezTo>
                  <a:pt x="349" y="299"/>
                  <a:pt x="349" y="298"/>
                  <a:pt x="349" y="298"/>
                </a:cubicBezTo>
                <a:cubicBezTo>
                  <a:pt x="358" y="284"/>
                  <a:pt x="364" y="268"/>
                  <a:pt x="368" y="252"/>
                </a:cubicBezTo>
                <a:cubicBezTo>
                  <a:pt x="369" y="249"/>
                  <a:pt x="371" y="247"/>
                  <a:pt x="374" y="247"/>
                </a:cubicBezTo>
                <a:cubicBezTo>
                  <a:pt x="401" y="247"/>
                  <a:pt x="401" y="247"/>
                  <a:pt x="401" y="247"/>
                </a:cubicBezTo>
                <a:cubicBezTo>
                  <a:pt x="412" y="247"/>
                  <a:pt x="420" y="239"/>
                  <a:pt x="420" y="228"/>
                </a:cubicBezTo>
                <a:cubicBezTo>
                  <a:pt x="420" y="203"/>
                  <a:pt x="420" y="203"/>
                  <a:pt x="420" y="203"/>
                </a:cubicBezTo>
                <a:cubicBezTo>
                  <a:pt x="420" y="193"/>
                  <a:pt x="412" y="184"/>
                  <a:pt x="401" y="184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71" y="184"/>
                  <a:pt x="369" y="182"/>
                  <a:pt x="368" y="180"/>
                </a:cubicBezTo>
                <a:cubicBezTo>
                  <a:pt x="364" y="163"/>
                  <a:pt x="358" y="148"/>
                  <a:pt x="349" y="134"/>
                </a:cubicBezTo>
                <a:cubicBezTo>
                  <a:pt x="348" y="131"/>
                  <a:pt x="348" y="128"/>
                  <a:pt x="350" y="12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77" y="100"/>
                  <a:pt x="377" y="88"/>
                  <a:pt x="369" y="80"/>
                </a:cubicBezTo>
                <a:cubicBezTo>
                  <a:pt x="352" y="63"/>
                  <a:pt x="352" y="63"/>
                  <a:pt x="352" y="63"/>
                </a:cubicBezTo>
                <a:cubicBezTo>
                  <a:pt x="344" y="55"/>
                  <a:pt x="332" y="55"/>
                  <a:pt x="325" y="63"/>
                </a:cubicBezTo>
                <a:cubicBezTo>
                  <a:pt x="306" y="82"/>
                  <a:pt x="306" y="82"/>
                  <a:pt x="306" y="82"/>
                </a:cubicBezTo>
                <a:cubicBezTo>
                  <a:pt x="304" y="84"/>
                  <a:pt x="300" y="84"/>
                  <a:pt x="298" y="83"/>
                </a:cubicBezTo>
                <a:cubicBezTo>
                  <a:pt x="284" y="74"/>
                  <a:pt x="269" y="68"/>
                  <a:pt x="252" y="64"/>
                </a:cubicBezTo>
                <a:cubicBezTo>
                  <a:pt x="250" y="63"/>
                  <a:pt x="248" y="61"/>
                  <a:pt x="248" y="58"/>
                </a:cubicBezTo>
                <a:cubicBezTo>
                  <a:pt x="248" y="31"/>
                  <a:pt x="248" y="31"/>
                  <a:pt x="248" y="31"/>
                </a:cubicBezTo>
                <a:cubicBezTo>
                  <a:pt x="248" y="20"/>
                  <a:pt x="239" y="12"/>
                  <a:pt x="229" y="12"/>
                </a:cubicBezTo>
                <a:cubicBezTo>
                  <a:pt x="204" y="12"/>
                  <a:pt x="204" y="12"/>
                  <a:pt x="204" y="12"/>
                </a:cubicBezTo>
                <a:cubicBezTo>
                  <a:pt x="193" y="12"/>
                  <a:pt x="185" y="20"/>
                  <a:pt x="185" y="31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61"/>
                  <a:pt x="183" y="63"/>
                  <a:pt x="180" y="64"/>
                </a:cubicBezTo>
                <a:cubicBezTo>
                  <a:pt x="164" y="68"/>
                  <a:pt x="148" y="74"/>
                  <a:pt x="134" y="83"/>
                </a:cubicBezTo>
                <a:cubicBezTo>
                  <a:pt x="132" y="84"/>
                  <a:pt x="129" y="84"/>
                  <a:pt x="127" y="8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0" y="55"/>
                  <a:pt x="88" y="55"/>
                  <a:pt x="81" y="63"/>
                </a:cubicBezTo>
                <a:cubicBezTo>
                  <a:pt x="63" y="80"/>
                  <a:pt x="63" y="80"/>
                  <a:pt x="63" y="80"/>
                </a:cubicBezTo>
                <a:cubicBezTo>
                  <a:pt x="59" y="84"/>
                  <a:pt x="57" y="89"/>
                  <a:pt x="57" y="94"/>
                </a:cubicBezTo>
                <a:cubicBezTo>
                  <a:pt x="57" y="99"/>
                  <a:pt x="59" y="104"/>
                  <a:pt x="63" y="10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8"/>
                  <a:pt x="84" y="131"/>
                  <a:pt x="83" y="134"/>
                </a:cubicBezTo>
                <a:cubicBezTo>
                  <a:pt x="74" y="148"/>
                  <a:pt x="68" y="163"/>
                  <a:pt x="64" y="180"/>
                </a:cubicBezTo>
                <a:cubicBezTo>
                  <a:pt x="63" y="182"/>
                  <a:pt x="61" y="184"/>
                  <a:pt x="58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21" y="184"/>
                  <a:pt x="12" y="193"/>
                  <a:pt x="12" y="203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9"/>
                  <a:pt x="21" y="247"/>
                  <a:pt x="31" y="247"/>
                </a:cubicBezTo>
                <a:cubicBezTo>
                  <a:pt x="58" y="247"/>
                  <a:pt x="58" y="247"/>
                  <a:pt x="58" y="247"/>
                </a:cubicBezTo>
                <a:cubicBezTo>
                  <a:pt x="61" y="247"/>
                  <a:pt x="63" y="249"/>
                  <a:pt x="64" y="252"/>
                </a:cubicBezTo>
                <a:cubicBezTo>
                  <a:pt x="68" y="268"/>
                  <a:pt x="74" y="284"/>
                  <a:pt x="83" y="298"/>
                </a:cubicBezTo>
                <a:cubicBezTo>
                  <a:pt x="83" y="298"/>
                  <a:pt x="83" y="299"/>
                  <a:pt x="83" y="299"/>
                </a:cubicBezTo>
                <a:cubicBezTo>
                  <a:pt x="84" y="302"/>
                  <a:pt x="83" y="304"/>
                  <a:pt x="82" y="306"/>
                </a:cubicBezTo>
                <a:cubicBezTo>
                  <a:pt x="63" y="324"/>
                  <a:pt x="63" y="324"/>
                  <a:pt x="63" y="324"/>
                </a:cubicBezTo>
                <a:cubicBezTo>
                  <a:pt x="59" y="328"/>
                  <a:pt x="57" y="333"/>
                  <a:pt x="57" y="338"/>
                </a:cubicBezTo>
                <a:cubicBezTo>
                  <a:pt x="57" y="343"/>
                  <a:pt x="59" y="348"/>
                  <a:pt x="63" y="351"/>
                </a:cubicBezTo>
                <a:cubicBezTo>
                  <a:pt x="81" y="369"/>
                  <a:pt x="81" y="369"/>
                  <a:pt x="81" y="369"/>
                </a:cubicBezTo>
                <a:cubicBezTo>
                  <a:pt x="88" y="376"/>
                  <a:pt x="100" y="376"/>
                  <a:pt x="108" y="369"/>
                </a:cubicBezTo>
                <a:cubicBezTo>
                  <a:pt x="126" y="350"/>
                  <a:pt x="126" y="350"/>
                  <a:pt x="126" y="350"/>
                </a:cubicBezTo>
                <a:cubicBezTo>
                  <a:pt x="127" y="349"/>
                  <a:pt x="129" y="348"/>
                  <a:pt x="131" y="3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8" name="Freeform 933">
            <a:extLst>
              <a:ext uri="{FF2B5EF4-FFF2-40B4-BE49-F238E27FC236}">
                <a16:creationId xmlns:a16="http://schemas.microsoft.com/office/drawing/2014/main" id="{E83B779A-234F-058F-55DF-2BBF9B9F5DCB}"/>
              </a:ext>
            </a:extLst>
          </p:cNvPr>
          <p:cNvSpPr>
            <a:spLocks/>
          </p:cNvSpPr>
          <p:nvPr/>
        </p:nvSpPr>
        <p:spPr bwMode="auto">
          <a:xfrm>
            <a:off x="10996231" y="4207482"/>
            <a:ext cx="18534" cy="120466"/>
          </a:xfrm>
          <a:custGeom>
            <a:avLst/>
            <a:gdLst>
              <a:gd name="T0" fmla="*/ 6 w 15"/>
              <a:gd name="T1" fmla="*/ 99 h 99"/>
              <a:gd name="T2" fmla="*/ 5 w 15"/>
              <a:gd name="T3" fmla="*/ 99 h 99"/>
              <a:gd name="T4" fmla="*/ 0 w 15"/>
              <a:gd name="T5" fmla="*/ 93 h 99"/>
              <a:gd name="T6" fmla="*/ 4 w 15"/>
              <a:gd name="T7" fmla="*/ 6 h 99"/>
              <a:gd name="T8" fmla="*/ 9 w 15"/>
              <a:gd name="T9" fmla="*/ 0 h 99"/>
              <a:gd name="T10" fmla="*/ 15 w 15"/>
              <a:gd name="T11" fmla="*/ 6 h 99"/>
              <a:gd name="T12" fmla="*/ 11 w 15"/>
              <a:gd name="T13" fmla="*/ 94 h 99"/>
              <a:gd name="T14" fmla="*/ 6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6" y="99"/>
                </a:moveTo>
                <a:cubicBezTo>
                  <a:pt x="6" y="99"/>
                  <a:pt x="6" y="99"/>
                  <a:pt x="5" y="99"/>
                </a:cubicBezTo>
                <a:cubicBezTo>
                  <a:pt x="2" y="99"/>
                  <a:pt x="0" y="96"/>
                  <a:pt x="0" y="93"/>
                </a:cubicBezTo>
                <a:cubicBezTo>
                  <a:pt x="4" y="6"/>
                  <a:pt x="4" y="6"/>
                  <a:pt x="4" y="6"/>
                </a:cubicBezTo>
                <a:cubicBezTo>
                  <a:pt x="4" y="3"/>
                  <a:pt x="6" y="0"/>
                  <a:pt x="9" y="0"/>
                </a:cubicBezTo>
                <a:cubicBezTo>
                  <a:pt x="13" y="1"/>
                  <a:pt x="15" y="3"/>
                  <a:pt x="15" y="6"/>
                </a:cubicBezTo>
                <a:cubicBezTo>
                  <a:pt x="11" y="94"/>
                  <a:pt x="11" y="94"/>
                  <a:pt x="11" y="94"/>
                </a:cubicBezTo>
                <a:cubicBezTo>
                  <a:pt x="11" y="97"/>
                  <a:pt x="9" y="99"/>
                  <a:pt x="6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9" name="Freeform 934">
            <a:extLst>
              <a:ext uri="{FF2B5EF4-FFF2-40B4-BE49-F238E27FC236}">
                <a16:creationId xmlns:a16="http://schemas.microsoft.com/office/drawing/2014/main" id="{69356D9F-B5A0-FB24-9B3B-1340D705C83A}"/>
              </a:ext>
            </a:extLst>
          </p:cNvPr>
          <p:cNvSpPr>
            <a:spLocks/>
          </p:cNvSpPr>
          <p:nvPr/>
        </p:nvSpPr>
        <p:spPr bwMode="auto">
          <a:xfrm>
            <a:off x="11240870" y="4207482"/>
            <a:ext cx="16681" cy="120466"/>
          </a:xfrm>
          <a:custGeom>
            <a:avLst/>
            <a:gdLst>
              <a:gd name="T0" fmla="*/ 9 w 15"/>
              <a:gd name="T1" fmla="*/ 99 h 99"/>
              <a:gd name="T2" fmla="*/ 4 w 15"/>
              <a:gd name="T3" fmla="*/ 94 h 99"/>
              <a:gd name="T4" fmla="*/ 0 w 15"/>
              <a:gd name="T5" fmla="*/ 6 h 99"/>
              <a:gd name="T6" fmla="*/ 5 w 15"/>
              <a:gd name="T7" fmla="*/ 0 h 99"/>
              <a:gd name="T8" fmla="*/ 11 w 15"/>
              <a:gd name="T9" fmla="*/ 6 h 99"/>
              <a:gd name="T10" fmla="*/ 15 w 15"/>
              <a:gd name="T11" fmla="*/ 93 h 99"/>
              <a:gd name="T12" fmla="*/ 9 w 15"/>
              <a:gd name="T13" fmla="*/ 99 h 99"/>
              <a:gd name="T14" fmla="*/ 9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9" y="99"/>
                </a:moveTo>
                <a:cubicBezTo>
                  <a:pt x="6" y="99"/>
                  <a:pt x="4" y="97"/>
                  <a:pt x="4" y="94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1"/>
                  <a:pt x="5" y="0"/>
                </a:cubicBezTo>
                <a:cubicBezTo>
                  <a:pt x="8" y="0"/>
                  <a:pt x="11" y="3"/>
                  <a:pt x="11" y="6"/>
                </a:cubicBezTo>
                <a:cubicBezTo>
                  <a:pt x="15" y="93"/>
                  <a:pt x="15" y="93"/>
                  <a:pt x="15" y="93"/>
                </a:cubicBezTo>
                <a:cubicBezTo>
                  <a:pt x="15" y="96"/>
                  <a:pt x="12" y="99"/>
                  <a:pt x="9" y="99"/>
                </a:cubicBezTo>
                <a:cubicBezTo>
                  <a:pt x="9" y="99"/>
                  <a:pt x="9" y="99"/>
                  <a:pt x="9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0" name="Freeform 935">
            <a:extLst>
              <a:ext uri="{FF2B5EF4-FFF2-40B4-BE49-F238E27FC236}">
                <a16:creationId xmlns:a16="http://schemas.microsoft.com/office/drawing/2014/main" id="{4C48230B-B6BF-8ABC-03C0-9B62DFC9908D}"/>
              </a:ext>
            </a:extLst>
          </p:cNvPr>
          <p:cNvSpPr>
            <a:spLocks noEditPoints="1"/>
          </p:cNvSpPr>
          <p:nvPr/>
        </p:nvSpPr>
        <p:spPr bwMode="auto">
          <a:xfrm>
            <a:off x="10922098" y="4116670"/>
            <a:ext cx="411438" cy="211277"/>
          </a:xfrm>
          <a:custGeom>
            <a:avLst/>
            <a:gdLst>
              <a:gd name="T0" fmla="*/ 307 w 340"/>
              <a:gd name="T1" fmla="*/ 174 h 174"/>
              <a:gd name="T2" fmla="*/ 33 w 340"/>
              <a:gd name="T3" fmla="*/ 174 h 174"/>
              <a:gd name="T4" fmla="*/ 9 w 340"/>
              <a:gd name="T5" fmla="*/ 163 h 174"/>
              <a:gd name="T6" fmla="*/ 1 w 340"/>
              <a:gd name="T7" fmla="*/ 138 h 174"/>
              <a:gd name="T8" fmla="*/ 11 w 340"/>
              <a:gd name="T9" fmla="*/ 43 h 174"/>
              <a:gd name="T10" fmla="*/ 62 w 340"/>
              <a:gd name="T11" fmla="*/ 0 h 174"/>
              <a:gd name="T12" fmla="*/ 143 w 340"/>
              <a:gd name="T13" fmla="*/ 0 h 174"/>
              <a:gd name="T14" fmla="*/ 147 w 340"/>
              <a:gd name="T15" fmla="*/ 1 h 174"/>
              <a:gd name="T16" fmla="*/ 149 w 340"/>
              <a:gd name="T17" fmla="*/ 6 h 174"/>
              <a:gd name="T18" fmla="*/ 148 w 340"/>
              <a:gd name="T19" fmla="*/ 12 h 174"/>
              <a:gd name="T20" fmla="*/ 153 w 340"/>
              <a:gd name="T21" fmla="*/ 30 h 174"/>
              <a:gd name="T22" fmla="*/ 170 w 340"/>
              <a:gd name="T23" fmla="*/ 38 h 174"/>
              <a:gd name="T24" fmla="*/ 187 w 340"/>
              <a:gd name="T25" fmla="*/ 30 h 174"/>
              <a:gd name="T26" fmla="*/ 192 w 340"/>
              <a:gd name="T27" fmla="*/ 12 h 174"/>
              <a:gd name="T28" fmla="*/ 191 w 340"/>
              <a:gd name="T29" fmla="*/ 6 h 174"/>
              <a:gd name="T30" fmla="*/ 192 w 340"/>
              <a:gd name="T31" fmla="*/ 1 h 174"/>
              <a:gd name="T32" fmla="*/ 197 w 340"/>
              <a:gd name="T33" fmla="*/ 0 h 174"/>
              <a:gd name="T34" fmla="*/ 278 w 340"/>
              <a:gd name="T35" fmla="*/ 0 h 174"/>
              <a:gd name="T36" fmla="*/ 328 w 340"/>
              <a:gd name="T37" fmla="*/ 43 h 174"/>
              <a:gd name="T38" fmla="*/ 339 w 340"/>
              <a:gd name="T39" fmla="*/ 138 h 174"/>
              <a:gd name="T40" fmla="*/ 331 w 340"/>
              <a:gd name="T41" fmla="*/ 163 h 174"/>
              <a:gd name="T42" fmla="*/ 307 w 340"/>
              <a:gd name="T43" fmla="*/ 174 h 174"/>
              <a:gd name="T44" fmla="*/ 62 w 340"/>
              <a:gd name="T45" fmla="*/ 11 h 174"/>
              <a:gd name="T46" fmla="*/ 22 w 340"/>
              <a:gd name="T47" fmla="*/ 45 h 174"/>
              <a:gd name="T48" fmla="*/ 12 w 340"/>
              <a:gd name="T49" fmla="*/ 140 h 174"/>
              <a:gd name="T50" fmla="*/ 17 w 340"/>
              <a:gd name="T51" fmla="*/ 156 h 174"/>
              <a:gd name="T52" fmla="*/ 33 w 340"/>
              <a:gd name="T53" fmla="*/ 163 h 174"/>
              <a:gd name="T54" fmla="*/ 307 w 340"/>
              <a:gd name="T55" fmla="*/ 163 h 174"/>
              <a:gd name="T56" fmla="*/ 323 w 340"/>
              <a:gd name="T57" fmla="*/ 156 h 174"/>
              <a:gd name="T58" fmla="*/ 328 w 340"/>
              <a:gd name="T59" fmla="*/ 140 h 174"/>
              <a:gd name="T60" fmla="*/ 318 w 340"/>
              <a:gd name="T61" fmla="*/ 44 h 174"/>
              <a:gd name="T62" fmla="*/ 278 w 340"/>
              <a:gd name="T63" fmla="*/ 11 h 174"/>
              <a:gd name="T64" fmla="*/ 203 w 340"/>
              <a:gd name="T65" fmla="*/ 11 h 174"/>
              <a:gd name="T66" fmla="*/ 203 w 340"/>
              <a:gd name="T67" fmla="*/ 11 h 174"/>
              <a:gd name="T68" fmla="*/ 195 w 340"/>
              <a:gd name="T69" fmla="*/ 37 h 174"/>
              <a:gd name="T70" fmla="*/ 170 w 340"/>
              <a:gd name="T71" fmla="*/ 49 h 174"/>
              <a:gd name="T72" fmla="*/ 170 w 340"/>
              <a:gd name="T73" fmla="*/ 49 h 174"/>
              <a:gd name="T74" fmla="*/ 144 w 340"/>
              <a:gd name="T75" fmla="*/ 37 h 174"/>
              <a:gd name="T76" fmla="*/ 137 w 340"/>
              <a:gd name="T77" fmla="*/ 11 h 174"/>
              <a:gd name="T78" fmla="*/ 137 w 340"/>
              <a:gd name="T79" fmla="*/ 11 h 174"/>
              <a:gd name="T80" fmla="*/ 62 w 340"/>
              <a:gd name="T81" fmla="*/ 11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40" h="174">
                <a:moveTo>
                  <a:pt x="307" y="174"/>
                </a:moveTo>
                <a:cubicBezTo>
                  <a:pt x="33" y="174"/>
                  <a:pt x="33" y="174"/>
                  <a:pt x="33" y="174"/>
                </a:cubicBezTo>
                <a:cubicBezTo>
                  <a:pt x="24" y="174"/>
                  <a:pt x="15" y="170"/>
                  <a:pt x="9" y="163"/>
                </a:cubicBezTo>
                <a:cubicBezTo>
                  <a:pt x="3" y="156"/>
                  <a:pt x="0" y="147"/>
                  <a:pt x="1" y="138"/>
                </a:cubicBezTo>
                <a:cubicBezTo>
                  <a:pt x="11" y="43"/>
                  <a:pt x="11" y="43"/>
                  <a:pt x="11" y="43"/>
                </a:cubicBezTo>
                <a:cubicBezTo>
                  <a:pt x="15" y="18"/>
                  <a:pt x="36" y="0"/>
                  <a:pt x="62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5" y="0"/>
                  <a:pt x="146" y="0"/>
                  <a:pt x="147" y="1"/>
                </a:cubicBezTo>
                <a:cubicBezTo>
                  <a:pt x="148" y="3"/>
                  <a:pt x="149" y="4"/>
                  <a:pt x="149" y="6"/>
                </a:cubicBezTo>
                <a:cubicBezTo>
                  <a:pt x="148" y="12"/>
                  <a:pt x="148" y="12"/>
                  <a:pt x="148" y="12"/>
                </a:cubicBezTo>
                <a:cubicBezTo>
                  <a:pt x="147" y="18"/>
                  <a:pt x="150" y="27"/>
                  <a:pt x="153" y="30"/>
                </a:cubicBezTo>
                <a:cubicBezTo>
                  <a:pt x="157" y="35"/>
                  <a:pt x="163" y="38"/>
                  <a:pt x="170" y="38"/>
                </a:cubicBezTo>
                <a:cubicBezTo>
                  <a:pt x="176" y="38"/>
                  <a:pt x="183" y="35"/>
                  <a:pt x="187" y="30"/>
                </a:cubicBezTo>
                <a:cubicBezTo>
                  <a:pt x="190" y="27"/>
                  <a:pt x="192" y="18"/>
                  <a:pt x="192" y="12"/>
                </a:cubicBezTo>
                <a:cubicBezTo>
                  <a:pt x="191" y="6"/>
                  <a:pt x="191" y="6"/>
                  <a:pt x="191" y="6"/>
                </a:cubicBezTo>
                <a:cubicBezTo>
                  <a:pt x="191" y="4"/>
                  <a:pt x="191" y="3"/>
                  <a:pt x="192" y="1"/>
                </a:cubicBezTo>
                <a:cubicBezTo>
                  <a:pt x="193" y="0"/>
                  <a:pt x="195" y="0"/>
                  <a:pt x="197" y="0"/>
                </a:cubicBezTo>
                <a:cubicBezTo>
                  <a:pt x="278" y="0"/>
                  <a:pt x="278" y="0"/>
                  <a:pt x="278" y="0"/>
                </a:cubicBezTo>
                <a:cubicBezTo>
                  <a:pt x="303" y="0"/>
                  <a:pt x="325" y="18"/>
                  <a:pt x="328" y="43"/>
                </a:cubicBezTo>
                <a:cubicBezTo>
                  <a:pt x="339" y="138"/>
                  <a:pt x="339" y="138"/>
                  <a:pt x="339" y="138"/>
                </a:cubicBezTo>
                <a:cubicBezTo>
                  <a:pt x="340" y="147"/>
                  <a:pt x="337" y="156"/>
                  <a:pt x="331" y="163"/>
                </a:cubicBezTo>
                <a:cubicBezTo>
                  <a:pt x="325" y="170"/>
                  <a:pt x="316" y="174"/>
                  <a:pt x="307" y="174"/>
                </a:cubicBezTo>
                <a:close/>
                <a:moveTo>
                  <a:pt x="62" y="11"/>
                </a:moveTo>
                <a:cubicBezTo>
                  <a:pt x="42" y="11"/>
                  <a:pt x="25" y="25"/>
                  <a:pt x="22" y="45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1" y="145"/>
                  <a:pt x="13" y="151"/>
                  <a:pt x="17" y="156"/>
                </a:cubicBezTo>
                <a:cubicBezTo>
                  <a:pt x="21" y="160"/>
                  <a:pt x="27" y="163"/>
                  <a:pt x="33" y="163"/>
                </a:cubicBezTo>
                <a:cubicBezTo>
                  <a:pt x="307" y="163"/>
                  <a:pt x="307" y="163"/>
                  <a:pt x="307" y="163"/>
                </a:cubicBezTo>
                <a:cubicBezTo>
                  <a:pt x="313" y="163"/>
                  <a:pt x="319" y="160"/>
                  <a:pt x="323" y="156"/>
                </a:cubicBezTo>
                <a:cubicBezTo>
                  <a:pt x="327" y="151"/>
                  <a:pt x="328" y="145"/>
                  <a:pt x="328" y="140"/>
                </a:cubicBezTo>
                <a:cubicBezTo>
                  <a:pt x="318" y="44"/>
                  <a:pt x="318" y="44"/>
                  <a:pt x="318" y="44"/>
                </a:cubicBezTo>
                <a:cubicBezTo>
                  <a:pt x="315" y="25"/>
                  <a:pt x="298" y="11"/>
                  <a:pt x="278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4" y="20"/>
                  <a:pt x="200" y="31"/>
                  <a:pt x="195" y="37"/>
                </a:cubicBezTo>
                <a:cubicBezTo>
                  <a:pt x="189" y="45"/>
                  <a:pt x="180" y="49"/>
                  <a:pt x="170" y="49"/>
                </a:cubicBezTo>
                <a:cubicBezTo>
                  <a:pt x="170" y="49"/>
                  <a:pt x="170" y="49"/>
                  <a:pt x="170" y="49"/>
                </a:cubicBezTo>
                <a:cubicBezTo>
                  <a:pt x="160" y="49"/>
                  <a:pt x="151" y="45"/>
                  <a:pt x="144" y="37"/>
                </a:cubicBezTo>
                <a:cubicBezTo>
                  <a:pt x="139" y="31"/>
                  <a:pt x="136" y="20"/>
                  <a:pt x="137" y="11"/>
                </a:cubicBezTo>
                <a:cubicBezTo>
                  <a:pt x="137" y="11"/>
                  <a:pt x="137" y="11"/>
                  <a:pt x="137" y="11"/>
                </a:cubicBezTo>
                <a:lnTo>
                  <a:pt x="62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1" name="Freeform 936">
            <a:extLst>
              <a:ext uri="{FF2B5EF4-FFF2-40B4-BE49-F238E27FC236}">
                <a16:creationId xmlns:a16="http://schemas.microsoft.com/office/drawing/2014/main" id="{B5E8A211-0905-996C-F1C1-D09D6B979480}"/>
              </a:ext>
            </a:extLst>
          </p:cNvPr>
          <p:cNvSpPr>
            <a:spLocks noEditPoints="1"/>
          </p:cNvSpPr>
          <p:nvPr/>
        </p:nvSpPr>
        <p:spPr bwMode="auto">
          <a:xfrm>
            <a:off x="11087045" y="4085164"/>
            <a:ext cx="81544" cy="90813"/>
          </a:xfrm>
          <a:custGeom>
            <a:avLst/>
            <a:gdLst>
              <a:gd name="T0" fmla="*/ 34 w 68"/>
              <a:gd name="T1" fmla="*/ 76 h 76"/>
              <a:gd name="T2" fmla="*/ 10 w 68"/>
              <a:gd name="T3" fmla="*/ 67 h 76"/>
              <a:gd name="T4" fmla="*/ 1 w 68"/>
              <a:gd name="T5" fmla="*/ 39 h 76"/>
              <a:gd name="T6" fmla="*/ 5 w 68"/>
              <a:gd name="T7" fmla="*/ 5 h 76"/>
              <a:gd name="T8" fmla="*/ 7 w 68"/>
              <a:gd name="T9" fmla="*/ 1 h 76"/>
              <a:gd name="T10" fmla="*/ 12 w 68"/>
              <a:gd name="T11" fmla="*/ 0 h 76"/>
              <a:gd name="T12" fmla="*/ 27 w 68"/>
              <a:gd name="T13" fmla="*/ 2 h 76"/>
              <a:gd name="T14" fmla="*/ 40 w 68"/>
              <a:gd name="T15" fmla="*/ 2 h 76"/>
              <a:gd name="T16" fmla="*/ 56 w 68"/>
              <a:gd name="T17" fmla="*/ 0 h 76"/>
              <a:gd name="T18" fmla="*/ 61 w 68"/>
              <a:gd name="T19" fmla="*/ 1 h 76"/>
              <a:gd name="T20" fmla="*/ 63 w 68"/>
              <a:gd name="T21" fmla="*/ 5 h 76"/>
              <a:gd name="T22" fmla="*/ 67 w 68"/>
              <a:gd name="T23" fmla="*/ 39 h 76"/>
              <a:gd name="T24" fmla="*/ 67 w 68"/>
              <a:gd name="T25" fmla="*/ 39 h 76"/>
              <a:gd name="T26" fmla="*/ 57 w 68"/>
              <a:gd name="T27" fmla="*/ 67 h 76"/>
              <a:gd name="T28" fmla="*/ 34 w 68"/>
              <a:gd name="T29" fmla="*/ 76 h 76"/>
              <a:gd name="T30" fmla="*/ 15 w 68"/>
              <a:gd name="T31" fmla="*/ 12 h 76"/>
              <a:gd name="T32" fmla="*/ 12 w 68"/>
              <a:gd name="T33" fmla="*/ 41 h 76"/>
              <a:gd name="T34" fmla="*/ 18 w 68"/>
              <a:gd name="T35" fmla="*/ 59 h 76"/>
              <a:gd name="T36" fmla="*/ 50 w 68"/>
              <a:gd name="T37" fmla="*/ 59 h 76"/>
              <a:gd name="T38" fmla="*/ 56 w 68"/>
              <a:gd name="T39" fmla="*/ 41 h 76"/>
              <a:gd name="T40" fmla="*/ 56 w 68"/>
              <a:gd name="T41" fmla="*/ 41 h 76"/>
              <a:gd name="T42" fmla="*/ 53 w 68"/>
              <a:gd name="T43" fmla="*/ 12 h 76"/>
              <a:gd name="T44" fmla="*/ 40 w 68"/>
              <a:gd name="T45" fmla="*/ 13 h 76"/>
              <a:gd name="T46" fmla="*/ 27 w 68"/>
              <a:gd name="T47" fmla="*/ 13 h 76"/>
              <a:gd name="T48" fmla="*/ 15 w 68"/>
              <a:gd name="T49" fmla="*/ 12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8" h="76">
                <a:moveTo>
                  <a:pt x="34" y="76"/>
                </a:moveTo>
                <a:cubicBezTo>
                  <a:pt x="25" y="76"/>
                  <a:pt x="17" y="73"/>
                  <a:pt x="10" y="67"/>
                </a:cubicBezTo>
                <a:cubicBezTo>
                  <a:pt x="3" y="59"/>
                  <a:pt x="0" y="49"/>
                  <a:pt x="1" y="39"/>
                </a:cubicBezTo>
                <a:cubicBezTo>
                  <a:pt x="5" y="5"/>
                  <a:pt x="5" y="5"/>
                  <a:pt x="5" y="5"/>
                </a:cubicBezTo>
                <a:cubicBezTo>
                  <a:pt x="5" y="3"/>
                  <a:pt x="6" y="2"/>
                  <a:pt x="7" y="1"/>
                </a:cubicBezTo>
                <a:cubicBezTo>
                  <a:pt x="8" y="0"/>
                  <a:pt x="10" y="0"/>
                  <a:pt x="12" y="0"/>
                </a:cubicBezTo>
                <a:cubicBezTo>
                  <a:pt x="17" y="2"/>
                  <a:pt x="22" y="2"/>
                  <a:pt x="27" y="2"/>
                </a:cubicBezTo>
                <a:cubicBezTo>
                  <a:pt x="40" y="2"/>
                  <a:pt x="40" y="2"/>
                  <a:pt x="40" y="2"/>
                </a:cubicBezTo>
                <a:cubicBezTo>
                  <a:pt x="46" y="2"/>
                  <a:pt x="51" y="2"/>
                  <a:pt x="56" y="0"/>
                </a:cubicBezTo>
                <a:cubicBezTo>
                  <a:pt x="58" y="0"/>
                  <a:pt x="59" y="0"/>
                  <a:pt x="61" y="1"/>
                </a:cubicBezTo>
                <a:cubicBezTo>
                  <a:pt x="62" y="2"/>
                  <a:pt x="63" y="3"/>
                  <a:pt x="63" y="5"/>
                </a:cubicBezTo>
                <a:cubicBezTo>
                  <a:pt x="67" y="39"/>
                  <a:pt x="67" y="39"/>
                  <a:pt x="67" y="39"/>
                </a:cubicBezTo>
                <a:cubicBezTo>
                  <a:pt x="67" y="39"/>
                  <a:pt x="67" y="39"/>
                  <a:pt x="67" y="39"/>
                </a:cubicBezTo>
                <a:cubicBezTo>
                  <a:pt x="68" y="49"/>
                  <a:pt x="65" y="59"/>
                  <a:pt x="57" y="67"/>
                </a:cubicBezTo>
                <a:cubicBezTo>
                  <a:pt x="51" y="73"/>
                  <a:pt x="42" y="76"/>
                  <a:pt x="34" y="76"/>
                </a:cubicBezTo>
                <a:close/>
                <a:moveTo>
                  <a:pt x="15" y="12"/>
                </a:moveTo>
                <a:cubicBezTo>
                  <a:pt x="12" y="41"/>
                  <a:pt x="12" y="41"/>
                  <a:pt x="12" y="41"/>
                </a:cubicBezTo>
                <a:cubicBezTo>
                  <a:pt x="11" y="47"/>
                  <a:pt x="13" y="54"/>
                  <a:pt x="18" y="59"/>
                </a:cubicBezTo>
                <a:cubicBezTo>
                  <a:pt x="27" y="67"/>
                  <a:pt x="41" y="67"/>
                  <a:pt x="50" y="59"/>
                </a:cubicBezTo>
                <a:cubicBezTo>
                  <a:pt x="54" y="54"/>
                  <a:pt x="57" y="47"/>
                  <a:pt x="56" y="41"/>
                </a:cubicBezTo>
                <a:cubicBezTo>
                  <a:pt x="56" y="41"/>
                  <a:pt x="56" y="41"/>
                  <a:pt x="56" y="41"/>
                </a:cubicBezTo>
                <a:cubicBezTo>
                  <a:pt x="53" y="12"/>
                  <a:pt x="53" y="12"/>
                  <a:pt x="53" y="12"/>
                </a:cubicBezTo>
                <a:cubicBezTo>
                  <a:pt x="49" y="13"/>
                  <a:pt x="44" y="13"/>
                  <a:pt x="40" y="13"/>
                </a:cubicBezTo>
                <a:cubicBezTo>
                  <a:pt x="27" y="13"/>
                  <a:pt x="27" y="13"/>
                  <a:pt x="27" y="13"/>
                </a:cubicBezTo>
                <a:cubicBezTo>
                  <a:pt x="23" y="13"/>
                  <a:pt x="19" y="13"/>
                  <a:pt x="15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2" name="Freeform 937">
            <a:extLst>
              <a:ext uri="{FF2B5EF4-FFF2-40B4-BE49-F238E27FC236}">
                <a16:creationId xmlns:a16="http://schemas.microsoft.com/office/drawing/2014/main" id="{2DF82CD2-826E-ACAD-6E81-F800FD2EE6B2}"/>
              </a:ext>
            </a:extLst>
          </p:cNvPr>
          <p:cNvSpPr>
            <a:spLocks noEditPoints="1"/>
          </p:cNvSpPr>
          <p:nvPr/>
        </p:nvSpPr>
        <p:spPr bwMode="auto">
          <a:xfrm>
            <a:off x="11037005" y="3920220"/>
            <a:ext cx="179772" cy="179772"/>
          </a:xfrm>
          <a:custGeom>
            <a:avLst/>
            <a:gdLst>
              <a:gd name="T0" fmla="*/ 81 w 149"/>
              <a:gd name="T1" fmla="*/ 149 h 149"/>
              <a:gd name="T2" fmla="*/ 68 w 149"/>
              <a:gd name="T3" fmla="*/ 149 h 149"/>
              <a:gd name="T4" fmla="*/ 50 w 149"/>
              <a:gd name="T5" fmla="*/ 147 h 149"/>
              <a:gd name="T6" fmla="*/ 0 w 149"/>
              <a:gd name="T7" fmla="*/ 81 h 149"/>
              <a:gd name="T8" fmla="*/ 0 w 149"/>
              <a:gd name="T9" fmla="*/ 58 h 149"/>
              <a:gd name="T10" fmla="*/ 58 w 149"/>
              <a:gd name="T11" fmla="*/ 0 h 149"/>
              <a:gd name="T12" fmla="*/ 92 w 149"/>
              <a:gd name="T13" fmla="*/ 0 h 149"/>
              <a:gd name="T14" fmla="*/ 149 w 149"/>
              <a:gd name="T15" fmla="*/ 58 h 149"/>
              <a:gd name="T16" fmla="*/ 149 w 149"/>
              <a:gd name="T17" fmla="*/ 81 h 149"/>
              <a:gd name="T18" fmla="*/ 100 w 149"/>
              <a:gd name="T19" fmla="*/ 147 h 149"/>
              <a:gd name="T20" fmla="*/ 81 w 149"/>
              <a:gd name="T21" fmla="*/ 149 h 149"/>
              <a:gd name="T22" fmla="*/ 58 w 149"/>
              <a:gd name="T23" fmla="*/ 11 h 149"/>
              <a:gd name="T24" fmla="*/ 11 w 149"/>
              <a:gd name="T25" fmla="*/ 58 h 149"/>
              <a:gd name="T26" fmla="*/ 11 w 149"/>
              <a:gd name="T27" fmla="*/ 81 h 149"/>
              <a:gd name="T28" fmla="*/ 53 w 149"/>
              <a:gd name="T29" fmla="*/ 136 h 149"/>
              <a:gd name="T30" fmla="*/ 68 w 149"/>
              <a:gd name="T31" fmla="*/ 138 h 149"/>
              <a:gd name="T32" fmla="*/ 81 w 149"/>
              <a:gd name="T33" fmla="*/ 138 h 149"/>
              <a:gd name="T34" fmla="*/ 97 w 149"/>
              <a:gd name="T35" fmla="*/ 136 h 149"/>
              <a:gd name="T36" fmla="*/ 138 w 149"/>
              <a:gd name="T37" fmla="*/ 81 h 149"/>
              <a:gd name="T38" fmla="*/ 138 w 149"/>
              <a:gd name="T39" fmla="*/ 58 h 149"/>
              <a:gd name="T40" fmla="*/ 92 w 149"/>
              <a:gd name="T41" fmla="*/ 11 h 149"/>
              <a:gd name="T42" fmla="*/ 58 w 149"/>
              <a:gd name="T43" fmla="*/ 11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9" h="149">
                <a:moveTo>
                  <a:pt x="81" y="149"/>
                </a:moveTo>
                <a:cubicBezTo>
                  <a:pt x="68" y="149"/>
                  <a:pt x="68" y="149"/>
                  <a:pt x="68" y="149"/>
                </a:cubicBezTo>
                <a:cubicBezTo>
                  <a:pt x="62" y="149"/>
                  <a:pt x="56" y="148"/>
                  <a:pt x="50" y="147"/>
                </a:cubicBezTo>
                <a:cubicBezTo>
                  <a:pt x="21" y="138"/>
                  <a:pt x="0" y="111"/>
                  <a:pt x="0" y="8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26"/>
                  <a:pt x="26" y="0"/>
                  <a:pt x="58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124" y="0"/>
                  <a:pt x="149" y="26"/>
                  <a:pt x="149" y="58"/>
                </a:cubicBezTo>
                <a:cubicBezTo>
                  <a:pt x="149" y="81"/>
                  <a:pt x="149" y="81"/>
                  <a:pt x="149" y="81"/>
                </a:cubicBezTo>
                <a:cubicBezTo>
                  <a:pt x="149" y="111"/>
                  <a:pt x="129" y="138"/>
                  <a:pt x="100" y="147"/>
                </a:cubicBezTo>
                <a:cubicBezTo>
                  <a:pt x="94" y="148"/>
                  <a:pt x="88" y="149"/>
                  <a:pt x="81" y="149"/>
                </a:cubicBezTo>
                <a:close/>
                <a:moveTo>
                  <a:pt x="58" y="11"/>
                </a:moveTo>
                <a:cubicBezTo>
                  <a:pt x="32" y="11"/>
                  <a:pt x="11" y="32"/>
                  <a:pt x="11" y="58"/>
                </a:cubicBezTo>
                <a:cubicBezTo>
                  <a:pt x="11" y="81"/>
                  <a:pt x="11" y="81"/>
                  <a:pt x="11" y="81"/>
                </a:cubicBezTo>
                <a:cubicBezTo>
                  <a:pt x="11" y="107"/>
                  <a:pt x="28" y="129"/>
                  <a:pt x="53" y="136"/>
                </a:cubicBezTo>
                <a:cubicBezTo>
                  <a:pt x="58" y="138"/>
                  <a:pt x="63" y="138"/>
                  <a:pt x="68" y="138"/>
                </a:cubicBezTo>
                <a:cubicBezTo>
                  <a:pt x="81" y="138"/>
                  <a:pt x="81" y="138"/>
                  <a:pt x="81" y="138"/>
                </a:cubicBezTo>
                <a:cubicBezTo>
                  <a:pt x="87" y="138"/>
                  <a:pt x="92" y="138"/>
                  <a:pt x="97" y="136"/>
                </a:cubicBezTo>
                <a:cubicBezTo>
                  <a:pt x="121" y="129"/>
                  <a:pt x="138" y="107"/>
                  <a:pt x="138" y="81"/>
                </a:cubicBezTo>
                <a:cubicBezTo>
                  <a:pt x="138" y="58"/>
                  <a:pt x="138" y="58"/>
                  <a:pt x="138" y="58"/>
                </a:cubicBezTo>
                <a:cubicBezTo>
                  <a:pt x="138" y="32"/>
                  <a:pt x="118" y="11"/>
                  <a:pt x="92" y="11"/>
                </a:cubicBezTo>
                <a:lnTo>
                  <a:pt x="58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3" name="Freeform 156">
            <a:extLst>
              <a:ext uri="{FF2B5EF4-FFF2-40B4-BE49-F238E27FC236}">
                <a16:creationId xmlns:a16="http://schemas.microsoft.com/office/drawing/2014/main" id="{FA270829-DA0E-CDCD-CAF0-56BC373C7B46}"/>
              </a:ext>
            </a:extLst>
          </p:cNvPr>
          <p:cNvSpPr>
            <a:spLocks noEditPoints="1"/>
          </p:cNvSpPr>
          <p:nvPr/>
        </p:nvSpPr>
        <p:spPr bwMode="auto">
          <a:xfrm>
            <a:off x="6844828" y="1896023"/>
            <a:ext cx="220243" cy="163806"/>
          </a:xfrm>
          <a:custGeom>
            <a:avLst/>
            <a:gdLst>
              <a:gd name="T0" fmla="*/ 90 w 218"/>
              <a:gd name="T1" fmla="*/ 163 h 163"/>
              <a:gd name="T2" fmla="*/ 86 w 218"/>
              <a:gd name="T3" fmla="*/ 161 h 163"/>
              <a:gd name="T4" fmla="*/ 2 w 218"/>
              <a:gd name="T5" fmla="*/ 77 h 163"/>
              <a:gd name="T6" fmla="*/ 2 w 218"/>
              <a:gd name="T7" fmla="*/ 68 h 163"/>
              <a:gd name="T8" fmla="*/ 31 w 218"/>
              <a:gd name="T9" fmla="*/ 39 h 163"/>
              <a:gd name="T10" fmla="*/ 40 w 218"/>
              <a:gd name="T11" fmla="*/ 39 h 163"/>
              <a:gd name="T12" fmla="*/ 90 w 218"/>
              <a:gd name="T13" fmla="*/ 90 h 163"/>
              <a:gd name="T14" fmla="*/ 177 w 218"/>
              <a:gd name="T15" fmla="*/ 2 h 163"/>
              <a:gd name="T16" fmla="*/ 186 w 218"/>
              <a:gd name="T17" fmla="*/ 2 h 163"/>
              <a:gd name="T18" fmla="*/ 215 w 218"/>
              <a:gd name="T19" fmla="*/ 32 h 163"/>
              <a:gd name="T20" fmla="*/ 215 w 218"/>
              <a:gd name="T21" fmla="*/ 40 h 163"/>
              <a:gd name="T22" fmla="*/ 95 w 218"/>
              <a:gd name="T23" fmla="*/ 161 h 163"/>
              <a:gd name="T24" fmla="*/ 90 w 218"/>
              <a:gd name="T25" fmla="*/ 163 h 163"/>
              <a:gd name="T26" fmla="*/ 15 w 218"/>
              <a:gd name="T27" fmla="*/ 73 h 163"/>
              <a:gd name="T28" fmla="*/ 90 w 218"/>
              <a:gd name="T29" fmla="*/ 148 h 163"/>
              <a:gd name="T30" fmla="*/ 202 w 218"/>
              <a:gd name="T31" fmla="*/ 36 h 163"/>
              <a:gd name="T32" fmla="*/ 182 w 218"/>
              <a:gd name="T33" fmla="*/ 15 h 163"/>
              <a:gd name="T34" fmla="*/ 95 w 218"/>
              <a:gd name="T35" fmla="*/ 103 h 163"/>
              <a:gd name="T36" fmla="*/ 86 w 218"/>
              <a:gd name="T37" fmla="*/ 103 h 163"/>
              <a:gd name="T38" fmla="*/ 35 w 218"/>
              <a:gd name="T39" fmla="*/ 52 h 163"/>
              <a:gd name="T40" fmla="*/ 15 w 218"/>
              <a:gd name="T41" fmla="*/ 7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8" h="163">
                <a:moveTo>
                  <a:pt x="90" y="163"/>
                </a:moveTo>
                <a:cubicBezTo>
                  <a:pt x="89" y="163"/>
                  <a:pt x="87" y="162"/>
                  <a:pt x="86" y="161"/>
                </a:cubicBezTo>
                <a:cubicBezTo>
                  <a:pt x="2" y="77"/>
                  <a:pt x="2" y="77"/>
                  <a:pt x="2" y="77"/>
                </a:cubicBezTo>
                <a:cubicBezTo>
                  <a:pt x="0" y="75"/>
                  <a:pt x="0" y="71"/>
                  <a:pt x="2" y="68"/>
                </a:cubicBezTo>
                <a:cubicBezTo>
                  <a:pt x="31" y="39"/>
                  <a:pt x="31" y="39"/>
                  <a:pt x="31" y="39"/>
                </a:cubicBezTo>
                <a:cubicBezTo>
                  <a:pt x="33" y="37"/>
                  <a:pt x="38" y="37"/>
                  <a:pt x="40" y="39"/>
                </a:cubicBezTo>
                <a:cubicBezTo>
                  <a:pt x="90" y="90"/>
                  <a:pt x="90" y="90"/>
                  <a:pt x="90" y="90"/>
                </a:cubicBezTo>
                <a:cubicBezTo>
                  <a:pt x="177" y="2"/>
                  <a:pt x="177" y="2"/>
                  <a:pt x="177" y="2"/>
                </a:cubicBezTo>
                <a:cubicBezTo>
                  <a:pt x="180" y="0"/>
                  <a:pt x="184" y="0"/>
                  <a:pt x="186" y="2"/>
                </a:cubicBezTo>
                <a:cubicBezTo>
                  <a:pt x="215" y="32"/>
                  <a:pt x="215" y="32"/>
                  <a:pt x="215" y="32"/>
                </a:cubicBezTo>
                <a:cubicBezTo>
                  <a:pt x="218" y="34"/>
                  <a:pt x="218" y="38"/>
                  <a:pt x="215" y="4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3" y="162"/>
                  <a:pt x="92" y="163"/>
                  <a:pt x="90" y="163"/>
                </a:cubicBezTo>
                <a:close/>
                <a:moveTo>
                  <a:pt x="15" y="73"/>
                </a:moveTo>
                <a:cubicBezTo>
                  <a:pt x="90" y="148"/>
                  <a:pt x="90" y="148"/>
                  <a:pt x="90" y="14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182" y="15"/>
                  <a:pt x="182" y="15"/>
                  <a:pt x="182" y="15"/>
                </a:cubicBezTo>
                <a:cubicBezTo>
                  <a:pt x="95" y="103"/>
                  <a:pt x="95" y="103"/>
                  <a:pt x="95" y="103"/>
                </a:cubicBezTo>
                <a:cubicBezTo>
                  <a:pt x="92" y="105"/>
                  <a:pt x="88" y="105"/>
                  <a:pt x="86" y="103"/>
                </a:cubicBezTo>
                <a:cubicBezTo>
                  <a:pt x="35" y="52"/>
                  <a:pt x="35" y="52"/>
                  <a:pt x="35" y="52"/>
                </a:cubicBezTo>
                <a:lnTo>
                  <a:pt x="15" y="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4" name="Freeform 157">
            <a:extLst>
              <a:ext uri="{FF2B5EF4-FFF2-40B4-BE49-F238E27FC236}">
                <a16:creationId xmlns:a16="http://schemas.microsoft.com/office/drawing/2014/main" id="{5E5D14BB-7E67-7F1C-99ED-F7B744CD4D56}"/>
              </a:ext>
            </a:extLst>
          </p:cNvPr>
          <p:cNvSpPr>
            <a:spLocks noEditPoints="1"/>
          </p:cNvSpPr>
          <p:nvPr/>
        </p:nvSpPr>
        <p:spPr bwMode="auto">
          <a:xfrm>
            <a:off x="6734708" y="1750418"/>
            <a:ext cx="440483" cy="436817"/>
          </a:xfrm>
          <a:custGeom>
            <a:avLst/>
            <a:gdLst>
              <a:gd name="T0" fmla="*/ 191 w 436"/>
              <a:gd name="T1" fmla="*/ 422 h 433"/>
              <a:gd name="T2" fmla="*/ 116 w 436"/>
              <a:gd name="T3" fmla="*/ 397 h 433"/>
              <a:gd name="T4" fmla="*/ 93 w 436"/>
              <a:gd name="T5" fmla="*/ 381 h 433"/>
              <a:gd name="T6" fmla="*/ 55 w 436"/>
              <a:gd name="T7" fmla="*/ 344 h 433"/>
              <a:gd name="T8" fmla="*/ 20 w 436"/>
              <a:gd name="T9" fmla="*/ 301 h 433"/>
              <a:gd name="T10" fmla="*/ 20 w 436"/>
              <a:gd name="T11" fmla="*/ 272 h 433"/>
              <a:gd name="T12" fmla="*/ 14 w 436"/>
              <a:gd name="T13" fmla="*/ 244 h 433"/>
              <a:gd name="T14" fmla="*/ 19 w 436"/>
              <a:gd name="T15" fmla="*/ 165 h 433"/>
              <a:gd name="T16" fmla="*/ 40 w 436"/>
              <a:gd name="T17" fmla="*/ 116 h 433"/>
              <a:gd name="T18" fmla="*/ 55 w 436"/>
              <a:gd name="T19" fmla="*/ 93 h 433"/>
              <a:gd name="T20" fmla="*/ 115 w 436"/>
              <a:gd name="T21" fmla="*/ 40 h 433"/>
              <a:gd name="T22" fmla="*/ 164 w 436"/>
              <a:gd name="T23" fmla="*/ 21 h 433"/>
              <a:gd name="T24" fmla="*/ 191 w 436"/>
              <a:gd name="T25" fmla="*/ 15 h 433"/>
              <a:gd name="T26" fmla="*/ 271 w 436"/>
              <a:gd name="T27" fmla="*/ 20 h 433"/>
              <a:gd name="T28" fmla="*/ 319 w 436"/>
              <a:gd name="T29" fmla="*/ 41 h 433"/>
              <a:gd name="T30" fmla="*/ 343 w 436"/>
              <a:gd name="T31" fmla="*/ 56 h 433"/>
              <a:gd name="T32" fmla="*/ 395 w 436"/>
              <a:gd name="T33" fmla="*/ 116 h 433"/>
              <a:gd name="T34" fmla="*/ 415 w 436"/>
              <a:gd name="T35" fmla="*/ 164 h 433"/>
              <a:gd name="T36" fmla="*/ 420 w 436"/>
              <a:gd name="T37" fmla="*/ 191 h 433"/>
              <a:gd name="T38" fmla="*/ 421 w 436"/>
              <a:gd name="T39" fmla="*/ 244 h 433"/>
              <a:gd name="T40" fmla="*/ 416 w 436"/>
              <a:gd name="T41" fmla="*/ 271 h 433"/>
              <a:gd name="T42" fmla="*/ 395 w 436"/>
              <a:gd name="T43" fmla="*/ 320 h 433"/>
              <a:gd name="T44" fmla="*/ 380 w 436"/>
              <a:gd name="T45" fmla="*/ 344 h 433"/>
              <a:gd name="T46" fmla="*/ 320 w 436"/>
              <a:gd name="T47" fmla="*/ 396 h 433"/>
              <a:gd name="T48" fmla="*/ 272 w 436"/>
              <a:gd name="T49" fmla="*/ 416 h 433"/>
              <a:gd name="T50" fmla="*/ 244 w 436"/>
              <a:gd name="T51" fmla="*/ 421 h 433"/>
              <a:gd name="T52" fmla="*/ 218 w 436"/>
              <a:gd name="T53" fmla="*/ 433 h 433"/>
              <a:gd name="T54" fmla="*/ 200 w 436"/>
              <a:gd name="T55" fmla="*/ 413 h 433"/>
              <a:gd name="T56" fmla="*/ 236 w 436"/>
              <a:gd name="T57" fmla="*/ 412 h 433"/>
              <a:gd name="T58" fmla="*/ 277 w 436"/>
              <a:gd name="T59" fmla="*/ 405 h 433"/>
              <a:gd name="T60" fmla="*/ 309 w 436"/>
              <a:gd name="T61" fmla="*/ 391 h 433"/>
              <a:gd name="T62" fmla="*/ 368 w 436"/>
              <a:gd name="T63" fmla="*/ 344 h 433"/>
              <a:gd name="T64" fmla="*/ 390 w 436"/>
              <a:gd name="T65" fmla="*/ 309 h 433"/>
              <a:gd name="T66" fmla="*/ 404 w 436"/>
              <a:gd name="T67" fmla="*/ 276 h 433"/>
              <a:gd name="T68" fmla="*/ 412 w 436"/>
              <a:gd name="T69" fmla="*/ 201 h 433"/>
              <a:gd name="T70" fmla="*/ 404 w 436"/>
              <a:gd name="T71" fmla="*/ 160 h 433"/>
              <a:gd name="T72" fmla="*/ 404 w 436"/>
              <a:gd name="T73" fmla="*/ 140 h 433"/>
              <a:gd name="T74" fmla="*/ 368 w 436"/>
              <a:gd name="T75" fmla="*/ 93 h 433"/>
              <a:gd name="T76" fmla="*/ 342 w 436"/>
              <a:gd name="T77" fmla="*/ 68 h 433"/>
              <a:gd name="T78" fmla="*/ 308 w 436"/>
              <a:gd name="T79" fmla="*/ 45 h 433"/>
              <a:gd name="T80" fmla="*/ 235 w 436"/>
              <a:gd name="T81" fmla="*/ 23 h 433"/>
              <a:gd name="T82" fmla="*/ 199 w 436"/>
              <a:gd name="T83" fmla="*/ 24 h 433"/>
              <a:gd name="T84" fmla="*/ 159 w 436"/>
              <a:gd name="T85" fmla="*/ 32 h 433"/>
              <a:gd name="T86" fmla="*/ 92 w 436"/>
              <a:gd name="T87" fmla="*/ 68 h 433"/>
              <a:gd name="T88" fmla="*/ 67 w 436"/>
              <a:gd name="T89" fmla="*/ 94 h 433"/>
              <a:gd name="T90" fmla="*/ 44 w 436"/>
              <a:gd name="T91" fmla="*/ 128 h 433"/>
              <a:gd name="T92" fmla="*/ 23 w 436"/>
              <a:gd name="T93" fmla="*/ 201 h 433"/>
              <a:gd name="T94" fmla="*/ 23 w 436"/>
              <a:gd name="T95" fmla="*/ 236 h 433"/>
              <a:gd name="T96" fmla="*/ 31 w 436"/>
              <a:gd name="T97" fmla="*/ 277 h 433"/>
              <a:gd name="T98" fmla="*/ 44 w 436"/>
              <a:gd name="T99" fmla="*/ 309 h 433"/>
              <a:gd name="T100" fmla="*/ 92 w 436"/>
              <a:gd name="T101" fmla="*/ 368 h 433"/>
              <a:gd name="T102" fmla="*/ 127 w 436"/>
              <a:gd name="T103" fmla="*/ 391 h 433"/>
              <a:gd name="T104" fmla="*/ 160 w 436"/>
              <a:gd name="T105" fmla="*/ 405 h 433"/>
              <a:gd name="T106" fmla="*/ 417 w 436"/>
              <a:gd name="T107" fmla="*/ 240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433">
                <a:moveTo>
                  <a:pt x="218" y="433"/>
                </a:moveTo>
                <a:cubicBezTo>
                  <a:pt x="208" y="433"/>
                  <a:pt x="199" y="429"/>
                  <a:pt x="191" y="422"/>
                </a:cubicBezTo>
                <a:cubicBezTo>
                  <a:pt x="184" y="415"/>
                  <a:pt x="174" y="413"/>
                  <a:pt x="164" y="416"/>
                </a:cubicBezTo>
                <a:cubicBezTo>
                  <a:pt x="146" y="424"/>
                  <a:pt x="124" y="415"/>
                  <a:pt x="116" y="397"/>
                </a:cubicBezTo>
                <a:cubicBezTo>
                  <a:pt x="116" y="396"/>
                  <a:pt x="116" y="396"/>
                  <a:pt x="116" y="396"/>
                </a:cubicBezTo>
                <a:cubicBezTo>
                  <a:pt x="112" y="387"/>
                  <a:pt x="103" y="381"/>
                  <a:pt x="93" y="381"/>
                </a:cubicBezTo>
                <a:cubicBezTo>
                  <a:pt x="92" y="381"/>
                  <a:pt x="92" y="381"/>
                  <a:pt x="92" y="381"/>
                </a:cubicBezTo>
                <a:cubicBezTo>
                  <a:pt x="72" y="381"/>
                  <a:pt x="55" y="364"/>
                  <a:pt x="55" y="344"/>
                </a:cubicBezTo>
                <a:cubicBezTo>
                  <a:pt x="55" y="334"/>
                  <a:pt x="49" y="325"/>
                  <a:pt x="40" y="321"/>
                </a:cubicBezTo>
                <a:cubicBezTo>
                  <a:pt x="31" y="317"/>
                  <a:pt x="24" y="310"/>
                  <a:pt x="20" y="301"/>
                </a:cubicBezTo>
                <a:cubicBezTo>
                  <a:pt x="16" y="292"/>
                  <a:pt x="16" y="282"/>
                  <a:pt x="20" y="273"/>
                </a:cubicBezTo>
                <a:cubicBezTo>
                  <a:pt x="20" y="272"/>
                  <a:pt x="20" y="272"/>
                  <a:pt x="20" y="272"/>
                </a:cubicBezTo>
                <a:cubicBezTo>
                  <a:pt x="24" y="263"/>
                  <a:pt x="22" y="252"/>
                  <a:pt x="15" y="245"/>
                </a:cubicBezTo>
                <a:cubicBezTo>
                  <a:pt x="14" y="244"/>
                  <a:pt x="14" y="244"/>
                  <a:pt x="14" y="244"/>
                </a:cubicBezTo>
                <a:cubicBezTo>
                  <a:pt x="0" y="230"/>
                  <a:pt x="0" y="206"/>
                  <a:pt x="14" y="192"/>
                </a:cubicBezTo>
                <a:cubicBezTo>
                  <a:pt x="21" y="185"/>
                  <a:pt x="23" y="174"/>
                  <a:pt x="19" y="165"/>
                </a:cubicBezTo>
                <a:cubicBezTo>
                  <a:pt x="11" y="146"/>
                  <a:pt x="20" y="125"/>
                  <a:pt x="39" y="117"/>
                </a:cubicBezTo>
                <a:cubicBezTo>
                  <a:pt x="40" y="116"/>
                  <a:pt x="40" y="116"/>
                  <a:pt x="40" y="116"/>
                </a:cubicBezTo>
                <a:cubicBezTo>
                  <a:pt x="49" y="113"/>
                  <a:pt x="55" y="104"/>
                  <a:pt x="55" y="94"/>
                </a:cubicBezTo>
                <a:cubicBezTo>
                  <a:pt x="55" y="93"/>
                  <a:pt x="55" y="93"/>
                  <a:pt x="55" y="93"/>
                </a:cubicBezTo>
                <a:cubicBezTo>
                  <a:pt x="55" y="72"/>
                  <a:pt x="72" y="56"/>
                  <a:pt x="92" y="56"/>
                </a:cubicBezTo>
                <a:cubicBezTo>
                  <a:pt x="102" y="56"/>
                  <a:pt x="111" y="50"/>
                  <a:pt x="115" y="40"/>
                </a:cubicBezTo>
                <a:cubicBezTo>
                  <a:pt x="123" y="22"/>
                  <a:pt x="144" y="13"/>
                  <a:pt x="163" y="20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73" y="24"/>
                  <a:pt x="184" y="22"/>
                  <a:pt x="191" y="15"/>
                </a:cubicBezTo>
                <a:cubicBezTo>
                  <a:pt x="191" y="15"/>
                  <a:pt x="191" y="15"/>
                  <a:pt x="191" y="15"/>
                </a:cubicBezTo>
                <a:cubicBezTo>
                  <a:pt x="206" y="0"/>
                  <a:pt x="229" y="0"/>
                  <a:pt x="244" y="15"/>
                </a:cubicBezTo>
                <a:cubicBezTo>
                  <a:pt x="251" y="22"/>
                  <a:pt x="261" y="24"/>
                  <a:pt x="271" y="20"/>
                </a:cubicBezTo>
                <a:cubicBezTo>
                  <a:pt x="289" y="12"/>
                  <a:pt x="311" y="21"/>
                  <a:pt x="319" y="40"/>
                </a:cubicBezTo>
                <a:cubicBezTo>
                  <a:pt x="319" y="41"/>
                  <a:pt x="319" y="41"/>
                  <a:pt x="319" y="41"/>
                </a:cubicBezTo>
                <a:cubicBezTo>
                  <a:pt x="323" y="50"/>
                  <a:pt x="332" y="56"/>
                  <a:pt x="342" y="56"/>
                </a:cubicBezTo>
                <a:cubicBezTo>
                  <a:pt x="343" y="56"/>
                  <a:pt x="343" y="56"/>
                  <a:pt x="343" y="56"/>
                </a:cubicBezTo>
                <a:cubicBezTo>
                  <a:pt x="363" y="56"/>
                  <a:pt x="380" y="72"/>
                  <a:pt x="380" y="93"/>
                </a:cubicBezTo>
                <a:cubicBezTo>
                  <a:pt x="380" y="103"/>
                  <a:pt x="386" y="112"/>
                  <a:pt x="395" y="116"/>
                </a:cubicBezTo>
                <a:cubicBezTo>
                  <a:pt x="404" y="119"/>
                  <a:pt x="412" y="126"/>
                  <a:pt x="415" y="136"/>
                </a:cubicBezTo>
                <a:cubicBezTo>
                  <a:pt x="419" y="145"/>
                  <a:pt x="419" y="155"/>
                  <a:pt x="415" y="164"/>
                </a:cubicBezTo>
                <a:cubicBezTo>
                  <a:pt x="415" y="165"/>
                  <a:pt x="415" y="165"/>
                  <a:pt x="415" y="165"/>
                </a:cubicBezTo>
                <a:cubicBezTo>
                  <a:pt x="411" y="174"/>
                  <a:pt x="413" y="184"/>
                  <a:pt x="420" y="191"/>
                </a:cubicBezTo>
                <a:cubicBezTo>
                  <a:pt x="421" y="192"/>
                  <a:pt x="421" y="192"/>
                  <a:pt x="421" y="192"/>
                </a:cubicBezTo>
                <a:cubicBezTo>
                  <a:pt x="436" y="206"/>
                  <a:pt x="436" y="230"/>
                  <a:pt x="421" y="244"/>
                </a:cubicBezTo>
                <a:cubicBezTo>
                  <a:pt x="421" y="244"/>
                  <a:pt x="421" y="244"/>
                  <a:pt x="421" y="244"/>
                </a:cubicBezTo>
                <a:cubicBezTo>
                  <a:pt x="414" y="251"/>
                  <a:pt x="412" y="262"/>
                  <a:pt x="416" y="271"/>
                </a:cubicBezTo>
                <a:cubicBezTo>
                  <a:pt x="424" y="290"/>
                  <a:pt x="415" y="312"/>
                  <a:pt x="396" y="320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86" y="324"/>
                  <a:pt x="380" y="333"/>
                  <a:pt x="380" y="343"/>
                </a:cubicBezTo>
                <a:cubicBezTo>
                  <a:pt x="380" y="344"/>
                  <a:pt x="380" y="344"/>
                  <a:pt x="380" y="344"/>
                </a:cubicBezTo>
                <a:cubicBezTo>
                  <a:pt x="380" y="364"/>
                  <a:pt x="363" y="381"/>
                  <a:pt x="343" y="381"/>
                </a:cubicBezTo>
                <a:cubicBezTo>
                  <a:pt x="333" y="381"/>
                  <a:pt x="324" y="387"/>
                  <a:pt x="320" y="396"/>
                </a:cubicBezTo>
                <a:cubicBezTo>
                  <a:pt x="316" y="405"/>
                  <a:pt x="309" y="412"/>
                  <a:pt x="300" y="416"/>
                </a:cubicBezTo>
                <a:cubicBezTo>
                  <a:pt x="291" y="420"/>
                  <a:pt x="281" y="420"/>
                  <a:pt x="272" y="416"/>
                </a:cubicBezTo>
                <a:cubicBezTo>
                  <a:pt x="271" y="416"/>
                  <a:pt x="271" y="416"/>
                  <a:pt x="271" y="416"/>
                </a:cubicBezTo>
                <a:cubicBezTo>
                  <a:pt x="262" y="412"/>
                  <a:pt x="251" y="414"/>
                  <a:pt x="244" y="421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36" y="429"/>
                  <a:pt x="227" y="433"/>
                  <a:pt x="218" y="433"/>
                </a:cubicBezTo>
                <a:close/>
                <a:moveTo>
                  <a:pt x="174" y="402"/>
                </a:moveTo>
                <a:cubicBezTo>
                  <a:pt x="184" y="402"/>
                  <a:pt x="193" y="406"/>
                  <a:pt x="200" y="413"/>
                </a:cubicBezTo>
                <a:cubicBezTo>
                  <a:pt x="210" y="423"/>
                  <a:pt x="225" y="423"/>
                  <a:pt x="235" y="413"/>
                </a:cubicBezTo>
                <a:cubicBezTo>
                  <a:pt x="236" y="412"/>
                  <a:pt x="236" y="412"/>
                  <a:pt x="236" y="412"/>
                </a:cubicBezTo>
                <a:cubicBezTo>
                  <a:pt x="246" y="402"/>
                  <a:pt x="262" y="399"/>
                  <a:pt x="276" y="404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83" y="407"/>
                  <a:pt x="289" y="407"/>
                  <a:pt x="295" y="405"/>
                </a:cubicBezTo>
                <a:cubicBezTo>
                  <a:pt x="302" y="402"/>
                  <a:pt x="306" y="397"/>
                  <a:pt x="309" y="391"/>
                </a:cubicBezTo>
                <a:cubicBezTo>
                  <a:pt x="315" y="377"/>
                  <a:pt x="328" y="368"/>
                  <a:pt x="343" y="368"/>
                </a:cubicBezTo>
                <a:cubicBezTo>
                  <a:pt x="357" y="368"/>
                  <a:pt x="368" y="357"/>
                  <a:pt x="368" y="344"/>
                </a:cubicBezTo>
                <a:cubicBezTo>
                  <a:pt x="368" y="343"/>
                  <a:pt x="368" y="343"/>
                  <a:pt x="368" y="343"/>
                </a:cubicBezTo>
                <a:cubicBezTo>
                  <a:pt x="368" y="328"/>
                  <a:pt x="377" y="314"/>
                  <a:pt x="390" y="309"/>
                </a:cubicBezTo>
                <a:cubicBezTo>
                  <a:pt x="391" y="308"/>
                  <a:pt x="391" y="308"/>
                  <a:pt x="391" y="308"/>
                </a:cubicBezTo>
                <a:cubicBezTo>
                  <a:pt x="404" y="303"/>
                  <a:pt x="410" y="289"/>
                  <a:pt x="404" y="276"/>
                </a:cubicBezTo>
                <a:cubicBezTo>
                  <a:pt x="399" y="262"/>
                  <a:pt x="402" y="246"/>
                  <a:pt x="412" y="236"/>
                </a:cubicBezTo>
                <a:cubicBezTo>
                  <a:pt x="422" y="226"/>
                  <a:pt x="422" y="210"/>
                  <a:pt x="412" y="201"/>
                </a:cubicBezTo>
                <a:cubicBezTo>
                  <a:pt x="412" y="200"/>
                  <a:pt x="412" y="200"/>
                  <a:pt x="412" y="200"/>
                </a:cubicBezTo>
                <a:cubicBezTo>
                  <a:pt x="401" y="190"/>
                  <a:pt x="398" y="174"/>
                  <a:pt x="404" y="160"/>
                </a:cubicBezTo>
                <a:cubicBezTo>
                  <a:pt x="404" y="159"/>
                  <a:pt x="404" y="159"/>
                  <a:pt x="404" y="159"/>
                </a:cubicBezTo>
                <a:cubicBezTo>
                  <a:pt x="407" y="153"/>
                  <a:pt x="407" y="146"/>
                  <a:pt x="404" y="140"/>
                </a:cubicBezTo>
                <a:cubicBezTo>
                  <a:pt x="401" y="134"/>
                  <a:pt x="397" y="129"/>
                  <a:pt x="391" y="127"/>
                </a:cubicBezTo>
                <a:cubicBezTo>
                  <a:pt x="377" y="121"/>
                  <a:pt x="368" y="108"/>
                  <a:pt x="368" y="93"/>
                </a:cubicBezTo>
                <a:cubicBezTo>
                  <a:pt x="368" y="79"/>
                  <a:pt x="357" y="68"/>
                  <a:pt x="343" y="68"/>
                </a:cubicBezTo>
                <a:cubicBezTo>
                  <a:pt x="342" y="68"/>
                  <a:pt x="342" y="68"/>
                  <a:pt x="342" y="68"/>
                </a:cubicBezTo>
                <a:cubicBezTo>
                  <a:pt x="327" y="68"/>
                  <a:pt x="314" y="59"/>
                  <a:pt x="308" y="45"/>
                </a:cubicBezTo>
                <a:cubicBezTo>
                  <a:pt x="308" y="45"/>
                  <a:pt x="308" y="45"/>
                  <a:pt x="308" y="45"/>
                </a:cubicBezTo>
                <a:cubicBezTo>
                  <a:pt x="302" y="32"/>
                  <a:pt x="288" y="26"/>
                  <a:pt x="275" y="31"/>
                </a:cubicBezTo>
                <a:cubicBezTo>
                  <a:pt x="262" y="37"/>
                  <a:pt x="246" y="34"/>
                  <a:pt x="235" y="23"/>
                </a:cubicBezTo>
                <a:cubicBezTo>
                  <a:pt x="225" y="14"/>
                  <a:pt x="210" y="14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89" y="35"/>
                  <a:pt x="173" y="38"/>
                  <a:pt x="159" y="32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46" y="27"/>
                  <a:pt x="131" y="33"/>
                  <a:pt x="126" y="45"/>
                </a:cubicBezTo>
                <a:cubicBezTo>
                  <a:pt x="121" y="59"/>
                  <a:pt x="107" y="68"/>
                  <a:pt x="92" y="68"/>
                </a:cubicBezTo>
                <a:cubicBezTo>
                  <a:pt x="78" y="68"/>
                  <a:pt x="67" y="79"/>
                  <a:pt x="67" y="93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109"/>
                  <a:pt x="58" y="122"/>
                  <a:pt x="45" y="128"/>
                </a:cubicBezTo>
                <a:cubicBezTo>
                  <a:pt x="44" y="128"/>
                  <a:pt x="44" y="128"/>
                  <a:pt x="44" y="128"/>
                </a:cubicBezTo>
                <a:cubicBezTo>
                  <a:pt x="31" y="133"/>
                  <a:pt x="25" y="148"/>
                  <a:pt x="31" y="160"/>
                </a:cubicBezTo>
                <a:cubicBezTo>
                  <a:pt x="36" y="174"/>
                  <a:pt x="33" y="190"/>
                  <a:pt x="23" y="201"/>
                </a:cubicBezTo>
                <a:cubicBezTo>
                  <a:pt x="13" y="210"/>
                  <a:pt x="13" y="226"/>
                  <a:pt x="23" y="236"/>
                </a:cubicBezTo>
                <a:cubicBezTo>
                  <a:pt x="23" y="236"/>
                  <a:pt x="23" y="236"/>
                  <a:pt x="23" y="236"/>
                </a:cubicBezTo>
                <a:cubicBezTo>
                  <a:pt x="34" y="247"/>
                  <a:pt x="37" y="263"/>
                  <a:pt x="31" y="276"/>
                </a:cubicBezTo>
                <a:cubicBezTo>
                  <a:pt x="31" y="277"/>
                  <a:pt x="31" y="277"/>
                  <a:pt x="31" y="277"/>
                </a:cubicBezTo>
                <a:cubicBezTo>
                  <a:pt x="28" y="283"/>
                  <a:pt x="29" y="290"/>
                  <a:pt x="31" y="296"/>
                </a:cubicBezTo>
                <a:cubicBezTo>
                  <a:pt x="34" y="302"/>
                  <a:pt x="38" y="307"/>
                  <a:pt x="44" y="309"/>
                </a:cubicBezTo>
                <a:cubicBezTo>
                  <a:pt x="58" y="315"/>
                  <a:pt x="67" y="329"/>
                  <a:pt x="67" y="344"/>
                </a:cubicBezTo>
                <a:cubicBezTo>
                  <a:pt x="67" y="357"/>
                  <a:pt x="78" y="368"/>
                  <a:pt x="92" y="368"/>
                </a:cubicBezTo>
                <a:cubicBezTo>
                  <a:pt x="93" y="368"/>
                  <a:pt x="93" y="368"/>
                  <a:pt x="93" y="368"/>
                </a:cubicBezTo>
                <a:cubicBezTo>
                  <a:pt x="108" y="368"/>
                  <a:pt x="121" y="377"/>
                  <a:pt x="127" y="391"/>
                </a:cubicBezTo>
                <a:cubicBezTo>
                  <a:pt x="127" y="392"/>
                  <a:pt x="127" y="392"/>
                  <a:pt x="127" y="392"/>
                </a:cubicBezTo>
                <a:cubicBezTo>
                  <a:pt x="133" y="404"/>
                  <a:pt x="147" y="410"/>
                  <a:pt x="160" y="405"/>
                </a:cubicBezTo>
                <a:cubicBezTo>
                  <a:pt x="164" y="403"/>
                  <a:pt x="169" y="402"/>
                  <a:pt x="174" y="402"/>
                </a:cubicBezTo>
                <a:close/>
                <a:moveTo>
                  <a:pt x="417" y="240"/>
                </a:moveTo>
                <a:cubicBezTo>
                  <a:pt x="417" y="240"/>
                  <a:pt x="417" y="240"/>
                  <a:pt x="417" y="2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5" name="Freeform 1030">
            <a:extLst>
              <a:ext uri="{FF2B5EF4-FFF2-40B4-BE49-F238E27FC236}">
                <a16:creationId xmlns:a16="http://schemas.microsoft.com/office/drawing/2014/main" id="{BD680BC0-F09F-21F2-527B-D85A4991E144}"/>
              </a:ext>
            </a:extLst>
          </p:cNvPr>
          <p:cNvSpPr>
            <a:spLocks noEditPoints="1"/>
          </p:cNvSpPr>
          <p:nvPr/>
        </p:nvSpPr>
        <p:spPr bwMode="auto">
          <a:xfrm>
            <a:off x="10922098" y="1750417"/>
            <a:ext cx="411438" cy="411437"/>
          </a:xfrm>
          <a:custGeom>
            <a:avLst/>
            <a:gdLst>
              <a:gd name="T0" fmla="*/ 165 w 331"/>
              <a:gd name="T1" fmla="*/ 331 h 331"/>
              <a:gd name="T2" fmla="*/ 0 w 331"/>
              <a:gd name="T3" fmla="*/ 165 h 331"/>
              <a:gd name="T4" fmla="*/ 165 w 331"/>
              <a:gd name="T5" fmla="*/ 0 h 331"/>
              <a:gd name="T6" fmla="*/ 331 w 331"/>
              <a:gd name="T7" fmla="*/ 165 h 331"/>
              <a:gd name="T8" fmla="*/ 165 w 331"/>
              <a:gd name="T9" fmla="*/ 331 h 331"/>
              <a:gd name="T10" fmla="*/ 165 w 331"/>
              <a:gd name="T11" fmla="*/ 11 h 331"/>
              <a:gd name="T12" fmla="*/ 11 w 331"/>
              <a:gd name="T13" fmla="*/ 165 h 331"/>
              <a:gd name="T14" fmla="*/ 165 w 331"/>
              <a:gd name="T15" fmla="*/ 320 h 331"/>
              <a:gd name="T16" fmla="*/ 320 w 331"/>
              <a:gd name="T17" fmla="*/ 165 h 331"/>
              <a:gd name="T18" fmla="*/ 165 w 331"/>
              <a:gd name="T19" fmla="*/ 11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1" h="331">
                <a:moveTo>
                  <a:pt x="165" y="331"/>
                </a:moveTo>
                <a:cubicBezTo>
                  <a:pt x="74" y="331"/>
                  <a:pt x="0" y="257"/>
                  <a:pt x="0" y="165"/>
                </a:cubicBezTo>
                <a:cubicBezTo>
                  <a:pt x="0" y="74"/>
                  <a:pt x="74" y="0"/>
                  <a:pt x="165" y="0"/>
                </a:cubicBezTo>
                <a:cubicBezTo>
                  <a:pt x="257" y="0"/>
                  <a:pt x="331" y="74"/>
                  <a:pt x="331" y="165"/>
                </a:cubicBezTo>
                <a:cubicBezTo>
                  <a:pt x="331" y="257"/>
                  <a:pt x="257" y="331"/>
                  <a:pt x="165" y="331"/>
                </a:cubicBezTo>
                <a:close/>
                <a:moveTo>
                  <a:pt x="165" y="11"/>
                </a:moveTo>
                <a:cubicBezTo>
                  <a:pt x="80" y="11"/>
                  <a:pt x="11" y="80"/>
                  <a:pt x="11" y="165"/>
                </a:cubicBezTo>
                <a:cubicBezTo>
                  <a:pt x="11" y="250"/>
                  <a:pt x="80" y="320"/>
                  <a:pt x="165" y="320"/>
                </a:cubicBezTo>
                <a:cubicBezTo>
                  <a:pt x="251" y="320"/>
                  <a:pt x="320" y="250"/>
                  <a:pt x="320" y="165"/>
                </a:cubicBezTo>
                <a:cubicBezTo>
                  <a:pt x="320" y="80"/>
                  <a:pt x="251" y="11"/>
                  <a:pt x="165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6" name="Freeform 1031">
            <a:extLst>
              <a:ext uri="{FF2B5EF4-FFF2-40B4-BE49-F238E27FC236}">
                <a16:creationId xmlns:a16="http://schemas.microsoft.com/office/drawing/2014/main" id="{6D5795F5-04AA-4208-667B-1147C8974F72}"/>
              </a:ext>
            </a:extLst>
          </p:cNvPr>
          <p:cNvSpPr>
            <a:spLocks/>
          </p:cNvSpPr>
          <p:nvPr/>
        </p:nvSpPr>
        <p:spPr bwMode="auto">
          <a:xfrm>
            <a:off x="10984667" y="1805403"/>
            <a:ext cx="288196" cy="68256"/>
          </a:xfrm>
          <a:custGeom>
            <a:avLst/>
            <a:gdLst>
              <a:gd name="T0" fmla="*/ 115 w 232"/>
              <a:gd name="T1" fmla="*/ 55 h 55"/>
              <a:gd name="T2" fmla="*/ 2 w 232"/>
              <a:gd name="T3" fmla="*/ 11 h 55"/>
              <a:gd name="T4" fmla="*/ 2 w 232"/>
              <a:gd name="T5" fmla="*/ 3 h 55"/>
              <a:gd name="T6" fmla="*/ 10 w 232"/>
              <a:gd name="T7" fmla="*/ 3 h 55"/>
              <a:gd name="T8" fmla="*/ 115 w 232"/>
              <a:gd name="T9" fmla="*/ 45 h 55"/>
              <a:gd name="T10" fmla="*/ 222 w 232"/>
              <a:gd name="T11" fmla="*/ 2 h 55"/>
              <a:gd name="T12" fmla="*/ 230 w 232"/>
              <a:gd name="T13" fmla="*/ 2 h 55"/>
              <a:gd name="T14" fmla="*/ 229 w 232"/>
              <a:gd name="T15" fmla="*/ 10 h 55"/>
              <a:gd name="T16" fmla="*/ 115 w 232"/>
              <a:gd name="T17" fmla="*/ 55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2" h="55">
                <a:moveTo>
                  <a:pt x="115" y="55"/>
                </a:moveTo>
                <a:cubicBezTo>
                  <a:pt x="73" y="55"/>
                  <a:pt x="33" y="40"/>
                  <a:pt x="2" y="11"/>
                </a:cubicBezTo>
                <a:cubicBezTo>
                  <a:pt x="0" y="9"/>
                  <a:pt x="0" y="5"/>
                  <a:pt x="2" y="3"/>
                </a:cubicBezTo>
                <a:cubicBezTo>
                  <a:pt x="4" y="1"/>
                  <a:pt x="8" y="1"/>
                  <a:pt x="10" y="3"/>
                </a:cubicBezTo>
                <a:cubicBezTo>
                  <a:pt x="39" y="30"/>
                  <a:pt x="76" y="45"/>
                  <a:pt x="115" y="45"/>
                </a:cubicBezTo>
                <a:cubicBezTo>
                  <a:pt x="155" y="45"/>
                  <a:pt x="193" y="29"/>
                  <a:pt x="222" y="2"/>
                </a:cubicBezTo>
                <a:cubicBezTo>
                  <a:pt x="224" y="0"/>
                  <a:pt x="228" y="0"/>
                  <a:pt x="230" y="2"/>
                </a:cubicBezTo>
                <a:cubicBezTo>
                  <a:pt x="232" y="4"/>
                  <a:pt x="232" y="8"/>
                  <a:pt x="229" y="10"/>
                </a:cubicBezTo>
                <a:cubicBezTo>
                  <a:pt x="199" y="39"/>
                  <a:pt x="158" y="55"/>
                  <a:pt x="115" y="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7" name="Freeform 1032">
            <a:extLst>
              <a:ext uri="{FF2B5EF4-FFF2-40B4-BE49-F238E27FC236}">
                <a16:creationId xmlns:a16="http://schemas.microsoft.com/office/drawing/2014/main" id="{A345ED21-ED0E-4346-3F7C-31DE1278B847}"/>
              </a:ext>
            </a:extLst>
          </p:cNvPr>
          <p:cNvSpPr>
            <a:spLocks/>
          </p:cNvSpPr>
          <p:nvPr/>
        </p:nvSpPr>
        <p:spPr bwMode="auto">
          <a:xfrm>
            <a:off x="10986565" y="2036720"/>
            <a:ext cx="284404" cy="66362"/>
          </a:xfrm>
          <a:custGeom>
            <a:avLst/>
            <a:gdLst>
              <a:gd name="T0" fmla="*/ 6 w 229"/>
              <a:gd name="T1" fmla="*/ 54 h 54"/>
              <a:gd name="T2" fmla="*/ 2 w 229"/>
              <a:gd name="T3" fmla="*/ 53 h 54"/>
              <a:gd name="T4" fmla="*/ 2 w 229"/>
              <a:gd name="T5" fmla="*/ 45 h 54"/>
              <a:gd name="T6" fmla="*/ 114 w 229"/>
              <a:gd name="T7" fmla="*/ 0 h 54"/>
              <a:gd name="T8" fmla="*/ 226 w 229"/>
              <a:gd name="T9" fmla="*/ 44 h 54"/>
              <a:gd name="T10" fmla="*/ 227 w 229"/>
              <a:gd name="T11" fmla="*/ 52 h 54"/>
              <a:gd name="T12" fmla="*/ 219 w 229"/>
              <a:gd name="T13" fmla="*/ 52 h 54"/>
              <a:gd name="T14" fmla="*/ 114 w 229"/>
              <a:gd name="T15" fmla="*/ 11 h 54"/>
              <a:gd name="T16" fmla="*/ 9 w 229"/>
              <a:gd name="T17" fmla="*/ 53 h 54"/>
              <a:gd name="T18" fmla="*/ 6 w 229"/>
              <a:gd name="T19" fmla="*/ 5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9" h="54">
                <a:moveTo>
                  <a:pt x="6" y="54"/>
                </a:moveTo>
                <a:cubicBezTo>
                  <a:pt x="4" y="54"/>
                  <a:pt x="3" y="54"/>
                  <a:pt x="2" y="53"/>
                </a:cubicBezTo>
                <a:cubicBezTo>
                  <a:pt x="0" y="50"/>
                  <a:pt x="0" y="47"/>
                  <a:pt x="2" y="45"/>
                </a:cubicBezTo>
                <a:cubicBezTo>
                  <a:pt x="33" y="16"/>
                  <a:pt x="73" y="0"/>
                  <a:pt x="114" y="0"/>
                </a:cubicBezTo>
                <a:cubicBezTo>
                  <a:pt x="156" y="0"/>
                  <a:pt x="196" y="16"/>
                  <a:pt x="226" y="44"/>
                </a:cubicBezTo>
                <a:cubicBezTo>
                  <a:pt x="228" y="46"/>
                  <a:pt x="229" y="49"/>
                  <a:pt x="227" y="52"/>
                </a:cubicBezTo>
                <a:cubicBezTo>
                  <a:pt x="224" y="54"/>
                  <a:pt x="221" y="54"/>
                  <a:pt x="219" y="52"/>
                </a:cubicBezTo>
                <a:cubicBezTo>
                  <a:pt x="190" y="26"/>
                  <a:pt x="153" y="11"/>
                  <a:pt x="114" y="11"/>
                </a:cubicBezTo>
                <a:cubicBezTo>
                  <a:pt x="75" y="11"/>
                  <a:pt x="38" y="26"/>
                  <a:pt x="9" y="53"/>
                </a:cubicBezTo>
                <a:cubicBezTo>
                  <a:pt x="8" y="54"/>
                  <a:pt x="7" y="54"/>
                  <a:pt x="6" y="5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8" name="Freeform 1033">
            <a:extLst>
              <a:ext uri="{FF2B5EF4-FFF2-40B4-BE49-F238E27FC236}">
                <a16:creationId xmlns:a16="http://schemas.microsoft.com/office/drawing/2014/main" id="{19DB9C91-207C-99ED-9E02-72010B5AFF83}"/>
              </a:ext>
            </a:extLst>
          </p:cNvPr>
          <p:cNvSpPr>
            <a:spLocks noEditPoints="1"/>
          </p:cNvSpPr>
          <p:nvPr/>
        </p:nvSpPr>
        <p:spPr bwMode="auto">
          <a:xfrm>
            <a:off x="11016902" y="1750417"/>
            <a:ext cx="221835" cy="411437"/>
          </a:xfrm>
          <a:custGeom>
            <a:avLst/>
            <a:gdLst>
              <a:gd name="T0" fmla="*/ 89 w 179"/>
              <a:gd name="T1" fmla="*/ 331 h 331"/>
              <a:gd name="T2" fmla="*/ 0 w 179"/>
              <a:gd name="T3" fmla="*/ 165 h 331"/>
              <a:gd name="T4" fmla="*/ 89 w 179"/>
              <a:gd name="T5" fmla="*/ 0 h 331"/>
              <a:gd name="T6" fmla="*/ 179 w 179"/>
              <a:gd name="T7" fmla="*/ 165 h 331"/>
              <a:gd name="T8" fmla="*/ 89 w 179"/>
              <a:gd name="T9" fmla="*/ 331 h 331"/>
              <a:gd name="T10" fmla="*/ 89 w 179"/>
              <a:gd name="T11" fmla="*/ 11 h 331"/>
              <a:gd name="T12" fmla="*/ 11 w 179"/>
              <a:gd name="T13" fmla="*/ 165 h 331"/>
              <a:gd name="T14" fmla="*/ 89 w 179"/>
              <a:gd name="T15" fmla="*/ 320 h 331"/>
              <a:gd name="T16" fmla="*/ 168 w 179"/>
              <a:gd name="T17" fmla="*/ 165 h 331"/>
              <a:gd name="T18" fmla="*/ 89 w 179"/>
              <a:gd name="T19" fmla="*/ 11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79" h="331">
                <a:moveTo>
                  <a:pt x="89" y="331"/>
                </a:moveTo>
                <a:cubicBezTo>
                  <a:pt x="39" y="331"/>
                  <a:pt x="0" y="258"/>
                  <a:pt x="0" y="165"/>
                </a:cubicBezTo>
                <a:cubicBezTo>
                  <a:pt x="0" y="73"/>
                  <a:pt x="39" y="0"/>
                  <a:pt x="89" y="0"/>
                </a:cubicBezTo>
                <a:cubicBezTo>
                  <a:pt x="140" y="0"/>
                  <a:pt x="179" y="73"/>
                  <a:pt x="179" y="165"/>
                </a:cubicBezTo>
                <a:cubicBezTo>
                  <a:pt x="179" y="258"/>
                  <a:pt x="140" y="331"/>
                  <a:pt x="89" y="331"/>
                </a:cubicBezTo>
                <a:close/>
                <a:moveTo>
                  <a:pt x="89" y="11"/>
                </a:moveTo>
                <a:cubicBezTo>
                  <a:pt x="46" y="11"/>
                  <a:pt x="11" y="80"/>
                  <a:pt x="11" y="165"/>
                </a:cubicBezTo>
                <a:cubicBezTo>
                  <a:pt x="11" y="250"/>
                  <a:pt x="46" y="320"/>
                  <a:pt x="89" y="320"/>
                </a:cubicBezTo>
                <a:cubicBezTo>
                  <a:pt x="133" y="320"/>
                  <a:pt x="168" y="250"/>
                  <a:pt x="168" y="165"/>
                </a:cubicBezTo>
                <a:cubicBezTo>
                  <a:pt x="168" y="80"/>
                  <a:pt x="133" y="11"/>
                  <a:pt x="89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9" name="Freeform 1034">
            <a:extLst>
              <a:ext uri="{FF2B5EF4-FFF2-40B4-BE49-F238E27FC236}">
                <a16:creationId xmlns:a16="http://schemas.microsoft.com/office/drawing/2014/main" id="{BD0D7843-98EE-9093-66E1-ED72CF8CF18C}"/>
              </a:ext>
            </a:extLst>
          </p:cNvPr>
          <p:cNvSpPr>
            <a:spLocks/>
          </p:cNvSpPr>
          <p:nvPr/>
        </p:nvSpPr>
        <p:spPr bwMode="auto">
          <a:xfrm>
            <a:off x="10922098" y="1949501"/>
            <a:ext cx="411438" cy="13274"/>
          </a:xfrm>
          <a:custGeom>
            <a:avLst/>
            <a:gdLst>
              <a:gd name="T0" fmla="*/ 325 w 331"/>
              <a:gd name="T1" fmla="*/ 11 h 11"/>
              <a:gd name="T2" fmla="*/ 6 w 331"/>
              <a:gd name="T3" fmla="*/ 11 h 11"/>
              <a:gd name="T4" fmla="*/ 0 w 331"/>
              <a:gd name="T5" fmla="*/ 5 h 11"/>
              <a:gd name="T6" fmla="*/ 6 w 331"/>
              <a:gd name="T7" fmla="*/ 0 h 11"/>
              <a:gd name="T8" fmla="*/ 325 w 331"/>
              <a:gd name="T9" fmla="*/ 0 h 11"/>
              <a:gd name="T10" fmla="*/ 331 w 331"/>
              <a:gd name="T11" fmla="*/ 5 h 11"/>
              <a:gd name="T12" fmla="*/ 325 w 331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31" h="11">
                <a:moveTo>
                  <a:pt x="325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9"/>
                  <a:pt x="0" y="5"/>
                </a:cubicBezTo>
                <a:cubicBezTo>
                  <a:pt x="0" y="2"/>
                  <a:pt x="3" y="0"/>
                  <a:pt x="6" y="0"/>
                </a:cubicBezTo>
                <a:cubicBezTo>
                  <a:pt x="325" y="0"/>
                  <a:pt x="325" y="0"/>
                  <a:pt x="325" y="0"/>
                </a:cubicBezTo>
                <a:cubicBezTo>
                  <a:pt x="328" y="0"/>
                  <a:pt x="331" y="2"/>
                  <a:pt x="331" y="5"/>
                </a:cubicBezTo>
                <a:cubicBezTo>
                  <a:pt x="331" y="9"/>
                  <a:pt x="328" y="11"/>
                  <a:pt x="325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70" name="Freeform 1035">
            <a:extLst>
              <a:ext uri="{FF2B5EF4-FFF2-40B4-BE49-F238E27FC236}">
                <a16:creationId xmlns:a16="http://schemas.microsoft.com/office/drawing/2014/main" id="{0A5F168C-73E0-8798-3701-141DEF15A76C}"/>
              </a:ext>
            </a:extLst>
          </p:cNvPr>
          <p:cNvSpPr>
            <a:spLocks/>
          </p:cNvSpPr>
          <p:nvPr/>
        </p:nvSpPr>
        <p:spPr bwMode="auto">
          <a:xfrm>
            <a:off x="11121182" y="1750417"/>
            <a:ext cx="13274" cy="411437"/>
          </a:xfrm>
          <a:custGeom>
            <a:avLst/>
            <a:gdLst>
              <a:gd name="T0" fmla="*/ 5 w 11"/>
              <a:gd name="T1" fmla="*/ 331 h 331"/>
              <a:gd name="T2" fmla="*/ 0 w 11"/>
              <a:gd name="T3" fmla="*/ 325 h 331"/>
              <a:gd name="T4" fmla="*/ 0 w 11"/>
              <a:gd name="T5" fmla="*/ 6 h 331"/>
              <a:gd name="T6" fmla="*/ 5 w 11"/>
              <a:gd name="T7" fmla="*/ 0 h 331"/>
              <a:gd name="T8" fmla="*/ 11 w 11"/>
              <a:gd name="T9" fmla="*/ 6 h 331"/>
              <a:gd name="T10" fmla="*/ 11 w 11"/>
              <a:gd name="T11" fmla="*/ 325 h 331"/>
              <a:gd name="T12" fmla="*/ 5 w 11"/>
              <a:gd name="T13" fmla="*/ 331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331">
                <a:moveTo>
                  <a:pt x="5" y="331"/>
                </a:moveTo>
                <a:cubicBezTo>
                  <a:pt x="2" y="331"/>
                  <a:pt x="0" y="328"/>
                  <a:pt x="0" y="32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5" y="0"/>
                </a:cubicBezTo>
                <a:cubicBezTo>
                  <a:pt x="9" y="0"/>
                  <a:pt x="11" y="3"/>
                  <a:pt x="11" y="6"/>
                </a:cubicBezTo>
                <a:cubicBezTo>
                  <a:pt x="11" y="325"/>
                  <a:pt x="11" y="325"/>
                  <a:pt x="11" y="325"/>
                </a:cubicBezTo>
                <a:cubicBezTo>
                  <a:pt x="11" y="328"/>
                  <a:pt x="9" y="331"/>
                  <a:pt x="5" y="3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183641951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38D785-9F37-E5EB-5820-66DB2855A6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A398427-0847-A3EC-D65D-A0161EE738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398427-0847-A3EC-D65D-A0161EE738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3A4435-2986-AFA2-A2A3-1757005B2D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A23A35E-7847-F14D-684F-B795932B803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Shape1_20220427_135811">
            <a:extLst>
              <a:ext uri="{FF2B5EF4-FFF2-40B4-BE49-F238E27FC236}">
                <a16:creationId xmlns:a16="http://schemas.microsoft.com/office/drawing/2014/main" id="{E7F58F31-A5E0-103C-9876-A73AD37C16FA}"/>
              </a:ext>
            </a:extLst>
          </p:cNvPr>
          <p:cNvSpPr txBox="1">
            <a:spLocks/>
          </p:cNvSpPr>
          <p:nvPr/>
        </p:nvSpPr>
        <p:spPr>
          <a:xfrm>
            <a:off x="6276489" y="4010675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7" name="Shape2_20220427_135811">
            <a:extLst>
              <a:ext uri="{FF2B5EF4-FFF2-40B4-BE49-F238E27FC236}">
                <a16:creationId xmlns:a16="http://schemas.microsoft.com/office/drawing/2014/main" id="{AABC44EB-E0AD-7C03-1486-7A1759C74DD2}"/>
              </a:ext>
            </a:extLst>
          </p:cNvPr>
          <p:cNvSpPr txBox="1">
            <a:spLocks/>
          </p:cNvSpPr>
          <p:nvPr/>
        </p:nvSpPr>
        <p:spPr>
          <a:xfrm>
            <a:off x="6276489" y="4240597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" name="Shape1_20221012_144847">
            <a:extLst>
              <a:ext uri="{FF2B5EF4-FFF2-40B4-BE49-F238E27FC236}">
                <a16:creationId xmlns:a16="http://schemas.microsoft.com/office/drawing/2014/main" id="{BB72C708-6F43-6ED6-33B7-070E6A61F342}"/>
              </a:ext>
            </a:extLst>
          </p:cNvPr>
          <p:cNvSpPr/>
          <p:nvPr/>
        </p:nvSpPr>
        <p:spPr>
          <a:xfrm>
            <a:off x="5168003" y="3789394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prstClr val="white"/>
              </a:solidFill>
            </a:endParaRPr>
          </a:p>
        </p:txBody>
      </p:sp>
      <p:sp>
        <p:nvSpPr>
          <p:cNvPr id="9" name="Shape3_20220427_135811">
            <a:extLst>
              <a:ext uri="{FF2B5EF4-FFF2-40B4-BE49-F238E27FC236}">
                <a16:creationId xmlns:a16="http://schemas.microsoft.com/office/drawing/2014/main" id="{6FD1FA43-6DD2-48E6-96E1-2ADFB5A64E77}"/>
              </a:ext>
            </a:extLst>
          </p:cNvPr>
          <p:cNvSpPr txBox="1">
            <a:spLocks/>
          </p:cNvSpPr>
          <p:nvPr/>
        </p:nvSpPr>
        <p:spPr>
          <a:xfrm>
            <a:off x="9936937" y="4010675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10" name="Shape4_20220427_135811">
            <a:extLst>
              <a:ext uri="{FF2B5EF4-FFF2-40B4-BE49-F238E27FC236}">
                <a16:creationId xmlns:a16="http://schemas.microsoft.com/office/drawing/2014/main" id="{CA0A3597-4220-C352-C523-A8AD49637CB5}"/>
              </a:ext>
            </a:extLst>
          </p:cNvPr>
          <p:cNvSpPr txBox="1">
            <a:spLocks/>
          </p:cNvSpPr>
          <p:nvPr/>
        </p:nvSpPr>
        <p:spPr>
          <a:xfrm>
            <a:off x="9936937" y="4240597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1" name="Shape2_20221012_144847">
            <a:extLst>
              <a:ext uri="{FF2B5EF4-FFF2-40B4-BE49-F238E27FC236}">
                <a16:creationId xmlns:a16="http://schemas.microsoft.com/office/drawing/2014/main" id="{F115F3BF-966A-45E8-E27D-B32FF083EBC7}"/>
              </a:ext>
            </a:extLst>
          </p:cNvPr>
          <p:cNvSpPr/>
          <p:nvPr/>
        </p:nvSpPr>
        <p:spPr>
          <a:xfrm>
            <a:off x="8828446" y="3789394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prstClr val="white"/>
              </a:solidFill>
            </a:endParaRPr>
          </a:p>
        </p:txBody>
      </p:sp>
      <p:sp>
        <p:nvSpPr>
          <p:cNvPr id="12" name="Freeform 380">
            <a:extLst>
              <a:ext uri="{FF2B5EF4-FFF2-40B4-BE49-F238E27FC236}">
                <a16:creationId xmlns:a16="http://schemas.microsoft.com/office/drawing/2014/main" id="{51C3F7FE-CE6A-E300-E968-EB233C881EB9}"/>
              </a:ext>
            </a:extLst>
          </p:cNvPr>
          <p:cNvSpPr>
            <a:spLocks noEditPoints="1"/>
          </p:cNvSpPr>
          <p:nvPr/>
        </p:nvSpPr>
        <p:spPr bwMode="auto">
          <a:xfrm>
            <a:off x="5358642" y="3977659"/>
            <a:ext cx="370244" cy="374992"/>
          </a:xfrm>
          <a:custGeom>
            <a:avLst/>
            <a:gdLst>
              <a:gd name="T0" fmla="*/ 142 w 285"/>
              <a:gd name="T1" fmla="*/ 285 h 285"/>
              <a:gd name="T2" fmla="*/ 0 w 285"/>
              <a:gd name="T3" fmla="*/ 143 h 285"/>
              <a:gd name="T4" fmla="*/ 142 w 285"/>
              <a:gd name="T5" fmla="*/ 0 h 285"/>
              <a:gd name="T6" fmla="*/ 285 w 285"/>
              <a:gd name="T7" fmla="*/ 143 h 285"/>
              <a:gd name="T8" fmla="*/ 142 w 285"/>
              <a:gd name="T9" fmla="*/ 285 h 285"/>
              <a:gd name="T10" fmla="*/ 142 w 285"/>
              <a:gd name="T11" fmla="*/ 12 h 285"/>
              <a:gd name="T12" fmla="*/ 12 w 285"/>
              <a:gd name="T13" fmla="*/ 143 h 285"/>
              <a:gd name="T14" fmla="*/ 142 w 285"/>
              <a:gd name="T15" fmla="*/ 273 h 285"/>
              <a:gd name="T16" fmla="*/ 273 w 285"/>
              <a:gd name="T17" fmla="*/ 143 h 285"/>
              <a:gd name="T18" fmla="*/ 142 w 285"/>
              <a:gd name="T19" fmla="*/ 1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5" h="285">
                <a:moveTo>
                  <a:pt x="142" y="285"/>
                </a:moveTo>
                <a:cubicBezTo>
                  <a:pt x="64" y="285"/>
                  <a:pt x="0" y="221"/>
                  <a:pt x="0" y="143"/>
                </a:cubicBezTo>
                <a:cubicBezTo>
                  <a:pt x="0" y="64"/>
                  <a:pt x="64" y="0"/>
                  <a:pt x="142" y="0"/>
                </a:cubicBezTo>
                <a:cubicBezTo>
                  <a:pt x="221" y="0"/>
                  <a:pt x="285" y="64"/>
                  <a:pt x="285" y="143"/>
                </a:cubicBezTo>
                <a:cubicBezTo>
                  <a:pt x="285" y="221"/>
                  <a:pt x="221" y="285"/>
                  <a:pt x="142" y="285"/>
                </a:cubicBezTo>
                <a:close/>
                <a:moveTo>
                  <a:pt x="142" y="12"/>
                </a:moveTo>
                <a:cubicBezTo>
                  <a:pt x="70" y="12"/>
                  <a:pt x="12" y="71"/>
                  <a:pt x="12" y="143"/>
                </a:cubicBezTo>
                <a:cubicBezTo>
                  <a:pt x="12" y="214"/>
                  <a:pt x="70" y="273"/>
                  <a:pt x="142" y="273"/>
                </a:cubicBezTo>
                <a:cubicBezTo>
                  <a:pt x="214" y="273"/>
                  <a:pt x="273" y="214"/>
                  <a:pt x="273" y="143"/>
                </a:cubicBezTo>
                <a:cubicBezTo>
                  <a:pt x="273" y="71"/>
                  <a:pt x="214" y="12"/>
                  <a:pt x="142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3" name="Freeform 381">
            <a:extLst>
              <a:ext uri="{FF2B5EF4-FFF2-40B4-BE49-F238E27FC236}">
                <a16:creationId xmlns:a16="http://schemas.microsoft.com/office/drawing/2014/main" id="{E8901291-AA24-5992-9FEA-63253DA6A7F4}"/>
              </a:ext>
            </a:extLst>
          </p:cNvPr>
          <p:cNvSpPr>
            <a:spLocks noEditPoints="1"/>
          </p:cNvSpPr>
          <p:nvPr/>
        </p:nvSpPr>
        <p:spPr bwMode="auto">
          <a:xfrm>
            <a:off x="5643444" y="4262459"/>
            <a:ext cx="189869" cy="194618"/>
          </a:xfrm>
          <a:custGeom>
            <a:avLst/>
            <a:gdLst>
              <a:gd name="T0" fmla="*/ 119 w 145"/>
              <a:gd name="T1" fmla="*/ 146 h 146"/>
              <a:gd name="T2" fmla="*/ 100 w 145"/>
              <a:gd name="T3" fmla="*/ 138 h 146"/>
              <a:gd name="T4" fmla="*/ 2 w 145"/>
              <a:gd name="T5" fmla="*/ 40 h 146"/>
              <a:gd name="T6" fmla="*/ 2 w 145"/>
              <a:gd name="T7" fmla="*/ 32 h 146"/>
              <a:gd name="T8" fmla="*/ 31 w 145"/>
              <a:gd name="T9" fmla="*/ 3 h 146"/>
              <a:gd name="T10" fmla="*/ 40 w 145"/>
              <a:gd name="T11" fmla="*/ 3 h 146"/>
              <a:gd name="T12" fmla="*/ 138 w 145"/>
              <a:gd name="T13" fmla="*/ 100 h 146"/>
              <a:gd name="T14" fmla="*/ 145 w 145"/>
              <a:gd name="T15" fmla="*/ 119 h 146"/>
              <a:gd name="T16" fmla="*/ 138 w 145"/>
              <a:gd name="T17" fmla="*/ 138 h 146"/>
              <a:gd name="T18" fmla="*/ 119 w 145"/>
              <a:gd name="T19" fmla="*/ 146 h 146"/>
              <a:gd name="T20" fmla="*/ 15 w 145"/>
              <a:gd name="T21" fmla="*/ 36 h 146"/>
              <a:gd name="T22" fmla="*/ 109 w 145"/>
              <a:gd name="T23" fmla="*/ 129 h 146"/>
              <a:gd name="T24" fmla="*/ 109 w 145"/>
              <a:gd name="T25" fmla="*/ 129 h 146"/>
              <a:gd name="T26" fmla="*/ 129 w 145"/>
              <a:gd name="T27" fmla="*/ 129 h 146"/>
              <a:gd name="T28" fmla="*/ 133 w 145"/>
              <a:gd name="T29" fmla="*/ 119 h 146"/>
              <a:gd name="T30" fmla="*/ 129 w 145"/>
              <a:gd name="T31" fmla="*/ 109 h 146"/>
              <a:gd name="T32" fmla="*/ 36 w 145"/>
              <a:gd name="T33" fmla="*/ 16 h 146"/>
              <a:gd name="T34" fmla="*/ 15 w 145"/>
              <a:gd name="T35" fmla="*/ 3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45" h="146">
                <a:moveTo>
                  <a:pt x="119" y="146"/>
                </a:moveTo>
                <a:cubicBezTo>
                  <a:pt x="112" y="146"/>
                  <a:pt x="105" y="143"/>
                  <a:pt x="100" y="138"/>
                </a:cubicBezTo>
                <a:cubicBezTo>
                  <a:pt x="2" y="40"/>
                  <a:pt x="2" y="40"/>
                  <a:pt x="2" y="40"/>
                </a:cubicBezTo>
                <a:cubicBezTo>
                  <a:pt x="0" y="38"/>
                  <a:pt x="0" y="34"/>
                  <a:pt x="2" y="32"/>
                </a:cubicBezTo>
                <a:cubicBezTo>
                  <a:pt x="31" y="3"/>
                  <a:pt x="31" y="3"/>
                  <a:pt x="31" y="3"/>
                </a:cubicBezTo>
                <a:cubicBezTo>
                  <a:pt x="34" y="0"/>
                  <a:pt x="38" y="0"/>
                  <a:pt x="40" y="3"/>
                </a:cubicBezTo>
                <a:cubicBezTo>
                  <a:pt x="138" y="100"/>
                  <a:pt x="138" y="100"/>
                  <a:pt x="138" y="100"/>
                </a:cubicBezTo>
                <a:cubicBezTo>
                  <a:pt x="143" y="105"/>
                  <a:pt x="145" y="112"/>
                  <a:pt x="145" y="119"/>
                </a:cubicBezTo>
                <a:cubicBezTo>
                  <a:pt x="145" y="126"/>
                  <a:pt x="143" y="133"/>
                  <a:pt x="138" y="138"/>
                </a:cubicBezTo>
                <a:cubicBezTo>
                  <a:pt x="132" y="143"/>
                  <a:pt x="126" y="146"/>
                  <a:pt x="119" y="146"/>
                </a:cubicBezTo>
                <a:close/>
                <a:moveTo>
                  <a:pt x="15" y="36"/>
                </a:moveTo>
                <a:cubicBezTo>
                  <a:pt x="109" y="129"/>
                  <a:pt x="109" y="129"/>
                  <a:pt x="109" y="129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14" y="135"/>
                  <a:pt x="123" y="135"/>
                  <a:pt x="129" y="129"/>
                </a:cubicBezTo>
                <a:cubicBezTo>
                  <a:pt x="132" y="126"/>
                  <a:pt x="133" y="123"/>
                  <a:pt x="133" y="119"/>
                </a:cubicBezTo>
                <a:cubicBezTo>
                  <a:pt x="133" y="115"/>
                  <a:pt x="132" y="112"/>
                  <a:pt x="129" y="109"/>
                </a:cubicBezTo>
                <a:cubicBezTo>
                  <a:pt x="36" y="16"/>
                  <a:pt x="36" y="16"/>
                  <a:pt x="36" y="16"/>
                </a:cubicBezTo>
                <a:lnTo>
                  <a:pt x="15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4" name="Freeform 382">
            <a:extLst>
              <a:ext uri="{FF2B5EF4-FFF2-40B4-BE49-F238E27FC236}">
                <a16:creationId xmlns:a16="http://schemas.microsoft.com/office/drawing/2014/main" id="{A3710D74-C09C-12FD-FD7D-DDFEDE849D16}"/>
              </a:ext>
            </a:extLst>
          </p:cNvPr>
          <p:cNvSpPr>
            <a:spLocks/>
          </p:cNvSpPr>
          <p:nvPr/>
        </p:nvSpPr>
        <p:spPr bwMode="auto">
          <a:xfrm>
            <a:off x="5420350" y="4039366"/>
            <a:ext cx="132907" cy="132907"/>
          </a:xfrm>
          <a:custGeom>
            <a:avLst/>
            <a:gdLst>
              <a:gd name="T0" fmla="*/ 6 w 99"/>
              <a:gd name="T1" fmla="*/ 100 h 100"/>
              <a:gd name="T2" fmla="*/ 0 w 99"/>
              <a:gd name="T3" fmla="*/ 94 h 100"/>
              <a:gd name="T4" fmla="*/ 93 w 99"/>
              <a:gd name="T5" fmla="*/ 0 h 100"/>
              <a:gd name="T6" fmla="*/ 99 w 99"/>
              <a:gd name="T7" fmla="*/ 6 h 100"/>
              <a:gd name="T8" fmla="*/ 93 w 99"/>
              <a:gd name="T9" fmla="*/ 12 h 100"/>
              <a:gd name="T10" fmla="*/ 12 w 99"/>
              <a:gd name="T11" fmla="*/ 94 h 100"/>
              <a:gd name="T12" fmla="*/ 6 w 99"/>
              <a:gd name="T13" fmla="*/ 10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" h="100">
                <a:moveTo>
                  <a:pt x="6" y="100"/>
                </a:moveTo>
                <a:cubicBezTo>
                  <a:pt x="3" y="100"/>
                  <a:pt x="0" y="97"/>
                  <a:pt x="0" y="94"/>
                </a:cubicBezTo>
                <a:cubicBezTo>
                  <a:pt x="0" y="42"/>
                  <a:pt x="42" y="0"/>
                  <a:pt x="93" y="0"/>
                </a:cubicBezTo>
                <a:cubicBezTo>
                  <a:pt x="97" y="0"/>
                  <a:pt x="99" y="3"/>
                  <a:pt x="99" y="6"/>
                </a:cubicBezTo>
                <a:cubicBezTo>
                  <a:pt x="99" y="10"/>
                  <a:pt x="97" y="12"/>
                  <a:pt x="93" y="12"/>
                </a:cubicBezTo>
                <a:cubicBezTo>
                  <a:pt x="48" y="12"/>
                  <a:pt x="12" y="49"/>
                  <a:pt x="12" y="94"/>
                </a:cubicBezTo>
                <a:cubicBezTo>
                  <a:pt x="12" y="97"/>
                  <a:pt x="9" y="100"/>
                  <a:pt x="6" y="10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5" name="Freeform 156">
            <a:extLst>
              <a:ext uri="{FF2B5EF4-FFF2-40B4-BE49-F238E27FC236}">
                <a16:creationId xmlns:a16="http://schemas.microsoft.com/office/drawing/2014/main" id="{7BAE3415-CE64-0DC5-CDE0-58EFF9662FD3}"/>
              </a:ext>
            </a:extLst>
          </p:cNvPr>
          <p:cNvSpPr>
            <a:spLocks noEditPoints="1"/>
          </p:cNvSpPr>
          <p:nvPr/>
        </p:nvSpPr>
        <p:spPr bwMode="auto">
          <a:xfrm>
            <a:off x="9128811" y="4133002"/>
            <a:ext cx="255219" cy="189822"/>
          </a:xfrm>
          <a:custGeom>
            <a:avLst/>
            <a:gdLst>
              <a:gd name="T0" fmla="*/ 90 w 218"/>
              <a:gd name="T1" fmla="*/ 163 h 163"/>
              <a:gd name="T2" fmla="*/ 86 w 218"/>
              <a:gd name="T3" fmla="*/ 161 h 163"/>
              <a:gd name="T4" fmla="*/ 2 w 218"/>
              <a:gd name="T5" fmla="*/ 77 h 163"/>
              <a:gd name="T6" fmla="*/ 2 w 218"/>
              <a:gd name="T7" fmla="*/ 68 h 163"/>
              <a:gd name="T8" fmla="*/ 31 w 218"/>
              <a:gd name="T9" fmla="*/ 39 h 163"/>
              <a:gd name="T10" fmla="*/ 40 w 218"/>
              <a:gd name="T11" fmla="*/ 39 h 163"/>
              <a:gd name="T12" fmla="*/ 90 w 218"/>
              <a:gd name="T13" fmla="*/ 90 h 163"/>
              <a:gd name="T14" fmla="*/ 177 w 218"/>
              <a:gd name="T15" fmla="*/ 2 h 163"/>
              <a:gd name="T16" fmla="*/ 186 w 218"/>
              <a:gd name="T17" fmla="*/ 2 h 163"/>
              <a:gd name="T18" fmla="*/ 215 w 218"/>
              <a:gd name="T19" fmla="*/ 32 h 163"/>
              <a:gd name="T20" fmla="*/ 215 w 218"/>
              <a:gd name="T21" fmla="*/ 40 h 163"/>
              <a:gd name="T22" fmla="*/ 95 w 218"/>
              <a:gd name="T23" fmla="*/ 161 h 163"/>
              <a:gd name="T24" fmla="*/ 90 w 218"/>
              <a:gd name="T25" fmla="*/ 163 h 163"/>
              <a:gd name="T26" fmla="*/ 15 w 218"/>
              <a:gd name="T27" fmla="*/ 73 h 163"/>
              <a:gd name="T28" fmla="*/ 90 w 218"/>
              <a:gd name="T29" fmla="*/ 148 h 163"/>
              <a:gd name="T30" fmla="*/ 202 w 218"/>
              <a:gd name="T31" fmla="*/ 36 h 163"/>
              <a:gd name="T32" fmla="*/ 182 w 218"/>
              <a:gd name="T33" fmla="*/ 15 h 163"/>
              <a:gd name="T34" fmla="*/ 95 w 218"/>
              <a:gd name="T35" fmla="*/ 103 h 163"/>
              <a:gd name="T36" fmla="*/ 86 w 218"/>
              <a:gd name="T37" fmla="*/ 103 h 163"/>
              <a:gd name="T38" fmla="*/ 35 w 218"/>
              <a:gd name="T39" fmla="*/ 52 h 163"/>
              <a:gd name="T40" fmla="*/ 15 w 218"/>
              <a:gd name="T41" fmla="*/ 7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8" h="163">
                <a:moveTo>
                  <a:pt x="90" y="163"/>
                </a:moveTo>
                <a:cubicBezTo>
                  <a:pt x="89" y="163"/>
                  <a:pt x="87" y="162"/>
                  <a:pt x="86" y="161"/>
                </a:cubicBezTo>
                <a:cubicBezTo>
                  <a:pt x="2" y="77"/>
                  <a:pt x="2" y="77"/>
                  <a:pt x="2" y="77"/>
                </a:cubicBezTo>
                <a:cubicBezTo>
                  <a:pt x="0" y="75"/>
                  <a:pt x="0" y="71"/>
                  <a:pt x="2" y="68"/>
                </a:cubicBezTo>
                <a:cubicBezTo>
                  <a:pt x="31" y="39"/>
                  <a:pt x="31" y="39"/>
                  <a:pt x="31" y="39"/>
                </a:cubicBezTo>
                <a:cubicBezTo>
                  <a:pt x="33" y="37"/>
                  <a:pt x="38" y="37"/>
                  <a:pt x="40" y="39"/>
                </a:cubicBezTo>
                <a:cubicBezTo>
                  <a:pt x="90" y="90"/>
                  <a:pt x="90" y="90"/>
                  <a:pt x="90" y="90"/>
                </a:cubicBezTo>
                <a:cubicBezTo>
                  <a:pt x="177" y="2"/>
                  <a:pt x="177" y="2"/>
                  <a:pt x="177" y="2"/>
                </a:cubicBezTo>
                <a:cubicBezTo>
                  <a:pt x="180" y="0"/>
                  <a:pt x="184" y="0"/>
                  <a:pt x="186" y="2"/>
                </a:cubicBezTo>
                <a:cubicBezTo>
                  <a:pt x="215" y="32"/>
                  <a:pt x="215" y="32"/>
                  <a:pt x="215" y="32"/>
                </a:cubicBezTo>
                <a:cubicBezTo>
                  <a:pt x="218" y="34"/>
                  <a:pt x="218" y="38"/>
                  <a:pt x="215" y="4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3" y="162"/>
                  <a:pt x="92" y="163"/>
                  <a:pt x="90" y="163"/>
                </a:cubicBezTo>
                <a:close/>
                <a:moveTo>
                  <a:pt x="15" y="73"/>
                </a:moveTo>
                <a:cubicBezTo>
                  <a:pt x="90" y="148"/>
                  <a:pt x="90" y="148"/>
                  <a:pt x="90" y="14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182" y="15"/>
                  <a:pt x="182" y="15"/>
                  <a:pt x="182" y="15"/>
                </a:cubicBezTo>
                <a:cubicBezTo>
                  <a:pt x="95" y="103"/>
                  <a:pt x="95" y="103"/>
                  <a:pt x="95" y="103"/>
                </a:cubicBezTo>
                <a:cubicBezTo>
                  <a:pt x="92" y="105"/>
                  <a:pt x="88" y="105"/>
                  <a:pt x="86" y="103"/>
                </a:cubicBezTo>
                <a:cubicBezTo>
                  <a:pt x="35" y="52"/>
                  <a:pt x="35" y="52"/>
                  <a:pt x="35" y="52"/>
                </a:cubicBezTo>
                <a:lnTo>
                  <a:pt x="15" y="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6" name="Freeform 157">
            <a:extLst>
              <a:ext uri="{FF2B5EF4-FFF2-40B4-BE49-F238E27FC236}">
                <a16:creationId xmlns:a16="http://schemas.microsoft.com/office/drawing/2014/main" id="{DF90AB1B-DF0C-39E8-D134-FD3114FEDB27}"/>
              </a:ext>
            </a:extLst>
          </p:cNvPr>
          <p:cNvSpPr>
            <a:spLocks noEditPoints="1"/>
          </p:cNvSpPr>
          <p:nvPr/>
        </p:nvSpPr>
        <p:spPr bwMode="auto">
          <a:xfrm>
            <a:off x="9001200" y="3964274"/>
            <a:ext cx="510438" cy="506186"/>
          </a:xfrm>
          <a:custGeom>
            <a:avLst/>
            <a:gdLst>
              <a:gd name="T0" fmla="*/ 191 w 436"/>
              <a:gd name="T1" fmla="*/ 422 h 433"/>
              <a:gd name="T2" fmla="*/ 116 w 436"/>
              <a:gd name="T3" fmla="*/ 397 h 433"/>
              <a:gd name="T4" fmla="*/ 93 w 436"/>
              <a:gd name="T5" fmla="*/ 381 h 433"/>
              <a:gd name="T6" fmla="*/ 55 w 436"/>
              <a:gd name="T7" fmla="*/ 344 h 433"/>
              <a:gd name="T8" fmla="*/ 20 w 436"/>
              <a:gd name="T9" fmla="*/ 301 h 433"/>
              <a:gd name="T10" fmla="*/ 20 w 436"/>
              <a:gd name="T11" fmla="*/ 272 h 433"/>
              <a:gd name="T12" fmla="*/ 14 w 436"/>
              <a:gd name="T13" fmla="*/ 244 h 433"/>
              <a:gd name="T14" fmla="*/ 19 w 436"/>
              <a:gd name="T15" fmla="*/ 165 h 433"/>
              <a:gd name="T16" fmla="*/ 40 w 436"/>
              <a:gd name="T17" fmla="*/ 116 h 433"/>
              <a:gd name="T18" fmla="*/ 55 w 436"/>
              <a:gd name="T19" fmla="*/ 93 h 433"/>
              <a:gd name="T20" fmla="*/ 115 w 436"/>
              <a:gd name="T21" fmla="*/ 40 h 433"/>
              <a:gd name="T22" fmla="*/ 164 w 436"/>
              <a:gd name="T23" fmla="*/ 21 h 433"/>
              <a:gd name="T24" fmla="*/ 191 w 436"/>
              <a:gd name="T25" fmla="*/ 15 h 433"/>
              <a:gd name="T26" fmla="*/ 271 w 436"/>
              <a:gd name="T27" fmla="*/ 20 h 433"/>
              <a:gd name="T28" fmla="*/ 319 w 436"/>
              <a:gd name="T29" fmla="*/ 41 h 433"/>
              <a:gd name="T30" fmla="*/ 343 w 436"/>
              <a:gd name="T31" fmla="*/ 56 h 433"/>
              <a:gd name="T32" fmla="*/ 395 w 436"/>
              <a:gd name="T33" fmla="*/ 116 h 433"/>
              <a:gd name="T34" fmla="*/ 415 w 436"/>
              <a:gd name="T35" fmla="*/ 164 h 433"/>
              <a:gd name="T36" fmla="*/ 420 w 436"/>
              <a:gd name="T37" fmla="*/ 191 h 433"/>
              <a:gd name="T38" fmla="*/ 421 w 436"/>
              <a:gd name="T39" fmla="*/ 244 h 433"/>
              <a:gd name="T40" fmla="*/ 416 w 436"/>
              <a:gd name="T41" fmla="*/ 271 h 433"/>
              <a:gd name="T42" fmla="*/ 395 w 436"/>
              <a:gd name="T43" fmla="*/ 320 h 433"/>
              <a:gd name="T44" fmla="*/ 380 w 436"/>
              <a:gd name="T45" fmla="*/ 344 h 433"/>
              <a:gd name="T46" fmla="*/ 320 w 436"/>
              <a:gd name="T47" fmla="*/ 396 h 433"/>
              <a:gd name="T48" fmla="*/ 272 w 436"/>
              <a:gd name="T49" fmla="*/ 416 h 433"/>
              <a:gd name="T50" fmla="*/ 244 w 436"/>
              <a:gd name="T51" fmla="*/ 421 h 433"/>
              <a:gd name="T52" fmla="*/ 218 w 436"/>
              <a:gd name="T53" fmla="*/ 433 h 433"/>
              <a:gd name="T54" fmla="*/ 200 w 436"/>
              <a:gd name="T55" fmla="*/ 413 h 433"/>
              <a:gd name="T56" fmla="*/ 236 w 436"/>
              <a:gd name="T57" fmla="*/ 412 h 433"/>
              <a:gd name="T58" fmla="*/ 277 w 436"/>
              <a:gd name="T59" fmla="*/ 405 h 433"/>
              <a:gd name="T60" fmla="*/ 309 w 436"/>
              <a:gd name="T61" fmla="*/ 391 h 433"/>
              <a:gd name="T62" fmla="*/ 368 w 436"/>
              <a:gd name="T63" fmla="*/ 344 h 433"/>
              <a:gd name="T64" fmla="*/ 390 w 436"/>
              <a:gd name="T65" fmla="*/ 309 h 433"/>
              <a:gd name="T66" fmla="*/ 404 w 436"/>
              <a:gd name="T67" fmla="*/ 276 h 433"/>
              <a:gd name="T68" fmla="*/ 412 w 436"/>
              <a:gd name="T69" fmla="*/ 201 h 433"/>
              <a:gd name="T70" fmla="*/ 404 w 436"/>
              <a:gd name="T71" fmla="*/ 160 h 433"/>
              <a:gd name="T72" fmla="*/ 404 w 436"/>
              <a:gd name="T73" fmla="*/ 140 h 433"/>
              <a:gd name="T74" fmla="*/ 368 w 436"/>
              <a:gd name="T75" fmla="*/ 93 h 433"/>
              <a:gd name="T76" fmla="*/ 342 w 436"/>
              <a:gd name="T77" fmla="*/ 68 h 433"/>
              <a:gd name="T78" fmla="*/ 308 w 436"/>
              <a:gd name="T79" fmla="*/ 45 h 433"/>
              <a:gd name="T80" fmla="*/ 235 w 436"/>
              <a:gd name="T81" fmla="*/ 23 h 433"/>
              <a:gd name="T82" fmla="*/ 199 w 436"/>
              <a:gd name="T83" fmla="*/ 24 h 433"/>
              <a:gd name="T84" fmla="*/ 159 w 436"/>
              <a:gd name="T85" fmla="*/ 32 h 433"/>
              <a:gd name="T86" fmla="*/ 92 w 436"/>
              <a:gd name="T87" fmla="*/ 68 h 433"/>
              <a:gd name="T88" fmla="*/ 67 w 436"/>
              <a:gd name="T89" fmla="*/ 94 h 433"/>
              <a:gd name="T90" fmla="*/ 44 w 436"/>
              <a:gd name="T91" fmla="*/ 128 h 433"/>
              <a:gd name="T92" fmla="*/ 23 w 436"/>
              <a:gd name="T93" fmla="*/ 201 h 433"/>
              <a:gd name="T94" fmla="*/ 23 w 436"/>
              <a:gd name="T95" fmla="*/ 236 h 433"/>
              <a:gd name="T96" fmla="*/ 31 w 436"/>
              <a:gd name="T97" fmla="*/ 277 h 433"/>
              <a:gd name="T98" fmla="*/ 44 w 436"/>
              <a:gd name="T99" fmla="*/ 309 h 433"/>
              <a:gd name="T100" fmla="*/ 92 w 436"/>
              <a:gd name="T101" fmla="*/ 368 h 433"/>
              <a:gd name="T102" fmla="*/ 127 w 436"/>
              <a:gd name="T103" fmla="*/ 391 h 433"/>
              <a:gd name="T104" fmla="*/ 160 w 436"/>
              <a:gd name="T105" fmla="*/ 405 h 433"/>
              <a:gd name="T106" fmla="*/ 417 w 436"/>
              <a:gd name="T107" fmla="*/ 240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433">
                <a:moveTo>
                  <a:pt x="218" y="433"/>
                </a:moveTo>
                <a:cubicBezTo>
                  <a:pt x="208" y="433"/>
                  <a:pt x="199" y="429"/>
                  <a:pt x="191" y="422"/>
                </a:cubicBezTo>
                <a:cubicBezTo>
                  <a:pt x="184" y="415"/>
                  <a:pt x="174" y="413"/>
                  <a:pt x="164" y="416"/>
                </a:cubicBezTo>
                <a:cubicBezTo>
                  <a:pt x="146" y="424"/>
                  <a:pt x="124" y="415"/>
                  <a:pt x="116" y="397"/>
                </a:cubicBezTo>
                <a:cubicBezTo>
                  <a:pt x="116" y="396"/>
                  <a:pt x="116" y="396"/>
                  <a:pt x="116" y="396"/>
                </a:cubicBezTo>
                <a:cubicBezTo>
                  <a:pt x="112" y="387"/>
                  <a:pt x="103" y="381"/>
                  <a:pt x="93" y="381"/>
                </a:cubicBezTo>
                <a:cubicBezTo>
                  <a:pt x="92" y="381"/>
                  <a:pt x="92" y="381"/>
                  <a:pt x="92" y="381"/>
                </a:cubicBezTo>
                <a:cubicBezTo>
                  <a:pt x="72" y="381"/>
                  <a:pt x="55" y="364"/>
                  <a:pt x="55" y="344"/>
                </a:cubicBezTo>
                <a:cubicBezTo>
                  <a:pt x="55" y="334"/>
                  <a:pt x="49" y="325"/>
                  <a:pt x="40" y="321"/>
                </a:cubicBezTo>
                <a:cubicBezTo>
                  <a:pt x="31" y="317"/>
                  <a:pt x="24" y="310"/>
                  <a:pt x="20" y="301"/>
                </a:cubicBezTo>
                <a:cubicBezTo>
                  <a:pt x="16" y="292"/>
                  <a:pt x="16" y="282"/>
                  <a:pt x="20" y="273"/>
                </a:cubicBezTo>
                <a:cubicBezTo>
                  <a:pt x="20" y="272"/>
                  <a:pt x="20" y="272"/>
                  <a:pt x="20" y="272"/>
                </a:cubicBezTo>
                <a:cubicBezTo>
                  <a:pt x="24" y="263"/>
                  <a:pt x="22" y="252"/>
                  <a:pt x="15" y="245"/>
                </a:cubicBezTo>
                <a:cubicBezTo>
                  <a:pt x="14" y="244"/>
                  <a:pt x="14" y="244"/>
                  <a:pt x="14" y="244"/>
                </a:cubicBezTo>
                <a:cubicBezTo>
                  <a:pt x="0" y="230"/>
                  <a:pt x="0" y="206"/>
                  <a:pt x="14" y="192"/>
                </a:cubicBezTo>
                <a:cubicBezTo>
                  <a:pt x="21" y="185"/>
                  <a:pt x="23" y="174"/>
                  <a:pt x="19" y="165"/>
                </a:cubicBezTo>
                <a:cubicBezTo>
                  <a:pt x="11" y="146"/>
                  <a:pt x="20" y="125"/>
                  <a:pt x="39" y="117"/>
                </a:cubicBezTo>
                <a:cubicBezTo>
                  <a:pt x="40" y="116"/>
                  <a:pt x="40" y="116"/>
                  <a:pt x="40" y="116"/>
                </a:cubicBezTo>
                <a:cubicBezTo>
                  <a:pt x="49" y="113"/>
                  <a:pt x="55" y="104"/>
                  <a:pt x="55" y="94"/>
                </a:cubicBezTo>
                <a:cubicBezTo>
                  <a:pt x="55" y="93"/>
                  <a:pt x="55" y="93"/>
                  <a:pt x="55" y="93"/>
                </a:cubicBezTo>
                <a:cubicBezTo>
                  <a:pt x="55" y="72"/>
                  <a:pt x="72" y="56"/>
                  <a:pt x="92" y="56"/>
                </a:cubicBezTo>
                <a:cubicBezTo>
                  <a:pt x="102" y="56"/>
                  <a:pt x="111" y="50"/>
                  <a:pt x="115" y="40"/>
                </a:cubicBezTo>
                <a:cubicBezTo>
                  <a:pt x="123" y="22"/>
                  <a:pt x="144" y="13"/>
                  <a:pt x="163" y="20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73" y="24"/>
                  <a:pt x="184" y="22"/>
                  <a:pt x="191" y="15"/>
                </a:cubicBezTo>
                <a:cubicBezTo>
                  <a:pt x="191" y="15"/>
                  <a:pt x="191" y="15"/>
                  <a:pt x="191" y="15"/>
                </a:cubicBezTo>
                <a:cubicBezTo>
                  <a:pt x="206" y="0"/>
                  <a:pt x="229" y="0"/>
                  <a:pt x="244" y="15"/>
                </a:cubicBezTo>
                <a:cubicBezTo>
                  <a:pt x="251" y="22"/>
                  <a:pt x="261" y="24"/>
                  <a:pt x="271" y="20"/>
                </a:cubicBezTo>
                <a:cubicBezTo>
                  <a:pt x="289" y="12"/>
                  <a:pt x="311" y="21"/>
                  <a:pt x="319" y="40"/>
                </a:cubicBezTo>
                <a:cubicBezTo>
                  <a:pt x="319" y="41"/>
                  <a:pt x="319" y="41"/>
                  <a:pt x="319" y="41"/>
                </a:cubicBezTo>
                <a:cubicBezTo>
                  <a:pt x="323" y="50"/>
                  <a:pt x="332" y="56"/>
                  <a:pt x="342" y="56"/>
                </a:cubicBezTo>
                <a:cubicBezTo>
                  <a:pt x="343" y="56"/>
                  <a:pt x="343" y="56"/>
                  <a:pt x="343" y="56"/>
                </a:cubicBezTo>
                <a:cubicBezTo>
                  <a:pt x="363" y="56"/>
                  <a:pt x="380" y="72"/>
                  <a:pt x="380" y="93"/>
                </a:cubicBezTo>
                <a:cubicBezTo>
                  <a:pt x="380" y="103"/>
                  <a:pt x="386" y="112"/>
                  <a:pt x="395" y="116"/>
                </a:cubicBezTo>
                <a:cubicBezTo>
                  <a:pt x="404" y="119"/>
                  <a:pt x="412" y="126"/>
                  <a:pt x="415" y="136"/>
                </a:cubicBezTo>
                <a:cubicBezTo>
                  <a:pt x="419" y="145"/>
                  <a:pt x="419" y="155"/>
                  <a:pt x="415" y="164"/>
                </a:cubicBezTo>
                <a:cubicBezTo>
                  <a:pt x="415" y="165"/>
                  <a:pt x="415" y="165"/>
                  <a:pt x="415" y="165"/>
                </a:cubicBezTo>
                <a:cubicBezTo>
                  <a:pt x="411" y="174"/>
                  <a:pt x="413" y="184"/>
                  <a:pt x="420" y="191"/>
                </a:cubicBezTo>
                <a:cubicBezTo>
                  <a:pt x="421" y="192"/>
                  <a:pt x="421" y="192"/>
                  <a:pt x="421" y="192"/>
                </a:cubicBezTo>
                <a:cubicBezTo>
                  <a:pt x="436" y="206"/>
                  <a:pt x="436" y="230"/>
                  <a:pt x="421" y="244"/>
                </a:cubicBezTo>
                <a:cubicBezTo>
                  <a:pt x="421" y="244"/>
                  <a:pt x="421" y="244"/>
                  <a:pt x="421" y="244"/>
                </a:cubicBezTo>
                <a:cubicBezTo>
                  <a:pt x="414" y="251"/>
                  <a:pt x="412" y="262"/>
                  <a:pt x="416" y="271"/>
                </a:cubicBezTo>
                <a:cubicBezTo>
                  <a:pt x="424" y="290"/>
                  <a:pt x="415" y="312"/>
                  <a:pt x="396" y="320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86" y="324"/>
                  <a:pt x="380" y="333"/>
                  <a:pt x="380" y="343"/>
                </a:cubicBezTo>
                <a:cubicBezTo>
                  <a:pt x="380" y="344"/>
                  <a:pt x="380" y="344"/>
                  <a:pt x="380" y="344"/>
                </a:cubicBezTo>
                <a:cubicBezTo>
                  <a:pt x="380" y="364"/>
                  <a:pt x="363" y="381"/>
                  <a:pt x="343" y="381"/>
                </a:cubicBezTo>
                <a:cubicBezTo>
                  <a:pt x="333" y="381"/>
                  <a:pt x="324" y="387"/>
                  <a:pt x="320" y="396"/>
                </a:cubicBezTo>
                <a:cubicBezTo>
                  <a:pt x="316" y="405"/>
                  <a:pt x="309" y="412"/>
                  <a:pt x="300" y="416"/>
                </a:cubicBezTo>
                <a:cubicBezTo>
                  <a:pt x="291" y="420"/>
                  <a:pt x="281" y="420"/>
                  <a:pt x="272" y="416"/>
                </a:cubicBezTo>
                <a:cubicBezTo>
                  <a:pt x="271" y="416"/>
                  <a:pt x="271" y="416"/>
                  <a:pt x="271" y="416"/>
                </a:cubicBezTo>
                <a:cubicBezTo>
                  <a:pt x="262" y="412"/>
                  <a:pt x="251" y="414"/>
                  <a:pt x="244" y="421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36" y="429"/>
                  <a:pt x="227" y="433"/>
                  <a:pt x="218" y="433"/>
                </a:cubicBezTo>
                <a:close/>
                <a:moveTo>
                  <a:pt x="174" y="402"/>
                </a:moveTo>
                <a:cubicBezTo>
                  <a:pt x="184" y="402"/>
                  <a:pt x="193" y="406"/>
                  <a:pt x="200" y="413"/>
                </a:cubicBezTo>
                <a:cubicBezTo>
                  <a:pt x="210" y="423"/>
                  <a:pt x="225" y="423"/>
                  <a:pt x="235" y="413"/>
                </a:cubicBezTo>
                <a:cubicBezTo>
                  <a:pt x="236" y="412"/>
                  <a:pt x="236" y="412"/>
                  <a:pt x="236" y="412"/>
                </a:cubicBezTo>
                <a:cubicBezTo>
                  <a:pt x="246" y="402"/>
                  <a:pt x="262" y="399"/>
                  <a:pt x="276" y="404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83" y="407"/>
                  <a:pt x="289" y="407"/>
                  <a:pt x="295" y="405"/>
                </a:cubicBezTo>
                <a:cubicBezTo>
                  <a:pt x="302" y="402"/>
                  <a:pt x="306" y="397"/>
                  <a:pt x="309" y="391"/>
                </a:cubicBezTo>
                <a:cubicBezTo>
                  <a:pt x="315" y="377"/>
                  <a:pt x="328" y="368"/>
                  <a:pt x="343" y="368"/>
                </a:cubicBezTo>
                <a:cubicBezTo>
                  <a:pt x="357" y="368"/>
                  <a:pt x="368" y="357"/>
                  <a:pt x="368" y="344"/>
                </a:cubicBezTo>
                <a:cubicBezTo>
                  <a:pt x="368" y="343"/>
                  <a:pt x="368" y="343"/>
                  <a:pt x="368" y="343"/>
                </a:cubicBezTo>
                <a:cubicBezTo>
                  <a:pt x="368" y="328"/>
                  <a:pt x="377" y="314"/>
                  <a:pt x="390" y="309"/>
                </a:cubicBezTo>
                <a:cubicBezTo>
                  <a:pt x="391" y="308"/>
                  <a:pt x="391" y="308"/>
                  <a:pt x="391" y="308"/>
                </a:cubicBezTo>
                <a:cubicBezTo>
                  <a:pt x="404" y="303"/>
                  <a:pt x="410" y="289"/>
                  <a:pt x="404" y="276"/>
                </a:cubicBezTo>
                <a:cubicBezTo>
                  <a:pt x="399" y="262"/>
                  <a:pt x="402" y="246"/>
                  <a:pt x="412" y="236"/>
                </a:cubicBezTo>
                <a:cubicBezTo>
                  <a:pt x="422" y="226"/>
                  <a:pt x="422" y="210"/>
                  <a:pt x="412" y="201"/>
                </a:cubicBezTo>
                <a:cubicBezTo>
                  <a:pt x="412" y="200"/>
                  <a:pt x="412" y="200"/>
                  <a:pt x="412" y="200"/>
                </a:cubicBezTo>
                <a:cubicBezTo>
                  <a:pt x="401" y="190"/>
                  <a:pt x="398" y="174"/>
                  <a:pt x="404" y="160"/>
                </a:cubicBezTo>
                <a:cubicBezTo>
                  <a:pt x="404" y="159"/>
                  <a:pt x="404" y="159"/>
                  <a:pt x="404" y="159"/>
                </a:cubicBezTo>
                <a:cubicBezTo>
                  <a:pt x="407" y="153"/>
                  <a:pt x="407" y="146"/>
                  <a:pt x="404" y="140"/>
                </a:cubicBezTo>
                <a:cubicBezTo>
                  <a:pt x="401" y="134"/>
                  <a:pt x="397" y="129"/>
                  <a:pt x="391" y="127"/>
                </a:cubicBezTo>
                <a:cubicBezTo>
                  <a:pt x="377" y="121"/>
                  <a:pt x="368" y="108"/>
                  <a:pt x="368" y="93"/>
                </a:cubicBezTo>
                <a:cubicBezTo>
                  <a:pt x="368" y="79"/>
                  <a:pt x="357" y="68"/>
                  <a:pt x="343" y="68"/>
                </a:cubicBezTo>
                <a:cubicBezTo>
                  <a:pt x="342" y="68"/>
                  <a:pt x="342" y="68"/>
                  <a:pt x="342" y="68"/>
                </a:cubicBezTo>
                <a:cubicBezTo>
                  <a:pt x="327" y="68"/>
                  <a:pt x="314" y="59"/>
                  <a:pt x="308" y="45"/>
                </a:cubicBezTo>
                <a:cubicBezTo>
                  <a:pt x="308" y="45"/>
                  <a:pt x="308" y="45"/>
                  <a:pt x="308" y="45"/>
                </a:cubicBezTo>
                <a:cubicBezTo>
                  <a:pt x="302" y="32"/>
                  <a:pt x="288" y="26"/>
                  <a:pt x="275" y="31"/>
                </a:cubicBezTo>
                <a:cubicBezTo>
                  <a:pt x="262" y="37"/>
                  <a:pt x="246" y="34"/>
                  <a:pt x="235" y="23"/>
                </a:cubicBezTo>
                <a:cubicBezTo>
                  <a:pt x="225" y="14"/>
                  <a:pt x="210" y="14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89" y="35"/>
                  <a:pt x="173" y="38"/>
                  <a:pt x="159" y="32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46" y="27"/>
                  <a:pt x="131" y="33"/>
                  <a:pt x="126" y="45"/>
                </a:cubicBezTo>
                <a:cubicBezTo>
                  <a:pt x="121" y="59"/>
                  <a:pt x="107" y="68"/>
                  <a:pt x="92" y="68"/>
                </a:cubicBezTo>
                <a:cubicBezTo>
                  <a:pt x="78" y="68"/>
                  <a:pt x="67" y="79"/>
                  <a:pt x="67" y="93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109"/>
                  <a:pt x="58" y="122"/>
                  <a:pt x="45" y="128"/>
                </a:cubicBezTo>
                <a:cubicBezTo>
                  <a:pt x="44" y="128"/>
                  <a:pt x="44" y="128"/>
                  <a:pt x="44" y="128"/>
                </a:cubicBezTo>
                <a:cubicBezTo>
                  <a:pt x="31" y="133"/>
                  <a:pt x="25" y="148"/>
                  <a:pt x="31" y="160"/>
                </a:cubicBezTo>
                <a:cubicBezTo>
                  <a:pt x="36" y="174"/>
                  <a:pt x="33" y="190"/>
                  <a:pt x="23" y="201"/>
                </a:cubicBezTo>
                <a:cubicBezTo>
                  <a:pt x="13" y="210"/>
                  <a:pt x="13" y="226"/>
                  <a:pt x="23" y="236"/>
                </a:cubicBezTo>
                <a:cubicBezTo>
                  <a:pt x="23" y="236"/>
                  <a:pt x="23" y="236"/>
                  <a:pt x="23" y="236"/>
                </a:cubicBezTo>
                <a:cubicBezTo>
                  <a:pt x="34" y="247"/>
                  <a:pt x="37" y="263"/>
                  <a:pt x="31" y="276"/>
                </a:cubicBezTo>
                <a:cubicBezTo>
                  <a:pt x="31" y="277"/>
                  <a:pt x="31" y="277"/>
                  <a:pt x="31" y="277"/>
                </a:cubicBezTo>
                <a:cubicBezTo>
                  <a:pt x="28" y="283"/>
                  <a:pt x="29" y="290"/>
                  <a:pt x="31" y="296"/>
                </a:cubicBezTo>
                <a:cubicBezTo>
                  <a:pt x="34" y="302"/>
                  <a:pt x="38" y="307"/>
                  <a:pt x="44" y="309"/>
                </a:cubicBezTo>
                <a:cubicBezTo>
                  <a:pt x="58" y="315"/>
                  <a:pt x="67" y="329"/>
                  <a:pt x="67" y="344"/>
                </a:cubicBezTo>
                <a:cubicBezTo>
                  <a:pt x="67" y="357"/>
                  <a:pt x="78" y="368"/>
                  <a:pt x="92" y="368"/>
                </a:cubicBezTo>
                <a:cubicBezTo>
                  <a:pt x="93" y="368"/>
                  <a:pt x="93" y="368"/>
                  <a:pt x="93" y="368"/>
                </a:cubicBezTo>
                <a:cubicBezTo>
                  <a:pt x="108" y="368"/>
                  <a:pt x="121" y="377"/>
                  <a:pt x="127" y="391"/>
                </a:cubicBezTo>
                <a:cubicBezTo>
                  <a:pt x="127" y="392"/>
                  <a:pt x="127" y="392"/>
                  <a:pt x="127" y="392"/>
                </a:cubicBezTo>
                <a:cubicBezTo>
                  <a:pt x="133" y="404"/>
                  <a:pt x="147" y="410"/>
                  <a:pt x="160" y="405"/>
                </a:cubicBezTo>
                <a:cubicBezTo>
                  <a:pt x="164" y="403"/>
                  <a:pt x="169" y="402"/>
                  <a:pt x="174" y="402"/>
                </a:cubicBezTo>
                <a:close/>
                <a:moveTo>
                  <a:pt x="417" y="240"/>
                </a:moveTo>
                <a:cubicBezTo>
                  <a:pt x="417" y="240"/>
                  <a:pt x="417" y="240"/>
                  <a:pt x="417" y="2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7" name="Shape5_20220427_135811">
            <a:extLst>
              <a:ext uri="{FF2B5EF4-FFF2-40B4-BE49-F238E27FC236}">
                <a16:creationId xmlns:a16="http://schemas.microsoft.com/office/drawing/2014/main" id="{B8BF5284-2203-D3C6-FF69-DBF8BAE36844}"/>
              </a:ext>
            </a:extLst>
          </p:cNvPr>
          <p:cNvSpPr txBox="1">
            <a:spLocks/>
          </p:cNvSpPr>
          <p:nvPr/>
        </p:nvSpPr>
        <p:spPr>
          <a:xfrm>
            <a:off x="6276489" y="2841227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18" name="Shape6_20220427_135811">
            <a:extLst>
              <a:ext uri="{FF2B5EF4-FFF2-40B4-BE49-F238E27FC236}">
                <a16:creationId xmlns:a16="http://schemas.microsoft.com/office/drawing/2014/main" id="{60E13F27-B455-0BA9-10BB-0E4DB0319C03}"/>
              </a:ext>
            </a:extLst>
          </p:cNvPr>
          <p:cNvSpPr txBox="1">
            <a:spLocks/>
          </p:cNvSpPr>
          <p:nvPr/>
        </p:nvSpPr>
        <p:spPr>
          <a:xfrm>
            <a:off x="6276489" y="3071147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9" name="Shape3_20221012_144847">
            <a:extLst>
              <a:ext uri="{FF2B5EF4-FFF2-40B4-BE49-F238E27FC236}">
                <a16:creationId xmlns:a16="http://schemas.microsoft.com/office/drawing/2014/main" id="{9CE0A1A0-C025-33BA-BCF1-A217FDA9A0B0}"/>
              </a:ext>
            </a:extLst>
          </p:cNvPr>
          <p:cNvSpPr/>
          <p:nvPr/>
        </p:nvSpPr>
        <p:spPr>
          <a:xfrm>
            <a:off x="5168003" y="2619946"/>
            <a:ext cx="855949" cy="85594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20" name="Shape7_20220427_135811">
            <a:extLst>
              <a:ext uri="{FF2B5EF4-FFF2-40B4-BE49-F238E27FC236}">
                <a16:creationId xmlns:a16="http://schemas.microsoft.com/office/drawing/2014/main" id="{413C3A8B-89B2-1837-1F63-CC4E1677D8FB}"/>
              </a:ext>
            </a:extLst>
          </p:cNvPr>
          <p:cNvSpPr txBox="1">
            <a:spLocks/>
          </p:cNvSpPr>
          <p:nvPr/>
        </p:nvSpPr>
        <p:spPr>
          <a:xfrm>
            <a:off x="9936937" y="2841227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21" name="Shape0_20220427_135811">
            <a:extLst>
              <a:ext uri="{FF2B5EF4-FFF2-40B4-BE49-F238E27FC236}">
                <a16:creationId xmlns:a16="http://schemas.microsoft.com/office/drawing/2014/main" id="{ED1FEC6F-6F94-591B-5C8B-409C16C7627C}"/>
              </a:ext>
            </a:extLst>
          </p:cNvPr>
          <p:cNvSpPr txBox="1">
            <a:spLocks/>
          </p:cNvSpPr>
          <p:nvPr/>
        </p:nvSpPr>
        <p:spPr>
          <a:xfrm>
            <a:off x="9936937" y="3071147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2" name="Shape4_20221012_144847">
            <a:extLst>
              <a:ext uri="{FF2B5EF4-FFF2-40B4-BE49-F238E27FC236}">
                <a16:creationId xmlns:a16="http://schemas.microsoft.com/office/drawing/2014/main" id="{A92F9083-5F7D-6229-EEC7-7EAE4B3D341D}"/>
              </a:ext>
            </a:extLst>
          </p:cNvPr>
          <p:cNvSpPr/>
          <p:nvPr/>
        </p:nvSpPr>
        <p:spPr>
          <a:xfrm>
            <a:off x="8828446" y="2619946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prstClr val="white"/>
              </a:solidFill>
            </a:endParaRPr>
          </a:p>
        </p:txBody>
      </p:sp>
      <p:sp>
        <p:nvSpPr>
          <p:cNvPr id="23" name="Freeform 1532">
            <a:extLst>
              <a:ext uri="{FF2B5EF4-FFF2-40B4-BE49-F238E27FC236}">
                <a16:creationId xmlns:a16="http://schemas.microsoft.com/office/drawing/2014/main" id="{4E6FBBE1-E859-8F3B-68C7-F10B346FA144}"/>
              </a:ext>
            </a:extLst>
          </p:cNvPr>
          <p:cNvSpPr>
            <a:spLocks noEditPoints="1"/>
          </p:cNvSpPr>
          <p:nvPr/>
        </p:nvSpPr>
        <p:spPr bwMode="auto">
          <a:xfrm>
            <a:off x="5691394" y="3141750"/>
            <a:ext cx="125778" cy="123682"/>
          </a:xfrm>
          <a:custGeom>
            <a:avLst/>
            <a:gdLst>
              <a:gd name="T0" fmla="*/ 16 w 41"/>
              <a:gd name="T1" fmla="*/ 41 h 41"/>
              <a:gd name="T2" fmla="*/ 13 w 41"/>
              <a:gd name="T3" fmla="*/ 40 h 41"/>
              <a:gd name="T4" fmla="*/ 1 w 41"/>
              <a:gd name="T5" fmla="*/ 28 h 41"/>
              <a:gd name="T6" fmla="*/ 0 w 41"/>
              <a:gd name="T7" fmla="*/ 24 h 41"/>
              <a:gd name="T8" fmla="*/ 5 w 41"/>
              <a:gd name="T9" fmla="*/ 7 h 41"/>
              <a:gd name="T10" fmla="*/ 7 w 41"/>
              <a:gd name="T11" fmla="*/ 5 h 41"/>
              <a:gd name="T12" fmla="*/ 24 w 41"/>
              <a:gd name="T13" fmla="*/ 0 h 41"/>
              <a:gd name="T14" fmla="*/ 28 w 41"/>
              <a:gd name="T15" fmla="*/ 1 h 41"/>
              <a:gd name="T16" fmla="*/ 40 w 41"/>
              <a:gd name="T17" fmla="*/ 14 h 41"/>
              <a:gd name="T18" fmla="*/ 40 w 41"/>
              <a:gd name="T19" fmla="*/ 14 h 41"/>
              <a:gd name="T20" fmla="*/ 41 w 41"/>
              <a:gd name="T21" fmla="*/ 17 h 41"/>
              <a:gd name="T22" fmla="*/ 36 w 41"/>
              <a:gd name="T23" fmla="*/ 34 h 41"/>
              <a:gd name="T24" fmla="*/ 34 w 41"/>
              <a:gd name="T25" fmla="*/ 37 h 41"/>
              <a:gd name="T26" fmla="*/ 17 w 41"/>
              <a:gd name="T27" fmla="*/ 41 h 41"/>
              <a:gd name="T28" fmla="*/ 16 w 41"/>
              <a:gd name="T29" fmla="*/ 41 h 41"/>
              <a:gd name="T30" fmla="*/ 5 w 41"/>
              <a:gd name="T31" fmla="*/ 25 h 41"/>
              <a:gd name="T32" fmla="*/ 16 w 41"/>
              <a:gd name="T33" fmla="*/ 36 h 41"/>
              <a:gd name="T34" fmla="*/ 32 w 41"/>
              <a:gd name="T35" fmla="*/ 32 h 41"/>
              <a:gd name="T36" fmla="*/ 36 w 41"/>
              <a:gd name="T37" fmla="*/ 17 h 41"/>
              <a:gd name="T38" fmla="*/ 25 w 41"/>
              <a:gd name="T39" fmla="*/ 5 h 41"/>
              <a:gd name="T40" fmla="*/ 9 w 41"/>
              <a:gd name="T41" fmla="*/ 9 h 41"/>
              <a:gd name="T42" fmla="*/ 5 w 41"/>
              <a:gd name="T43" fmla="*/ 25 h 41"/>
              <a:gd name="T44" fmla="*/ 32 w 41"/>
              <a:gd name="T45" fmla="*/ 33 h 41"/>
              <a:gd name="T46" fmla="*/ 32 w 41"/>
              <a:gd name="T47" fmla="*/ 33 h 41"/>
              <a:gd name="T48" fmla="*/ 5 w 41"/>
              <a:gd name="T49" fmla="*/ 26 h 41"/>
              <a:gd name="T50" fmla="*/ 5 w 41"/>
              <a:gd name="T51" fmla="*/ 26 h 41"/>
              <a:gd name="T52" fmla="*/ 5 w 41"/>
              <a:gd name="T53" fmla="*/ 26 h 41"/>
              <a:gd name="T54" fmla="*/ 36 w 41"/>
              <a:gd name="T55" fmla="*/ 16 h 41"/>
              <a:gd name="T56" fmla="*/ 36 w 41"/>
              <a:gd name="T57" fmla="*/ 16 h 41"/>
              <a:gd name="T58" fmla="*/ 9 w 41"/>
              <a:gd name="T59" fmla="*/ 9 h 41"/>
              <a:gd name="T60" fmla="*/ 9 w 41"/>
              <a:gd name="T61" fmla="*/ 9 h 41"/>
              <a:gd name="T62" fmla="*/ 9 w 41"/>
              <a:gd name="T63" fmla="*/ 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" h="41">
                <a:moveTo>
                  <a:pt x="16" y="41"/>
                </a:moveTo>
                <a:cubicBezTo>
                  <a:pt x="15" y="41"/>
                  <a:pt x="14" y="41"/>
                  <a:pt x="13" y="4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27"/>
                  <a:pt x="0" y="26"/>
                  <a:pt x="0" y="24"/>
                </a:cubicBezTo>
                <a:cubicBezTo>
                  <a:pt x="5" y="7"/>
                  <a:pt x="5" y="7"/>
                  <a:pt x="5" y="7"/>
                </a:cubicBezTo>
                <a:cubicBezTo>
                  <a:pt x="5" y="6"/>
                  <a:pt x="6" y="5"/>
                  <a:pt x="7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0"/>
                  <a:pt x="28" y="1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0" y="14"/>
                </a:cubicBezTo>
                <a:cubicBezTo>
                  <a:pt x="41" y="15"/>
                  <a:pt x="41" y="16"/>
                  <a:pt x="41" y="17"/>
                </a:cubicBezTo>
                <a:cubicBezTo>
                  <a:pt x="36" y="34"/>
                  <a:pt x="36" y="34"/>
                  <a:pt x="36" y="34"/>
                </a:cubicBezTo>
                <a:cubicBezTo>
                  <a:pt x="36" y="35"/>
                  <a:pt x="35" y="36"/>
                  <a:pt x="34" y="37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1"/>
                  <a:pt x="16" y="41"/>
                  <a:pt x="16" y="41"/>
                </a:cubicBezTo>
                <a:close/>
                <a:moveTo>
                  <a:pt x="5" y="25"/>
                </a:moveTo>
                <a:cubicBezTo>
                  <a:pt x="16" y="36"/>
                  <a:pt x="16" y="36"/>
                  <a:pt x="16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6" y="17"/>
                  <a:pt x="36" y="17"/>
                  <a:pt x="36" y="17"/>
                </a:cubicBezTo>
                <a:cubicBezTo>
                  <a:pt x="25" y="5"/>
                  <a:pt x="25" y="5"/>
                  <a:pt x="25" y="5"/>
                </a:cubicBezTo>
                <a:cubicBezTo>
                  <a:pt x="9" y="9"/>
                  <a:pt x="9" y="9"/>
                  <a:pt x="9" y="9"/>
                </a:cubicBezTo>
                <a:lnTo>
                  <a:pt x="5" y="25"/>
                </a:lnTo>
                <a:close/>
                <a:moveTo>
                  <a:pt x="32" y="33"/>
                </a:moveTo>
                <a:cubicBezTo>
                  <a:pt x="32" y="33"/>
                  <a:pt x="32" y="33"/>
                  <a:pt x="32" y="33"/>
                </a:cubicBezTo>
                <a:close/>
                <a:moveTo>
                  <a:pt x="5" y="26"/>
                </a:moveTo>
                <a:cubicBezTo>
                  <a:pt x="5" y="26"/>
                  <a:pt x="5" y="26"/>
                  <a:pt x="5" y="26"/>
                </a:cubicBezTo>
                <a:cubicBezTo>
                  <a:pt x="5" y="26"/>
                  <a:pt x="5" y="26"/>
                  <a:pt x="5" y="26"/>
                </a:cubicBezTo>
                <a:close/>
                <a:moveTo>
                  <a:pt x="36" y="16"/>
                </a:moveTo>
                <a:cubicBezTo>
                  <a:pt x="36" y="16"/>
                  <a:pt x="36" y="16"/>
                  <a:pt x="36" y="16"/>
                </a:cubicBezTo>
                <a:close/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4" name="Freeform 1533">
            <a:extLst>
              <a:ext uri="{FF2B5EF4-FFF2-40B4-BE49-F238E27FC236}">
                <a16:creationId xmlns:a16="http://schemas.microsoft.com/office/drawing/2014/main" id="{771C004E-70AB-FF83-EA67-512A9A4CA514}"/>
              </a:ext>
            </a:extLst>
          </p:cNvPr>
          <p:cNvSpPr>
            <a:spLocks/>
          </p:cNvSpPr>
          <p:nvPr/>
        </p:nvSpPr>
        <p:spPr bwMode="auto">
          <a:xfrm>
            <a:off x="5344423" y="2798425"/>
            <a:ext cx="140959" cy="138609"/>
          </a:xfrm>
          <a:custGeom>
            <a:avLst/>
            <a:gdLst>
              <a:gd name="T0" fmla="*/ 18 w 46"/>
              <a:gd name="T1" fmla="*/ 46 h 46"/>
              <a:gd name="T2" fmla="*/ 16 w 46"/>
              <a:gd name="T3" fmla="*/ 45 h 46"/>
              <a:gd name="T4" fmla="*/ 1 w 46"/>
              <a:gd name="T5" fmla="*/ 30 h 46"/>
              <a:gd name="T6" fmla="*/ 1 w 46"/>
              <a:gd name="T7" fmla="*/ 26 h 46"/>
              <a:gd name="T8" fmla="*/ 5 w 46"/>
              <a:gd name="T9" fmla="*/ 26 h 46"/>
              <a:gd name="T10" fmla="*/ 19 w 46"/>
              <a:gd name="T11" fmla="*/ 41 h 46"/>
              <a:gd name="T12" fmla="*/ 36 w 46"/>
              <a:gd name="T13" fmla="*/ 36 h 46"/>
              <a:gd name="T14" fmla="*/ 40 w 46"/>
              <a:gd name="T15" fmla="*/ 19 h 46"/>
              <a:gd name="T16" fmla="*/ 26 w 46"/>
              <a:gd name="T17" fmla="*/ 5 h 46"/>
              <a:gd name="T18" fmla="*/ 26 w 46"/>
              <a:gd name="T19" fmla="*/ 1 h 46"/>
              <a:gd name="T20" fmla="*/ 30 w 46"/>
              <a:gd name="T21" fmla="*/ 1 h 46"/>
              <a:gd name="T22" fmla="*/ 45 w 46"/>
              <a:gd name="T23" fmla="*/ 17 h 46"/>
              <a:gd name="T24" fmla="*/ 45 w 46"/>
              <a:gd name="T25" fmla="*/ 19 h 46"/>
              <a:gd name="T26" fmla="*/ 40 w 46"/>
              <a:gd name="T27" fmla="*/ 39 h 46"/>
              <a:gd name="T28" fmla="*/ 38 w 46"/>
              <a:gd name="T29" fmla="*/ 40 h 46"/>
              <a:gd name="T30" fmla="*/ 19 w 46"/>
              <a:gd name="T31" fmla="*/ 46 h 46"/>
              <a:gd name="T32" fmla="*/ 18 w 46"/>
              <a:gd name="T33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46">
                <a:moveTo>
                  <a:pt x="18" y="46"/>
                </a:moveTo>
                <a:cubicBezTo>
                  <a:pt x="18" y="46"/>
                  <a:pt x="17" y="46"/>
                  <a:pt x="16" y="45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29"/>
                  <a:pt x="0" y="27"/>
                  <a:pt x="1" y="26"/>
                </a:cubicBezTo>
                <a:cubicBezTo>
                  <a:pt x="2" y="25"/>
                  <a:pt x="4" y="25"/>
                  <a:pt x="5" y="26"/>
                </a:cubicBezTo>
                <a:cubicBezTo>
                  <a:pt x="19" y="41"/>
                  <a:pt x="19" y="41"/>
                  <a:pt x="19" y="41"/>
                </a:cubicBezTo>
                <a:cubicBezTo>
                  <a:pt x="36" y="36"/>
                  <a:pt x="36" y="36"/>
                  <a:pt x="36" y="36"/>
                </a:cubicBezTo>
                <a:cubicBezTo>
                  <a:pt x="40" y="19"/>
                  <a:pt x="40" y="19"/>
                  <a:pt x="40" y="19"/>
                </a:cubicBezTo>
                <a:cubicBezTo>
                  <a:pt x="26" y="5"/>
                  <a:pt x="26" y="5"/>
                  <a:pt x="26" y="5"/>
                </a:cubicBezTo>
                <a:cubicBezTo>
                  <a:pt x="25" y="4"/>
                  <a:pt x="25" y="2"/>
                  <a:pt x="26" y="1"/>
                </a:cubicBezTo>
                <a:cubicBezTo>
                  <a:pt x="27" y="0"/>
                  <a:pt x="29" y="0"/>
                  <a:pt x="30" y="1"/>
                </a:cubicBezTo>
                <a:cubicBezTo>
                  <a:pt x="45" y="17"/>
                  <a:pt x="45" y="17"/>
                  <a:pt x="45" y="17"/>
                </a:cubicBezTo>
                <a:cubicBezTo>
                  <a:pt x="45" y="17"/>
                  <a:pt x="46" y="18"/>
                  <a:pt x="45" y="1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40"/>
                  <a:pt x="39" y="40"/>
                  <a:pt x="38" y="40"/>
                </a:cubicBezTo>
                <a:cubicBezTo>
                  <a:pt x="19" y="46"/>
                  <a:pt x="19" y="46"/>
                  <a:pt x="19" y="46"/>
                </a:cubicBezTo>
                <a:cubicBezTo>
                  <a:pt x="19" y="46"/>
                  <a:pt x="18" y="46"/>
                  <a:pt x="18" y="4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5" name="Freeform 1534">
            <a:extLst>
              <a:ext uri="{FF2B5EF4-FFF2-40B4-BE49-F238E27FC236}">
                <a16:creationId xmlns:a16="http://schemas.microsoft.com/office/drawing/2014/main" id="{6AE5FF4D-FCD4-5434-C3D1-23189A9FA069}"/>
              </a:ext>
            </a:extLst>
          </p:cNvPr>
          <p:cNvSpPr>
            <a:spLocks/>
          </p:cNvSpPr>
          <p:nvPr/>
        </p:nvSpPr>
        <p:spPr bwMode="auto">
          <a:xfrm>
            <a:off x="5340089" y="2873063"/>
            <a:ext cx="158307" cy="121550"/>
          </a:xfrm>
          <a:custGeom>
            <a:avLst/>
            <a:gdLst>
              <a:gd name="T0" fmla="*/ 33 w 51"/>
              <a:gd name="T1" fmla="*/ 40 h 40"/>
              <a:gd name="T2" fmla="*/ 11 w 51"/>
              <a:gd name="T3" fmla="*/ 30 h 40"/>
              <a:gd name="T4" fmla="*/ 1 w 51"/>
              <a:gd name="T5" fmla="*/ 3 h 40"/>
              <a:gd name="T6" fmla="*/ 4 w 51"/>
              <a:gd name="T7" fmla="*/ 1 h 40"/>
              <a:gd name="T8" fmla="*/ 6 w 51"/>
              <a:gd name="T9" fmla="*/ 3 h 40"/>
              <a:gd name="T10" fmla="*/ 14 w 51"/>
              <a:gd name="T11" fmla="*/ 27 h 40"/>
              <a:gd name="T12" fmla="*/ 47 w 51"/>
              <a:gd name="T13" fmla="*/ 31 h 40"/>
              <a:gd name="T14" fmla="*/ 50 w 51"/>
              <a:gd name="T15" fmla="*/ 32 h 40"/>
              <a:gd name="T16" fmla="*/ 50 w 51"/>
              <a:gd name="T17" fmla="*/ 35 h 40"/>
              <a:gd name="T18" fmla="*/ 33 w 51"/>
              <a:gd name="T1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" h="40">
                <a:moveTo>
                  <a:pt x="33" y="40"/>
                </a:moveTo>
                <a:cubicBezTo>
                  <a:pt x="25" y="40"/>
                  <a:pt x="17" y="36"/>
                  <a:pt x="11" y="30"/>
                </a:cubicBezTo>
                <a:cubicBezTo>
                  <a:pt x="3" y="23"/>
                  <a:pt x="0" y="13"/>
                  <a:pt x="1" y="3"/>
                </a:cubicBezTo>
                <a:cubicBezTo>
                  <a:pt x="2" y="1"/>
                  <a:pt x="3" y="0"/>
                  <a:pt x="4" y="1"/>
                </a:cubicBezTo>
                <a:cubicBezTo>
                  <a:pt x="6" y="1"/>
                  <a:pt x="7" y="2"/>
                  <a:pt x="6" y="3"/>
                </a:cubicBezTo>
                <a:cubicBezTo>
                  <a:pt x="5" y="12"/>
                  <a:pt x="8" y="21"/>
                  <a:pt x="14" y="27"/>
                </a:cubicBezTo>
                <a:cubicBezTo>
                  <a:pt x="23" y="36"/>
                  <a:pt x="36" y="37"/>
                  <a:pt x="47" y="31"/>
                </a:cubicBezTo>
                <a:cubicBezTo>
                  <a:pt x="48" y="30"/>
                  <a:pt x="50" y="31"/>
                  <a:pt x="50" y="32"/>
                </a:cubicBezTo>
                <a:cubicBezTo>
                  <a:pt x="51" y="33"/>
                  <a:pt x="51" y="34"/>
                  <a:pt x="50" y="35"/>
                </a:cubicBezTo>
                <a:cubicBezTo>
                  <a:pt x="45" y="38"/>
                  <a:pt x="39" y="40"/>
                  <a:pt x="33" y="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6" name="Freeform 1535">
            <a:extLst>
              <a:ext uri="{FF2B5EF4-FFF2-40B4-BE49-F238E27FC236}">
                <a16:creationId xmlns:a16="http://schemas.microsoft.com/office/drawing/2014/main" id="{E72EE69F-7984-C580-63FF-F188EA3318A6}"/>
              </a:ext>
            </a:extLst>
          </p:cNvPr>
          <p:cNvSpPr>
            <a:spLocks/>
          </p:cNvSpPr>
          <p:nvPr/>
        </p:nvSpPr>
        <p:spPr bwMode="auto">
          <a:xfrm>
            <a:off x="5420326" y="2794161"/>
            <a:ext cx="130113" cy="155668"/>
          </a:xfrm>
          <a:custGeom>
            <a:avLst/>
            <a:gdLst>
              <a:gd name="T0" fmla="*/ 33 w 42"/>
              <a:gd name="T1" fmla="*/ 51 h 51"/>
              <a:gd name="T2" fmla="*/ 31 w 42"/>
              <a:gd name="T3" fmla="*/ 51 h 51"/>
              <a:gd name="T4" fmla="*/ 31 w 42"/>
              <a:gd name="T5" fmla="*/ 47 h 51"/>
              <a:gd name="T6" fmla="*/ 26 w 42"/>
              <a:gd name="T7" fmla="*/ 14 h 51"/>
              <a:gd name="T8" fmla="*/ 3 w 42"/>
              <a:gd name="T9" fmla="*/ 7 h 51"/>
              <a:gd name="T10" fmla="*/ 0 w 42"/>
              <a:gd name="T11" fmla="*/ 5 h 51"/>
              <a:gd name="T12" fmla="*/ 2 w 42"/>
              <a:gd name="T13" fmla="*/ 2 h 51"/>
              <a:gd name="T14" fmla="*/ 30 w 42"/>
              <a:gd name="T15" fmla="*/ 11 h 51"/>
              <a:gd name="T16" fmla="*/ 35 w 42"/>
              <a:gd name="T17" fmla="*/ 50 h 51"/>
              <a:gd name="T18" fmla="*/ 33 w 42"/>
              <a:gd name="T19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51">
                <a:moveTo>
                  <a:pt x="33" y="51"/>
                </a:moveTo>
                <a:cubicBezTo>
                  <a:pt x="32" y="51"/>
                  <a:pt x="32" y="51"/>
                  <a:pt x="31" y="51"/>
                </a:cubicBezTo>
                <a:cubicBezTo>
                  <a:pt x="30" y="50"/>
                  <a:pt x="30" y="49"/>
                  <a:pt x="31" y="47"/>
                </a:cubicBezTo>
                <a:cubicBezTo>
                  <a:pt x="37" y="37"/>
                  <a:pt x="35" y="23"/>
                  <a:pt x="26" y="14"/>
                </a:cubicBezTo>
                <a:cubicBezTo>
                  <a:pt x="20" y="8"/>
                  <a:pt x="12" y="5"/>
                  <a:pt x="3" y="7"/>
                </a:cubicBezTo>
                <a:cubicBezTo>
                  <a:pt x="2" y="7"/>
                  <a:pt x="1" y="6"/>
                  <a:pt x="0" y="5"/>
                </a:cubicBezTo>
                <a:cubicBezTo>
                  <a:pt x="0" y="3"/>
                  <a:pt x="1" y="2"/>
                  <a:pt x="2" y="2"/>
                </a:cubicBezTo>
                <a:cubicBezTo>
                  <a:pt x="12" y="0"/>
                  <a:pt x="23" y="4"/>
                  <a:pt x="30" y="11"/>
                </a:cubicBezTo>
                <a:cubicBezTo>
                  <a:pt x="40" y="21"/>
                  <a:pt x="42" y="37"/>
                  <a:pt x="35" y="50"/>
                </a:cubicBezTo>
                <a:cubicBezTo>
                  <a:pt x="34" y="51"/>
                  <a:pt x="34" y="51"/>
                  <a:pt x="33" y="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7" name="Freeform 1536">
            <a:extLst>
              <a:ext uri="{FF2B5EF4-FFF2-40B4-BE49-F238E27FC236}">
                <a16:creationId xmlns:a16="http://schemas.microsoft.com/office/drawing/2014/main" id="{9B148B12-D0ED-244D-AD52-BCE94FFC1992}"/>
              </a:ext>
            </a:extLst>
          </p:cNvPr>
          <p:cNvSpPr>
            <a:spLocks/>
          </p:cNvSpPr>
          <p:nvPr/>
        </p:nvSpPr>
        <p:spPr bwMode="auto">
          <a:xfrm>
            <a:off x="5483212" y="2969021"/>
            <a:ext cx="80239" cy="74636"/>
          </a:xfrm>
          <a:custGeom>
            <a:avLst/>
            <a:gdLst>
              <a:gd name="T0" fmla="*/ 23 w 26"/>
              <a:gd name="T1" fmla="*/ 25 h 25"/>
              <a:gd name="T2" fmla="*/ 21 w 26"/>
              <a:gd name="T3" fmla="*/ 25 h 25"/>
              <a:gd name="T4" fmla="*/ 1 w 26"/>
              <a:gd name="T5" fmla="*/ 4 h 25"/>
              <a:gd name="T6" fmla="*/ 1 w 26"/>
              <a:gd name="T7" fmla="*/ 1 h 25"/>
              <a:gd name="T8" fmla="*/ 5 w 26"/>
              <a:gd name="T9" fmla="*/ 1 h 25"/>
              <a:gd name="T10" fmla="*/ 25 w 26"/>
              <a:gd name="T11" fmla="*/ 21 h 25"/>
              <a:gd name="T12" fmla="*/ 25 w 26"/>
              <a:gd name="T13" fmla="*/ 25 h 25"/>
              <a:gd name="T14" fmla="*/ 23 w 26"/>
              <a:gd name="T1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25">
                <a:moveTo>
                  <a:pt x="23" y="25"/>
                </a:moveTo>
                <a:cubicBezTo>
                  <a:pt x="23" y="25"/>
                  <a:pt x="22" y="25"/>
                  <a:pt x="21" y="25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2"/>
                  <a:pt x="26" y="24"/>
                  <a:pt x="25" y="25"/>
                </a:cubicBezTo>
                <a:cubicBezTo>
                  <a:pt x="24" y="25"/>
                  <a:pt x="24" y="25"/>
                  <a:pt x="23" y="2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8" name="Freeform 1537">
            <a:extLst>
              <a:ext uri="{FF2B5EF4-FFF2-40B4-BE49-F238E27FC236}">
                <a16:creationId xmlns:a16="http://schemas.microsoft.com/office/drawing/2014/main" id="{48A0E296-D90B-3499-FAD0-AC6AEAE29B94}"/>
              </a:ext>
            </a:extLst>
          </p:cNvPr>
          <p:cNvSpPr>
            <a:spLocks/>
          </p:cNvSpPr>
          <p:nvPr/>
        </p:nvSpPr>
        <p:spPr bwMode="auto">
          <a:xfrm>
            <a:off x="5602484" y="3086305"/>
            <a:ext cx="82406" cy="78901"/>
          </a:xfrm>
          <a:custGeom>
            <a:avLst/>
            <a:gdLst>
              <a:gd name="T0" fmla="*/ 24 w 27"/>
              <a:gd name="T1" fmla="*/ 26 h 26"/>
              <a:gd name="T2" fmla="*/ 22 w 27"/>
              <a:gd name="T3" fmla="*/ 26 h 26"/>
              <a:gd name="T4" fmla="*/ 1 w 27"/>
              <a:gd name="T5" fmla="*/ 4 h 26"/>
              <a:gd name="T6" fmla="*/ 1 w 27"/>
              <a:gd name="T7" fmla="*/ 1 h 26"/>
              <a:gd name="T8" fmla="*/ 5 w 27"/>
              <a:gd name="T9" fmla="*/ 1 h 26"/>
              <a:gd name="T10" fmla="*/ 26 w 27"/>
              <a:gd name="T11" fmla="*/ 22 h 26"/>
              <a:gd name="T12" fmla="*/ 26 w 27"/>
              <a:gd name="T13" fmla="*/ 26 h 26"/>
              <a:gd name="T14" fmla="*/ 24 w 27"/>
              <a:gd name="T15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6">
                <a:moveTo>
                  <a:pt x="24" y="26"/>
                </a:moveTo>
                <a:cubicBezTo>
                  <a:pt x="24" y="26"/>
                  <a:pt x="23" y="26"/>
                  <a:pt x="22" y="26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6" y="22"/>
                  <a:pt x="26" y="22"/>
                  <a:pt x="26" y="22"/>
                </a:cubicBezTo>
                <a:cubicBezTo>
                  <a:pt x="27" y="23"/>
                  <a:pt x="27" y="25"/>
                  <a:pt x="26" y="26"/>
                </a:cubicBezTo>
                <a:cubicBezTo>
                  <a:pt x="25" y="26"/>
                  <a:pt x="25" y="26"/>
                  <a:pt x="24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1" name="Freeform 1538">
            <a:extLst>
              <a:ext uri="{FF2B5EF4-FFF2-40B4-BE49-F238E27FC236}">
                <a16:creationId xmlns:a16="http://schemas.microsoft.com/office/drawing/2014/main" id="{7FA2C422-050E-385E-D91A-5964A5CCC937}"/>
              </a:ext>
            </a:extLst>
          </p:cNvPr>
          <p:cNvSpPr>
            <a:spLocks/>
          </p:cNvSpPr>
          <p:nvPr/>
        </p:nvSpPr>
        <p:spPr bwMode="auto">
          <a:xfrm>
            <a:off x="5515743" y="2937035"/>
            <a:ext cx="201677" cy="198317"/>
          </a:xfrm>
          <a:custGeom>
            <a:avLst/>
            <a:gdLst>
              <a:gd name="T0" fmla="*/ 63 w 65"/>
              <a:gd name="T1" fmla="*/ 65 h 65"/>
              <a:gd name="T2" fmla="*/ 61 w 65"/>
              <a:gd name="T3" fmla="*/ 64 h 65"/>
              <a:gd name="T4" fmla="*/ 1 w 65"/>
              <a:gd name="T5" fmla="*/ 4 h 65"/>
              <a:gd name="T6" fmla="*/ 1 w 65"/>
              <a:gd name="T7" fmla="*/ 1 h 65"/>
              <a:gd name="T8" fmla="*/ 4 w 65"/>
              <a:gd name="T9" fmla="*/ 1 h 65"/>
              <a:gd name="T10" fmla="*/ 64 w 65"/>
              <a:gd name="T11" fmla="*/ 61 h 65"/>
              <a:gd name="T12" fmla="*/ 64 w 65"/>
              <a:gd name="T13" fmla="*/ 64 h 65"/>
              <a:gd name="T14" fmla="*/ 63 w 65"/>
              <a:gd name="T15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" h="65">
                <a:moveTo>
                  <a:pt x="63" y="65"/>
                </a:moveTo>
                <a:cubicBezTo>
                  <a:pt x="62" y="65"/>
                  <a:pt x="61" y="65"/>
                  <a:pt x="61" y="64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64" y="61"/>
                  <a:pt x="64" y="61"/>
                  <a:pt x="64" y="61"/>
                </a:cubicBezTo>
                <a:cubicBezTo>
                  <a:pt x="65" y="62"/>
                  <a:pt x="65" y="63"/>
                  <a:pt x="64" y="64"/>
                </a:cubicBezTo>
                <a:cubicBezTo>
                  <a:pt x="64" y="65"/>
                  <a:pt x="63" y="65"/>
                  <a:pt x="63" y="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2" name="Freeform 1539">
            <a:extLst>
              <a:ext uri="{FF2B5EF4-FFF2-40B4-BE49-F238E27FC236}">
                <a16:creationId xmlns:a16="http://schemas.microsoft.com/office/drawing/2014/main" id="{AFF35DDC-C34E-5065-4CEE-4780379394AA}"/>
              </a:ext>
            </a:extLst>
          </p:cNvPr>
          <p:cNvSpPr>
            <a:spLocks/>
          </p:cNvSpPr>
          <p:nvPr/>
        </p:nvSpPr>
        <p:spPr bwMode="auto">
          <a:xfrm>
            <a:off x="5648022" y="3099102"/>
            <a:ext cx="203847" cy="202583"/>
          </a:xfrm>
          <a:custGeom>
            <a:avLst/>
            <a:gdLst>
              <a:gd name="T0" fmla="*/ 34 w 66"/>
              <a:gd name="T1" fmla="*/ 67 h 67"/>
              <a:gd name="T2" fmla="*/ 12 w 66"/>
              <a:gd name="T3" fmla="*/ 57 h 67"/>
              <a:gd name="T4" fmla="*/ 7 w 66"/>
              <a:gd name="T5" fmla="*/ 19 h 67"/>
              <a:gd name="T6" fmla="*/ 10 w 66"/>
              <a:gd name="T7" fmla="*/ 18 h 67"/>
              <a:gd name="T8" fmla="*/ 11 w 66"/>
              <a:gd name="T9" fmla="*/ 21 h 67"/>
              <a:gd name="T10" fmla="*/ 16 w 66"/>
              <a:gd name="T11" fmla="*/ 54 h 67"/>
              <a:gd name="T12" fmla="*/ 34 w 66"/>
              <a:gd name="T13" fmla="*/ 62 h 67"/>
              <a:gd name="T14" fmla="*/ 53 w 66"/>
              <a:gd name="T15" fmla="*/ 54 h 67"/>
              <a:gd name="T16" fmla="*/ 61 w 66"/>
              <a:gd name="T17" fmla="*/ 35 h 67"/>
              <a:gd name="T18" fmla="*/ 53 w 66"/>
              <a:gd name="T19" fmla="*/ 16 h 67"/>
              <a:gd name="T20" fmla="*/ 21 w 66"/>
              <a:gd name="T21" fmla="*/ 12 h 67"/>
              <a:gd name="T22" fmla="*/ 18 w 66"/>
              <a:gd name="T23" fmla="*/ 11 h 67"/>
              <a:gd name="T24" fmla="*/ 18 w 66"/>
              <a:gd name="T25" fmla="*/ 7 h 67"/>
              <a:gd name="T26" fmla="*/ 57 w 66"/>
              <a:gd name="T27" fmla="*/ 12 h 67"/>
              <a:gd name="T28" fmla="*/ 66 w 66"/>
              <a:gd name="T29" fmla="*/ 35 h 67"/>
              <a:gd name="T30" fmla="*/ 57 w 66"/>
              <a:gd name="T31" fmla="*/ 57 h 67"/>
              <a:gd name="T32" fmla="*/ 34 w 66"/>
              <a:gd name="T33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6" h="67">
                <a:moveTo>
                  <a:pt x="34" y="67"/>
                </a:moveTo>
                <a:cubicBezTo>
                  <a:pt x="26" y="67"/>
                  <a:pt x="18" y="63"/>
                  <a:pt x="12" y="57"/>
                </a:cubicBezTo>
                <a:cubicBezTo>
                  <a:pt x="2" y="47"/>
                  <a:pt x="0" y="31"/>
                  <a:pt x="7" y="19"/>
                </a:cubicBezTo>
                <a:cubicBezTo>
                  <a:pt x="8" y="18"/>
                  <a:pt x="9" y="17"/>
                  <a:pt x="10" y="18"/>
                </a:cubicBezTo>
                <a:cubicBezTo>
                  <a:pt x="12" y="19"/>
                  <a:pt x="12" y="20"/>
                  <a:pt x="11" y="21"/>
                </a:cubicBezTo>
                <a:cubicBezTo>
                  <a:pt x="5" y="32"/>
                  <a:pt x="7" y="45"/>
                  <a:pt x="16" y="54"/>
                </a:cubicBezTo>
                <a:cubicBezTo>
                  <a:pt x="21" y="59"/>
                  <a:pt x="27" y="62"/>
                  <a:pt x="34" y="62"/>
                </a:cubicBezTo>
                <a:cubicBezTo>
                  <a:pt x="42" y="62"/>
                  <a:pt x="48" y="59"/>
                  <a:pt x="53" y="54"/>
                </a:cubicBezTo>
                <a:cubicBezTo>
                  <a:pt x="59" y="49"/>
                  <a:pt x="61" y="42"/>
                  <a:pt x="61" y="35"/>
                </a:cubicBezTo>
                <a:cubicBezTo>
                  <a:pt x="61" y="28"/>
                  <a:pt x="59" y="21"/>
                  <a:pt x="53" y="16"/>
                </a:cubicBezTo>
                <a:cubicBezTo>
                  <a:pt x="45" y="7"/>
                  <a:pt x="31" y="5"/>
                  <a:pt x="21" y="12"/>
                </a:cubicBezTo>
                <a:cubicBezTo>
                  <a:pt x="20" y="12"/>
                  <a:pt x="18" y="12"/>
                  <a:pt x="18" y="11"/>
                </a:cubicBezTo>
                <a:cubicBezTo>
                  <a:pt x="17" y="10"/>
                  <a:pt x="17" y="8"/>
                  <a:pt x="18" y="7"/>
                </a:cubicBezTo>
                <a:cubicBezTo>
                  <a:pt x="31" y="0"/>
                  <a:pt x="47" y="2"/>
                  <a:pt x="57" y="12"/>
                </a:cubicBezTo>
                <a:cubicBezTo>
                  <a:pt x="63" y="18"/>
                  <a:pt x="66" y="26"/>
                  <a:pt x="66" y="35"/>
                </a:cubicBezTo>
                <a:cubicBezTo>
                  <a:pt x="66" y="43"/>
                  <a:pt x="63" y="51"/>
                  <a:pt x="57" y="57"/>
                </a:cubicBezTo>
                <a:cubicBezTo>
                  <a:pt x="51" y="63"/>
                  <a:pt x="43" y="67"/>
                  <a:pt x="34" y="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3" name="Freeform 1540">
            <a:extLst>
              <a:ext uri="{FF2B5EF4-FFF2-40B4-BE49-F238E27FC236}">
                <a16:creationId xmlns:a16="http://schemas.microsoft.com/office/drawing/2014/main" id="{D7CA6D42-E992-AB0E-ADB2-B26FB1F0E40B}"/>
              </a:ext>
            </a:extLst>
          </p:cNvPr>
          <p:cNvSpPr>
            <a:spLocks/>
          </p:cNvSpPr>
          <p:nvPr/>
        </p:nvSpPr>
        <p:spPr bwMode="auto">
          <a:xfrm>
            <a:off x="5580800" y="2815485"/>
            <a:ext cx="253724" cy="253763"/>
          </a:xfrm>
          <a:custGeom>
            <a:avLst/>
            <a:gdLst>
              <a:gd name="T0" fmla="*/ 2 w 82"/>
              <a:gd name="T1" fmla="*/ 83 h 83"/>
              <a:gd name="T2" fmla="*/ 1 w 82"/>
              <a:gd name="T3" fmla="*/ 82 h 83"/>
              <a:gd name="T4" fmla="*/ 1 w 82"/>
              <a:gd name="T5" fmla="*/ 78 h 83"/>
              <a:gd name="T6" fmla="*/ 78 w 82"/>
              <a:gd name="T7" fmla="*/ 1 h 83"/>
              <a:gd name="T8" fmla="*/ 81 w 82"/>
              <a:gd name="T9" fmla="*/ 1 h 83"/>
              <a:gd name="T10" fmla="*/ 81 w 82"/>
              <a:gd name="T11" fmla="*/ 5 h 83"/>
              <a:gd name="T12" fmla="*/ 4 w 82"/>
              <a:gd name="T13" fmla="*/ 82 h 83"/>
              <a:gd name="T14" fmla="*/ 2 w 82"/>
              <a:gd name="T15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83">
                <a:moveTo>
                  <a:pt x="2" y="83"/>
                </a:moveTo>
                <a:cubicBezTo>
                  <a:pt x="2" y="83"/>
                  <a:pt x="1" y="82"/>
                  <a:pt x="1" y="82"/>
                </a:cubicBezTo>
                <a:cubicBezTo>
                  <a:pt x="0" y="81"/>
                  <a:pt x="0" y="79"/>
                  <a:pt x="1" y="78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0"/>
                  <a:pt x="80" y="0"/>
                  <a:pt x="81" y="1"/>
                </a:cubicBezTo>
                <a:cubicBezTo>
                  <a:pt x="82" y="2"/>
                  <a:pt x="82" y="4"/>
                  <a:pt x="81" y="5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2"/>
                  <a:pt x="3" y="83"/>
                  <a:pt x="2" y="8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4" name="Freeform 1541">
            <a:extLst>
              <a:ext uri="{FF2B5EF4-FFF2-40B4-BE49-F238E27FC236}">
                <a16:creationId xmlns:a16="http://schemas.microsoft.com/office/drawing/2014/main" id="{052F921B-BE3E-A2AD-8648-D0F20189A40B}"/>
              </a:ext>
            </a:extLst>
          </p:cNvPr>
          <p:cNvSpPr>
            <a:spLocks noEditPoints="1"/>
          </p:cNvSpPr>
          <p:nvPr/>
        </p:nvSpPr>
        <p:spPr bwMode="auto">
          <a:xfrm>
            <a:off x="5346595" y="3056452"/>
            <a:ext cx="247216" cy="236702"/>
          </a:xfrm>
          <a:custGeom>
            <a:avLst/>
            <a:gdLst>
              <a:gd name="T0" fmla="*/ 26 w 80"/>
              <a:gd name="T1" fmla="*/ 78 h 78"/>
              <a:gd name="T2" fmla="*/ 20 w 80"/>
              <a:gd name="T3" fmla="*/ 76 h 78"/>
              <a:gd name="T4" fmla="*/ 4 w 80"/>
              <a:gd name="T5" fmla="*/ 60 h 78"/>
              <a:gd name="T6" fmla="*/ 4 w 80"/>
              <a:gd name="T7" fmla="*/ 48 h 78"/>
              <a:gd name="T8" fmla="*/ 49 w 80"/>
              <a:gd name="T9" fmla="*/ 3 h 78"/>
              <a:gd name="T10" fmla="*/ 55 w 80"/>
              <a:gd name="T11" fmla="*/ 0 h 78"/>
              <a:gd name="T12" fmla="*/ 61 w 80"/>
              <a:gd name="T13" fmla="*/ 3 h 78"/>
              <a:gd name="T14" fmla="*/ 77 w 80"/>
              <a:gd name="T15" fmla="*/ 19 h 78"/>
              <a:gd name="T16" fmla="*/ 77 w 80"/>
              <a:gd name="T17" fmla="*/ 31 h 78"/>
              <a:gd name="T18" fmla="*/ 32 w 80"/>
              <a:gd name="T19" fmla="*/ 76 h 78"/>
              <a:gd name="T20" fmla="*/ 26 w 80"/>
              <a:gd name="T21" fmla="*/ 78 h 78"/>
              <a:gd name="T22" fmla="*/ 55 w 80"/>
              <a:gd name="T23" fmla="*/ 5 h 78"/>
              <a:gd name="T24" fmla="*/ 52 w 80"/>
              <a:gd name="T25" fmla="*/ 7 h 78"/>
              <a:gd name="T26" fmla="*/ 7 w 80"/>
              <a:gd name="T27" fmla="*/ 51 h 78"/>
              <a:gd name="T28" fmla="*/ 7 w 80"/>
              <a:gd name="T29" fmla="*/ 57 h 78"/>
              <a:gd name="T30" fmla="*/ 23 w 80"/>
              <a:gd name="T31" fmla="*/ 72 h 78"/>
              <a:gd name="T32" fmla="*/ 28 w 80"/>
              <a:gd name="T33" fmla="*/ 72 h 78"/>
              <a:gd name="T34" fmla="*/ 73 w 80"/>
              <a:gd name="T35" fmla="*/ 28 h 78"/>
              <a:gd name="T36" fmla="*/ 73 w 80"/>
              <a:gd name="T37" fmla="*/ 22 h 78"/>
              <a:gd name="T38" fmla="*/ 58 w 80"/>
              <a:gd name="T39" fmla="*/ 7 h 78"/>
              <a:gd name="T40" fmla="*/ 55 w 80"/>
              <a:gd name="T41" fmla="*/ 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78">
                <a:moveTo>
                  <a:pt x="26" y="78"/>
                </a:moveTo>
                <a:cubicBezTo>
                  <a:pt x="23" y="78"/>
                  <a:pt x="21" y="77"/>
                  <a:pt x="20" y="76"/>
                </a:cubicBezTo>
                <a:cubicBezTo>
                  <a:pt x="4" y="60"/>
                  <a:pt x="4" y="60"/>
                  <a:pt x="4" y="60"/>
                </a:cubicBezTo>
                <a:cubicBezTo>
                  <a:pt x="0" y="57"/>
                  <a:pt x="0" y="51"/>
                  <a:pt x="4" y="48"/>
                </a:cubicBezTo>
                <a:cubicBezTo>
                  <a:pt x="49" y="3"/>
                  <a:pt x="49" y="3"/>
                  <a:pt x="49" y="3"/>
                </a:cubicBezTo>
                <a:cubicBezTo>
                  <a:pt x="50" y="1"/>
                  <a:pt x="52" y="0"/>
                  <a:pt x="55" y="0"/>
                </a:cubicBezTo>
                <a:cubicBezTo>
                  <a:pt x="57" y="0"/>
                  <a:pt x="59" y="1"/>
                  <a:pt x="61" y="3"/>
                </a:cubicBezTo>
                <a:cubicBezTo>
                  <a:pt x="77" y="19"/>
                  <a:pt x="77" y="19"/>
                  <a:pt x="77" y="19"/>
                </a:cubicBezTo>
                <a:cubicBezTo>
                  <a:pt x="80" y="22"/>
                  <a:pt x="80" y="28"/>
                  <a:pt x="77" y="31"/>
                </a:cubicBezTo>
                <a:cubicBezTo>
                  <a:pt x="32" y="76"/>
                  <a:pt x="32" y="76"/>
                  <a:pt x="32" y="76"/>
                </a:cubicBezTo>
                <a:cubicBezTo>
                  <a:pt x="30" y="77"/>
                  <a:pt x="28" y="78"/>
                  <a:pt x="26" y="78"/>
                </a:cubicBezTo>
                <a:close/>
                <a:moveTo>
                  <a:pt x="55" y="5"/>
                </a:moveTo>
                <a:cubicBezTo>
                  <a:pt x="54" y="5"/>
                  <a:pt x="53" y="6"/>
                  <a:pt x="52" y="7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3"/>
                  <a:pt x="6" y="55"/>
                  <a:pt x="7" y="57"/>
                </a:cubicBezTo>
                <a:cubicBezTo>
                  <a:pt x="23" y="72"/>
                  <a:pt x="23" y="72"/>
                  <a:pt x="23" y="72"/>
                </a:cubicBezTo>
                <a:cubicBezTo>
                  <a:pt x="24" y="74"/>
                  <a:pt x="27" y="74"/>
                  <a:pt x="28" y="72"/>
                </a:cubicBezTo>
                <a:cubicBezTo>
                  <a:pt x="73" y="28"/>
                  <a:pt x="73" y="28"/>
                  <a:pt x="73" y="28"/>
                </a:cubicBezTo>
                <a:cubicBezTo>
                  <a:pt x="75" y="26"/>
                  <a:pt x="75" y="24"/>
                  <a:pt x="73" y="2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6"/>
                  <a:pt x="56" y="5"/>
                  <a:pt x="55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5" name="Freeform 1542">
            <a:extLst>
              <a:ext uri="{FF2B5EF4-FFF2-40B4-BE49-F238E27FC236}">
                <a16:creationId xmlns:a16="http://schemas.microsoft.com/office/drawing/2014/main" id="{5697E6C2-292F-C67C-051B-8314F686B97A}"/>
              </a:ext>
            </a:extLst>
          </p:cNvPr>
          <p:cNvSpPr>
            <a:spLocks noEditPoints="1"/>
          </p:cNvSpPr>
          <p:nvPr/>
        </p:nvSpPr>
        <p:spPr bwMode="auto">
          <a:xfrm>
            <a:off x="5522246" y="3028730"/>
            <a:ext cx="99753" cy="93827"/>
          </a:xfrm>
          <a:custGeom>
            <a:avLst/>
            <a:gdLst>
              <a:gd name="T0" fmla="*/ 19 w 32"/>
              <a:gd name="T1" fmla="*/ 31 h 31"/>
              <a:gd name="T2" fmla="*/ 14 w 32"/>
              <a:gd name="T3" fmla="*/ 29 h 31"/>
              <a:gd name="T4" fmla="*/ 2 w 32"/>
              <a:gd name="T5" fmla="*/ 17 h 31"/>
              <a:gd name="T6" fmla="*/ 0 w 32"/>
              <a:gd name="T7" fmla="*/ 12 h 31"/>
              <a:gd name="T8" fmla="*/ 2 w 32"/>
              <a:gd name="T9" fmla="*/ 7 h 31"/>
              <a:gd name="T10" fmla="*/ 7 w 32"/>
              <a:gd name="T11" fmla="*/ 3 h 31"/>
              <a:gd name="T12" fmla="*/ 12 w 32"/>
              <a:gd name="T13" fmla="*/ 0 h 31"/>
              <a:gd name="T14" fmla="*/ 17 w 32"/>
              <a:gd name="T15" fmla="*/ 3 h 31"/>
              <a:gd name="T16" fmla="*/ 29 w 32"/>
              <a:gd name="T17" fmla="*/ 14 h 31"/>
              <a:gd name="T18" fmla="*/ 29 w 32"/>
              <a:gd name="T19" fmla="*/ 24 h 31"/>
              <a:gd name="T20" fmla="*/ 24 w 32"/>
              <a:gd name="T21" fmla="*/ 29 h 31"/>
              <a:gd name="T22" fmla="*/ 19 w 32"/>
              <a:gd name="T23" fmla="*/ 31 h 31"/>
              <a:gd name="T24" fmla="*/ 12 w 32"/>
              <a:gd name="T25" fmla="*/ 5 h 31"/>
              <a:gd name="T26" fmla="*/ 11 w 32"/>
              <a:gd name="T27" fmla="*/ 6 h 31"/>
              <a:gd name="T28" fmla="*/ 6 w 32"/>
              <a:gd name="T29" fmla="*/ 11 h 31"/>
              <a:gd name="T30" fmla="*/ 5 w 32"/>
              <a:gd name="T31" fmla="*/ 12 h 31"/>
              <a:gd name="T32" fmla="*/ 6 w 32"/>
              <a:gd name="T33" fmla="*/ 14 h 31"/>
              <a:gd name="T34" fmla="*/ 18 w 32"/>
              <a:gd name="T35" fmla="*/ 26 h 31"/>
              <a:gd name="T36" fmla="*/ 21 w 32"/>
              <a:gd name="T37" fmla="*/ 26 h 31"/>
              <a:gd name="T38" fmla="*/ 24 w 32"/>
              <a:gd name="T39" fmla="*/ 23 h 31"/>
              <a:gd name="T40" fmla="*/ 24 w 32"/>
              <a:gd name="T41" fmla="*/ 23 h 31"/>
              <a:gd name="T42" fmla="*/ 26 w 32"/>
              <a:gd name="T43" fmla="*/ 21 h 31"/>
              <a:gd name="T44" fmla="*/ 26 w 32"/>
              <a:gd name="T45" fmla="*/ 18 h 31"/>
              <a:gd name="T46" fmla="*/ 14 w 32"/>
              <a:gd name="T47" fmla="*/ 6 h 31"/>
              <a:gd name="T48" fmla="*/ 12 w 32"/>
              <a:gd name="T4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31">
                <a:moveTo>
                  <a:pt x="19" y="31"/>
                </a:moveTo>
                <a:cubicBezTo>
                  <a:pt x="17" y="31"/>
                  <a:pt x="16" y="31"/>
                  <a:pt x="14" y="29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6"/>
                  <a:pt x="0" y="14"/>
                  <a:pt x="0" y="12"/>
                </a:cubicBezTo>
                <a:cubicBezTo>
                  <a:pt x="0" y="10"/>
                  <a:pt x="1" y="9"/>
                  <a:pt x="2" y="7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2" y="0"/>
                </a:cubicBezTo>
                <a:cubicBezTo>
                  <a:pt x="14" y="0"/>
                  <a:pt x="16" y="1"/>
                  <a:pt x="17" y="3"/>
                </a:cubicBezTo>
                <a:cubicBezTo>
                  <a:pt x="29" y="14"/>
                  <a:pt x="29" y="14"/>
                  <a:pt x="29" y="14"/>
                </a:cubicBezTo>
                <a:cubicBezTo>
                  <a:pt x="32" y="17"/>
                  <a:pt x="32" y="22"/>
                  <a:pt x="29" y="24"/>
                </a:cubicBezTo>
                <a:cubicBezTo>
                  <a:pt x="24" y="29"/>
                  <a:pt x="24" y="29"/>
                  <a:pt x="24" y="29"/>
                </a:cubicBezTo>
                <a:cubicBezTo>
                  <a:pt x="23" y="31"/>
                  <a:pt x="21" y="31"/>
                  <a:pt x="19" y="31"/>
                </a:cubicBezTo>
                <a:close/>
                <a:moveTo>
                  <a:pt x="12" y="5"/>
                </a:moveTo>
                <a:cubicBezTo>
                  <a:pt x="12" y="5"/>
                  <a:pt x="11" y="6"/>
                  <a:pt x="11" y="6"/>
                </a:cubicBezTo>
                <a:cubicBezTo>
                  <a:pt x="6" y="11"/>
                  <a:pt x="6" y="11"/>
                  <a:pt x="6" y="11"/>
                </a:cubicBezTo>
                <a:cubicBezTo>
                  <a:pt x="5" y="11"/>
                  <a:pt x="5" y="12"/>
                  <a:pt x="5" y="12"/>
                </a:cubicBezTo>
                <a:cubicBezTo>
                  <a:pt x="5" y="13"/>
                  <a:pt x="5" y="13"/>
                  <a:pt x="6" y="14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7"/>
                  <a:pt x="20" y="27"/>
                  <a:pt x="21" y="26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0"/>
                  <a:pt x="27" y="19"/>
                  <a:pt x="26" y="1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5"/>
                  <a:pt x="1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6" name="Freeform 1543">
            <a:extLst>
              <a:ext uri="{FF2B5EF4-FFF2-40B4-BE49-F238E27FC236}">
                <a16:creationId xmlns:a16="http://schemas.microsoft.com/office/drawing/2014/main" id="{1B718900-EDD7-5B8F-6574-1FDCB18E6F3B}"/>
              </a:ext>
            </a:extLst>
          </p:cNvPr>
          <p:cNvSpPr>
            <a:spLocks/>
          </p:cNvSpPr>
          <p:nvPr/>
        </p:nvSpPr>
        <p:spPr bwMode="auto">
          <a:xfrm>
            <a:off x="5793316" y="2815485"/>
            <a:ext cx="43372" cy="42649"/>
          </a:xfrm>
          <a:custGeom>
            <a:avLst/>
            <a:gdLst>
              <a:gd name="T0" fmla="*/ 4 w 14"/>
              <a:gd name="T1" fmla="*/ 14 h 14"/>
              <a:gd name="T2" fmla="*/ 1 w 14"/>
              <a:gd name="T3" fmla="*/ 13 h 14"/>
              <a:gd name="T4" fmla="*/ 1 w 14"/>
              <a:gd name="T5" fmla="*/ 13 h 14"/>
              <a:gd name="T6" fmla="*/ 1 w 14"/>
              <a:gd name="T7" fmla="*/ 8 h 14"/>
              <a:gd name="T8" fmla="*/ 8 w 14"/>
              <a:gd name="T9" fmla="*/ 1 h 14"/>
              <a:gd name="T10" fmla="*/ 13 w 14"/>
              <a:gd name="T11" fmla="*/ 1 h 14"/>
              <a:gd name="T12" fmla="*/ 14 w 14"/>
              <a:gd name="T13" fmla="*/ 3 h 14"/>
              <a:gd name="T14" fmla="*/ 13 w 14"/>
              <a:gd name="T15" fmla="*/ 6 h 14"/>
              <a:gd name="T16" fmla="*/ 6 w 14"/>
              <a:gd name="T17" fmla="*/ 13 h 14"/>
              <a:gd name="T18" fmla="*/ 4 w 14"/>
              <a:gd name="T19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4">
                <a:moveTo>
                  <a:pt x="4" y="14"/>
                </a:moveTo>
                <a:cubicBezTo>
                  <a:pt x="3" y="14"/>
                  <a:pt x="2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1"/>
                  <a:pt x="0" y="9"/>
                  <a:pt x="1" y="8"/>
                </a:cubicBezTo>
                <a:cubicBezTo>
                  <a:pt x="8" y="1"/>
                  <a:pt x="8" y="1"/>
                  <a:pt x="8" y="1"/>
                </a:cubicBezTo>
                <a:cubicBezTo>
                  <a:pt x="9" y="0"/>
                  <a:pt x="11" y="0"/>
                  <a:pt x="13" y="1"/>
                </a:cubicBezTo>
                <a:cubicBezTo>
                  <a:pt x="13" y="2"/>
                  <a:pt x="14" y="3"/>
                  <a:pt x="14" y="3"/>
                </a:cubicBezTo>
                <a:cubicBezTo>
                  <a:pt x="14" y="4"/>
                  <a:pt x="13" y="5"/>
                  <a:pt x="13" y="6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4"/>
                  <a:pt x="4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7" name="Freeform 843">
            <a:extLst>
              <a:ext uri="{FF2B5EF4-FFF2-40B4-BE49-F238E27FC236}">
                <a16:creationId xmlns:a16="http://schemas.microsoft.com/office/drawing/2014/main" id="{1B37A7DD-2088-A685-6BFF-31F0868E2FB8}"/>
              </a:ext>
            </a:extLst>
          </p:cNvPr>
          <p:cNvSpPr>
            <a:spLocks noEditPoints="1"/>
          </p:cNvSpPr>
          <p:nvPr/>
        </p:nvSpPr>
        <p:spPr bwMode="auto">
          <a:xfrm>
            <a:off x="9216275" y="2818526"/>
            <a:ext cx="80293" cy="84817"/>
          </a:xfrm>
          <a:custGeom>
            <a:avLst/>
            <a:gdLst>
              <a:gd name="T0" fmla="*/ 39 w 78"/>
              <a:gd name="T1" fmla="*/ 79 h 79"/>
              <a:gd name="T2" fmla="*/ 0 w 78"/>
              <a:gd name="T3" fmla="*/ 40 h 79"/>
              <a:gd name="T4" fmla="*/ 39 w 78"/>
              <a:gd name="T5" fmla="*/ 0 h 79"/>
              <a:gd name="T6" fmla="*/ 78 w 78"/>
              <a:gd name="T7" fmla="*/ 40 h 79"/>
              <a:gd name="T8" fmla="*/ 39 w 78"/>
              <a:gd name="T9" fmla="*/ 79 h 79"/>
              <a:gd name="T10" fmla="*/ 39 w 78"/>
              <a:gd name="T11" fmla="*/ 13 h 79"/>
              <a:gd name="T12" fmla="*/ 12 w 78"/>
              <a:gd name="T13" fmla="*/ 40 h 79"/>
              <a:gd name="T14" fmla="*/ 39 w 78"/>
              <a:gd name="T15" fmla="*/ 66 h 79"/>
              <a:gd name="T16" fmla="*/ 66 w 78"/>
              <a:gd name="T17" fmla="*/ 40 h 79"/>
              <a:gd name="T18" fmla="*/ 39 w 78"/>
              <a:gd name="T19" fmla="*/ 13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8" h="79">
                <a:moveTo>
                  <a:pt x="39" y="79"/>
                </a:moveTo>
                <a:cubicBezTo>
                  <a:pt x="17" y="79"/>
                  <a:pt x="0" y="61"/>
                  <a:pt x="0" y="40"/>
                </a:cubicBezTo>
                <a:cubicBezTo>
                  <a:pt x="0" y="18"/>
                  <a:pt x="17" y="0"/>
                  <a:pt x="39" y="0"/>
                </a:cubicBezTo>
                <a:cubicBezTo>
                  <a:pt x="60" y="0"/>
                  <a:pt x="78" y="18"/>
                  <a:pt x="78" y="40"/>
                </a:cubicBezTo>
                <a:cubicBezTo>
                  <a:pt x="78" y="61"/>
                  <a:pt x="60" y="79"/>
                  <a:pt x="39" y="79"/>
                </a:cubicBezTo>
                <a:close/>
                <a:moveTo>
                  <a:pt x="39" y="13"/>
                </a:moveTo>
                <a:cubicBezTo>
                  <a:pt x="24" y="13"/>
                  <a:pt x="12" y="25"/>
                  <a:pt x="12" y="40"/>
                </a:cubicBezTo>
                <a:cubicBezTo>
                  <a:pt x="12" y="54"/>
                  <a:pt x="24" y="66"/>
                  <a:pt x="39" y="66"/>
                </a:cubicBezTo>
                <a:cubicBezTo>
                  <a:pt x="54" y="66"/>
                  <a:pt x="66" y="54"/>
                  <a:pt x="66" y="40"/>
                </a:cubicBezTo>
                <a:cubicBezTo>
                  <a:pt x="66" y="25"/>
                  <a:pt x="54" y="13"/>
                  <a:pt x="39" y="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8" name="Freeform 844">
            <a:extLst>
              <a:ext uri="{FF2B5EF4-FFF2-40B4-BE49-F238E27FC236}">
                <a16:creationId xmlns:a16="http://schemas.microsoft.com/office/drawing/2014/main" id="{1D961CC4-29D4-7F2D-1861-B36DD2D3826C}"/>
              </a:ext>
            </a:extLst>
          </p:cNvPr>
          <p:cNvSpPr>
            <a:spLocks noEditPoints="1"/>
          </p:cNvSpPr>
          <p:nvPr/>
        </p:nvSpPr>
        <p:spPr bwMode="auto">
          <a:xfrm>
            <a:off x="9025104" y="2945752"/>
            <a:ext cx="149116" cy="331559"/>
          </a:xfrm>
          <a:custGeom>
            <a:avLst/>
            <a:gdLst>
              <a:gd name="T0" fmla="*/ 110 w 139"/>
              <a:gd name="T1" fmla="*/ 311 h 311"/>
              <a:gd name="T2" fmla="*/ 87 w 139"/>
              <a:gd name="T3" fmla="*/ 300 h 311"/>
              <a:gd name="T4" fmla="*/ 65 w 139"/>
              <a:gd name="T5" fmla="*/ 311 h 311"/>
              <a:gd name="T6" fmla="*/ 36 w 139"/>
              <a:gd name="T7" fmla="*/ 282 h 311"/>
              <a:gd name="T8" fmla="*/ 36 w 139"/>
              <a:gd name="T9" fmla="*/ 158 h 311"/>
              <a:gd name="T10" fmla="*/ 26 w 139"/>
              <a:gd name="T11" fmla="*/ 161 h 311"/>
              <a:gd name="T12" fmla="*/ 8 w 139"/>
              <a:gd name="T13" fmla="*/ 155 h 311"/>
              <a:gd name="T14" fmla="*/ 0 w 139"/>
              <a:gd name="T15" fmla="*/ 137 h 311"/>
              <a:gd name="T16" fmla="*/ 0 w 139"/>
              <a:gd name="T17" fmla="*/ 42 h 311"/>
              <a:gd name="T18" fmla="*/ 42 w 139"/>
              <a:gd name="T19" fmla="*/ 0 h 311"/>
              <a:gd name="T20" fmla="*/ 132 w 139"/>
              <a:gd name="T21" fmla="*/ 0 h 311"/>
              <a:gd name="T22" fmla="*/ 137 w 139"/>
              <a:gd name="T23" fmla="*/ 3 h 311"/>
              <a:gd name="T24" fmla="*/ 138 w 139"/>
              <a:gd name="T25" fmla="*/ 8 h 311"/>
              <a:gd name="T26" fmla="*/ 136 w 139"/>
              <a:gd name="T27" fmla="*/ 19 h 311"/>
              <a:gd name="T28" fmla="*/ 136 w 139"/>
              <a:gd name="T29" fmla="*/ 123 h 311"/>
              <a:gd name="T30" fmla="*/ 138 w 139"/>
              <a:gd name="T31" fmla="*/ 130 h 311"/>
              <a:gd name="T32" fmla="*/ 139 w 139"/>
              <a:gd name="T33" fmla="*/ 133 h 311"/>
              <a:gd name="T34" fmla="*/ 139 w 139"/>
              <a:gd name="T35" fmla="*/ 136 h 311"/>
              <a:gd name="T36" fmla="*/ 139 w 139"/>
              <a:gd name="T37" fmla="*/ 137 h 311"/>
              <a:gd name="T38" fmla="*/ 139 w 139"/>
              <a:gd name="T39" fmla="*/ 137 h 311"/>
              <a:gd name="T40" fmla="*/ 139 w 139"/>
              <a:gd name="T41" fmla="*/ 140 h 311"/>
              <a:gd name="T42" fmla="*/ 139 w 139"/>
              <a:gd name="T43" fmla="*/ 140 h 311"/>
              <a:gd name="T44" fmla="*/ 139 w 139"/>
              <a:gd name="T45" fmla="*/ 282 h 311"/>
              <a:gd name="T46" fmla="*/ 110 w 139"/>
              <a:gd name="T47" fmla="*/ 311 h 311"/>
              <a:gd name="T48" fmla="*/ 93 w 139"/>
              <a:gd name="T49" fmla="*/ 282 h 311"/>
              <a:gd name="T50" fmla="*/ 110 w 139"/>
              <a:gd name="T51" fmla="*/ 298 h 311"/>
              <a:gd name="T52" fmla="*/ 126 w 139"/>
              <a:gd name="T53" fmla="*/ 282 h 311"/>
              <a:gd name="T54" fmla="*/ 126 w 139"/>
              <a:gd name="T55" fmla="*/ 137 h 311"/>
              <a:gd name="T56" fmla="*/ 126 w 139"/>
              <a:gd name="T57" fmla="*/ 136 h 311"/>
              <a:gd name="T58" fmla="*/ 126 w 139"/>
              <a:gd name="T59" fmla="*/ 135 h 311"/>
              <a:gd name="T60" fmla="*/ 123 w 139"/>
              <a:gd name="T61" fmla="*/ 123 h 311"/>
              <a:gd name="T62" fmla="*/ 123 w 139"/>
              <a:gd name="T63" fmla="*/ 19 h 311"/>
              <a:gd name="T64" fmla="*/ 124 w 139"/>
              <a:gd name="T65" fmla="*/ 12 h 311"/>
              <a:gd name="T66" fmla="*/ 42 w 139"/>
              <a:gd name="T67" fmla="*/ 12 h 311"/>
              <a:gd name="T68" fmla="*/ 12 w 139"/>
              <a:gd name="T69" fmla="*/ 42 h 311"/>
              <a:gd name="T70" fmla="*/ 12 w 139"/>
              <a:gd name="T71" fmla="*/ 137 h 311"/>
              <a:gd name="T72" fmla="*/ 16 w 139"/>
              <a:gd name="T73" fmla="*/ 146 h 311"/>
              <a:gd name="T74" fmla="*/ 25 w 139"/>
              <a:gd name="T75" fmla="*/ 149 h 311"/>
              <a:gd name="T76" fmla="*/ 36 w 139"/>
              <a:gd name="T77" fmla="*/ 137 h 311"/>
              <a:gd name="T78" fmla="*/ 36 w 139"/>
              <a:gd name="T79" fmla="*/ 71 h 311"/>
              <a:gd name="T80" fmla="*/ 42 w 139"/>
              <a:gd name="T81" fmla="*/ 65 h 311"/>
              <a:gd name="T82" fmla="*/ 48 w 139"/>
              <a:gd name="T83" fmla="*/ 71 h 311"/>
              <a:gd name="T84" fmla="*/ 48 w 139"/>
              <a:gd name="T85" fmla="*/ 282 h 311"/>
              <a:gd name="T86" fmla="*/ 65 w 139"/>
              <a:gd name="T87" fmla="*/ 298 h 311"/>
              <a:gd name="T88" fmla="*/ 81 w 139"/>
              <a:gd name="T89" fmla="*/ 282 h 311"/>
              <a:gd name="T90" fmla="*/ 81 w 139"/>
              <a:gd name="T91" fmla="*/ 172 h 311"/>
              <a:gd name="T92" fmla="*/ 87 w 139"/>
              <a:gd name="T93" fmla="*/ 166 h 311"/>
              <a:gd name="T94" fmla="*/ 93 w 139"/>
              <a:gd name="T95" fmla="*/ 172 h 311"/>
              <a:gd name="T96" fmla="*/ 93 w 139"/>
              <a:gd name="T97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9" h="311">
                <a:moveTo>
                  <a:pt x="110" y="311"/>
                </a:moveTo>
                <a:cubicBezTo>
                  <a:pt x="101" y="311"/>
                  <a:pt x="93" y="306"/>
                  <a:pt x="87" y="300"/>
                </a:cubicBezTo>
                <a:cubicBezTo>
                  <a:pt x="82" y="306"/>
                  <a:pt x="74" y="311"/>
                  <a:pt x="65" y="311"/>
                </a:cubicBezTo>
                <a:cubicBezTo>
                  <a:pt x="49" y="311"/>
                  <a:pt x="36" y="298"/>
                  <a:pt x="36" y="282"/>
                </a:cubicBezTo>
                <a:cubicBezTo>
                  <a:pt x="36" y="158"/>
                  <a:pt x="36" y="158"/>
                  <a:pt x="36" y="158"/>
                </a:cubicBezTo>
                <a:cubicBezTo>
                  <a:pt x="33" y="160"/>
                  <a:pt x="30" y="161"/>
                  <a:pt x="26" y="161"/>
                </a:cubicBezTo>
                <a:cubicBezTo>
                  <a:pt x="19" y="162"/>
                  <a:pt x="13" y="160"/>
                  <a:pt x="8" y="155"/>
                </a:cubicBezTo>
                <a:cubicBezTo>
                  <a:pt x="3" y="151"/>
                  <a:pt x="0" y="144"/>
                  <a:pt x="0" y="13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9"/>
                  <a:pt x="19" y="0"/>
                  <a:pt x="4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4" y="0"/>
                  <a:pt x="136" y="1"/>
                  <a:pt x="137" y="3"/>
                </a:cubicBezTo>
                <a:cubicBezTo>
                  <a:pt x="138" y="4"/>
                  <a:pt x="138" y="6"/>
                  <a:pt x="138" y="8"/>
                </a:cubicBezTo>
                <a:cubicBezTo>
                  <a:pt x="136" y="12"/>
                  <a:pt x="136" y="16"/>
                  <a:pt x="136" y="19"/>
                </a:cubicBezTo>
                <a:cubicBezTo>
                  <a:pt x="136" y="123"/>
                  <a:pt x="136" y="123"/>
                  <a:pt x="136" y="123"/>
                </a:cubicBezTo>
                <a:cubicBezTo>
                  <a:pt x="136" y="125"/>
                  <a:pt x="136" y="128"/>
                  <a:pt x="138" y="130"/>
                </a:cubicBezTo>
                <a:cubicBezTo>
                  <a:pt x="138" y="131"/>
                  <a:pt x="139" y="132"/>
                  <a:pt x="139" y="133"/>
                </a:cubicBezTo>
                <a:cubicBezTo>
                  <a:pt x="139" y="136"/>
                  <a:pt x="139" y="136"/>
                  <a:pt x="139" y="136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282"/>
                  <a:pt x="139" y="282"/>
                  <a:pt x="139" y="282"/>
                </a:cubicBezTo>
                <a:cubicBezTo>
                  <a:pt x="139" y="298"/>
                  <a:pt x="126" y="311"/>
                  <a:pt x="110" y="311"/>
                </a:cubicBezTo>
                <a:close/>
                <a:moveTo>
                  <a:pt x="93" y="282"/>
                </a:moveTo>
                <a:cubicBezTo>
                  <a:pt x="93" y="291"/>
                  <a:pt x="101" y="298"/>
                  <a:pt x="110" y="298"/>
                </a:cubicBezTo>
                <a:cubicBezTo>
                  <a:pt x="119" y="298"/>
                  <a:pt x="126" y="291"/>
                  <a:pt x="126" y="282"/>
                </a:cubicBezTo>
                <a:cubicBezTo>
                  <a:pt x="126" y="137"/>
                  <a:pt x="126" y="137"/>
                  <a:pt x="126" y="137"/>
                </a:cubicBezTo>
                <a:cubicBezTo>
                  <a:pt x="126" y="137"/>
                  <a:pt x="126" y="136"/>
                  <a:pt x="126" y="136"/>
                </a:cubicBezTo>
                <a:cubicBezTo>
                  <a:pt x="126" y="136"/>
                  <a:pt x="126" y="135"/>
                  <a:pt x="126" y="135"/>
                </a:cubicBezTo>
                <a:cubicBezTo>
                  <a:pt x="124" y="131"/>
                  <a:pt x="123" y="127"/>
                  <a:pt x="123" y="123"/>
                </a:cubicBezTo>
                <a:cubicBezTo>
                  <a:pt x="123" y="19"/>
                  <a:pt x="123" y="19"/>
                  <a:pt x="123" y="19"/>
                </a:cubicBezTo>
                <a:cubicBezTo>
                  <a:pt x="123" y="17"/>
                  <a:pt x="124" y="15"/>
                  <a:pt x="124" y="12"/>
                </a:cubicBezTo>
                <a:cubicBezTo>
                  <a:pt x="42" y="12"/>
                  <a:pt x="42" y="12"/>
                  <a:pt x="42" y="12"/>
                </a:cubicBezTo>
                <a:cubicBezTo>
                  <a:pt x="25" y="12"/>
                  <a:pt x="12" y="26"/>
                  <a:pt x="12" y="42"/>
                </a:cubicBezTo>
                <a:cubicBezTo>
                  <a:pt x="12" y="137"/>
                  <a:pt x="12" y="137"/>
                  <a:pt x="12" y="137"/>
                </a:cubicBezTo>
                <a:cubicBezTo>
                  <a:pt x="12" y="141"/>
                  <a:pt x="13" y="144"/>
                  <a:pt x="16" y="146"/>
                </a:cubicBezTo>
                <a:cubicBezTo>
                  <a:pt x="18" y="148"/>
                  <a:pt x="22" y="150"/>
                  <a:pt x="25" y="149"/>
                </a:cubicBezTo>
                <a:cubicBezTo>
                  <a:pt x="31" y="149"/>
                  <a:pt x="36" y="143"/>
                  <a:pt x="36" y="137"/>
                </a:cubicBezTo>
                <a:cubicBezTo>
                  <a:pt x="36" y="71"/>
                  <a:pt x="36" y="71"/>
                  <a:pt x="36" y="71"/>
                </a:cubicBezTo>
                <a:cubicBezTo>
                  <a:pt x="36" y="68"/>
                  <a:pt x="39" y="65"/>
                  <a:pt x="42" y="65"/>
                </a:cubicBezTo>
                <a:cubicBezTo>
                  <a:pt x="45" y="65"/>
                  <a:pt x="48" y="68"/>
                  <a:pt x="48" y="71"/>
                </a:cubicBezTo>
                <a:cubicBezTo>
                  <a:pt x="48" y="282"/>
                  <a:pt x="48" y="282"/>
                  <a:pt x="48" y="282"/>
                </a:cubicBezTo>
                <a:cubicBezTo>
                  <a:pt x="48" y="291"/>
                  <a:pt x="55" y="298"/>
                  <a:pt x="65" y="298"/>
                </a:cubicBezTo>
                <a:cubicBezTo>
                  <a:pt x="74" y="298"/>
                  <a:pt x="81" y="291"/>
                  <a:pt x="81" y="282"/>
                </a:cubicBezTo>
                <a:cubicBezTo>
                  <a:pt x="81" y="172"/>
                  <a:pt x="81" y="172"/>
                  <a:pt x="81" y="172"/>
                </a:cubicBezTo>
                <a:cubicBezTo>
                  <a:pt x="81" y="169"/>
                  <a:pt x="84" y="166"/>
                  <a:pt x="87" y="166"/>
                </a:cubicBezTo>
                <a:cubicBezTo>
                  <a:pt x="91" y="166"/>
                  <a:pt x="93" y="169"/>
                  <a:pt x="93" y="172"/>
                </a:cubicBezTo>
                <a:lnTo>
                  <a:pt x="93" y="2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9" name="Freeform 845">
            <a:extLst>
              <a:ext uri="{FF2B5EF4-FFF2-40B4-BE49-F238E27FC236}">
                <a16:creationId xmlns:a16="http://schemas.microsoft.com/office/drawing/2014/main" id="{AFA452C7-F0D5-4A35-8C9F-98C2D05BA2B0}"/>
              </a:ext>
            </a:extLst>
          </p:cNvPr>
          <p:cNvSpPr>
            <a:spLocks noEditPoints="1"/>
          </p:cNvSpPr>
          <p:nvPr/>
        </p:nvSpPr>
        <p:spPr bwMode="auto">
          <a:xfrm>
            <a:off x="9078632" y="2857077"/>
            <a:ext cx="76468" cy="77108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6" y="0"/>
                  <a:pt x="73" y="16"/>
                  <a:pt x="73" y="36"/>
                </a:cubicBezTo>
                <a:cubicBezTo>
                  <a:pt x="73" y="56"/>
                  <a:pt x="56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0" name="Freeform 846">
            <a:extLst>
              <a:ext uri="{FF2B5EF4-FFF2-40B4-BE49-F238E27FC236}">
                <a16:creationId xmlns:a16="http://schemas.microsoft.com/office/drawing/2014/main" id="{742DB49E-6181-AC4D-1E20-48F8B3BD88E0}"/>
              </a:ext>
            </a:extLst>
          </p:cNvPr>
          <p:cNvSpPr>
            <a:spLocks noEditPoints="1"/>
          </p:cNvSpPr>
          <p:nvPr/>
        </p:nvSpPr>
        <p:spPr bwMode="auto">
          <a:xfrm>
            <a:off x="9338625" y="2945752"/>
            <a:ext cx="149116" cy="331559"/>
          </a:xfrm>
          <a:custGeom>
            <a:avLst/>
            <a:gdLst>
              <a:gd name="T0" fmla="*/ 74 w 139"/>
              <a:gd name="T1" fmla="*/ 311 h 311"/>
              <a:gd name="T2" fmla="*/ 51 w 139"/>
              <a:gd name="T3" fmla="*/ 300 h 311"/>
              <a:gd name="T4" fmla="*/ 29 w 139"/>
              <a:gd name="T5" fmla="*/ 311 h 311"/>
              <a:gd name="T6" fmla="*/ 0 w 139"/>
              <a:gd name="T7" fmla="*/ 282 h 311"/>
              <a:gd name="T8" fmla="*/ 0 w 139"/>
              <a:gd name="T9" fmla="*/ 137 h 311"/>
              <a:gd name="T10" fmla="*/ 0 w 139"/>
              <a:gd name="T11" fmla="*/ 135 h 311"/>
              <a:gd name="T12" fmla="*/ 3 w 139"/>
              <a:gd name="T13" fmla="*/ 123 h 311"/>
              <a:gd name="T14" fmla="*/ 3 w 139"/>
              <a:gd name="T15" fmla="*/ 19 h 311"/>
              <a:gd name="T16" fmla="*/ 1 w 139"/>
              <a:gd name="T17" fmla="*/ 8 h 311"/>
              <a:gd name="T18" fmla="*/ 2 w 139"/>
              <a:gd name="T19" fmla="*/ 3 h 311"/>
              <a:gd name="T20" fmla="*/ 7 w 139"/>
              <a:gd name="T21" fmla="*/ 0 h 311"/>
              <a:gd name="T22" fmla="*/ 97 w 139"/>
              <a:gd name="T23" fmla="*/ 0 h 311"/>
              <a:gd name="T24" fmla="*/ 139 w 139"/>
              <a:gd name="T25" fmla="*/ 42 h 311"/>
              <a:gd name="T26" fmla="*/ 139 w 139"/>
              <a:gd name="T27" fmla="*/ 137 h 311"/>
              <a:gd name="T28" fmla="*/ 131 w 139"/>
              <a:gd name="T29" fmla="*/ 155 h 311"/>
              <a:gd name="T30" fmla="*/ 112 w 139"/>
              <a:gd name="T31" fmla="*/ 161 h 311"/>
              <a:gd name="T32" fmla="*/ 103 w 139"/>
              <a:gd name="T33" fmla="*/ 158 h 311"/>
              <a:gd name="T34" fmla="*/ 103 w 139"/>
              <a:gd name="T35" fmla="*/ 282 h 311"/>
              <a:gd name="T36" fmla="*/ 74 w 139"/>
              <a:gd name="T37" fmla="*/ 311 h 311"/>
              <a:gd name="T38" fmla="*/ 58 w 139"/>
              <a:gd name="T39" fmla="*/ 282 h 311"/>
              <a:gd name="T40" fmla="*/ 74 w 139"/>
              <a:gd name="T41" fmla="*/ 298 h 311"/>
              <a:gd name="T42" fmla="*/ 91 w 139"/>
              <a:gd name="T43" fmla="*/ 282 h 311"/>
              <a:gd name="T44" fmla="*/ 91 w 139"/>
              <a:gd name="T45" fmla="*/ 137 h 311"/>
              <a:gd name="T46" fmla="*/ 91 w 139"/>
              <a:gd name="T47" fmla="*/ 137 h 311"/>
              <a:gd name="T48" fmla="*/ 91 w 139"/>
              <a:gd name="T49" fmla="*/ 71 h 311"/>
              <a:gd name="T50" fmla="*/ 97 w 139"/>
              <a:gd name="T51" fmla="*/ 65 h 311"/>
              <a:gd name="T52" fmla="*/ 103 w 139"/>
              <a:gd name="T53" fmla="*/ 71 h 311"/>
              <a:gd name="T54" fmla="*/ 103 w 139"/>
              <a:gd name="T55" fmla="*/ 136 h 311"/>
              <a:gd name="T56" fmla="*/ 103 w 139"/>
              <a:gd name="T57" fmla="*/ 137 h 311"/>
              <a:gd name="T58" fmla="*/ 114 w 139"/>
              <a:gd name="T59" fmla="*/ 149 h 311"/>
              <a:gd name="T60" fmla="*/ 123 w 139"/>
              <a:gd name="T61" fmla="*/ 146 h 311"/>
              <a:gd name="T62" fmla="*/ 127 w 139"/>
              <a:gd name="T63" fmla="*/ 137 h 311"/>
              <a:gd name="T64" fmla="*/ 127 w 139"/>
              <a:gd name="T65" fmla="*/ 42 h 311"/>
              <a:gd name="T66" fmla="*/ 97 w 139"/>
              <a:gd name="T67" fmla="*/ 12 h 311"/>
              <a:gd name="T68" fmla="*/ 15 w 139"/>
              <a:gd name="T69" fmla="*/ 12 h 311"/>
              <a:gd name="T70" fmla="*/ 15 w 139"/>
              <a:gd name="T71" fmla="*/ 19 h 311"/>
              <a:gd name="T72" fmla="*/ 15 w 139"/>
              <a:gd name="T73" fmla="*/ 123 h 311"/>
              <a:gd name="T74" fmla="*/ 12 w 139"/>
              <a:gd name="T75" fmla="*/ 137 h 311"/>
              <a:gd name="T76" fmla="*/ 12 w 139"/>
              <a:gd name="T77" fmla="*/ 282 h 311"/>
              <a:gd name="T78" fmla="*/ 29 w 139"/>
              <a:gd name="T79" fmla="*/ 298 h 311"/>
              <a:gd name="T80" fmla="*/ 45 w 139"/>
              <a:gd name="T81" fmla="*/ 282 h 311"/>
              <a:gd name="T82" fmla="*/ 45 w 139"/>
              <a:gd name="T83" fmla="*/ 172 h 311"/>
              <a:gd name="T84" fmla="*/ 51 w 139"/>
              <a:gd name="T85" fmla="*/ 166 h 311"/>
              <a:gd name="T86" fmla="*/ 58 w 139"/>
              <a:gd name="T87" fmla="*/ 172 h 311"/>
              <a:gd name="T88" fmla="*/ 58 w 139"/>
              <a:gd name="T89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39" h="311">
                <a:moveTo>
                  <a:pt x="74" y="311"/>
                </a:moveTo>
                <a:cubicBezTo>
                  <a:pt x="65" y="311"/>
                  <a:pt x="57" y="306"/>
                  <a:pt x="51" y="300"/>
                </a:cubicBezTo>
                <a:cubicBezTo>
                  <a:pt x="46" y="306"/>
                  <a:pt x="38" y="311"/>
                  <a:pt x="29" y="311"/>
                </a:cubicBezTo>
                <a:cubicBezTo>
                  <a:pt x="13" y="311"/>
                  <a:pt x="0" y="298"/>
                  <a:pt x="0" y="282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136"/>
                  <a:pt x="0" y="135"/>
                  <a:pt x="0" y="135"/>
                </a:cubicBezTo>
                <a:cubicBezTo>
                  <a:pt x="2" y="130"/>
                  <a:pt x="3" y="124"/>
                  <a:pt x="3" y="123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16"/>
                  <a:pt x="2" y="12"/>
                  <a:pt x="1" y="8"/>
                </a:cubicBezTo>
                <a:cubicBezTo>
                  <a:pt x="0" y="6"/>
                  <a:pt x="1" y="4"/>
                  <a:pt x="2" y="3"/>
                </a:cubicBezTo>
                <a:cubicBezTo>
                  <a:pt x="3" y="1"/>
                  <a:pt x="5" y="0"/>
                  <a:pt x="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20" y="0"/>
                  <a:pt x="139" y="19"/>
                  <a:pt x="139" y="42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4"/>
                  <a:pt x="136" y="151"/>
                  <a:pt x="131" y="155"/>
                </a:cubicBezTo>
                <a:cubicBezTo>
                  <a:pt x="126" y="160"/>
                  <a:pt x="119" y="162"/>
                  <a:pt x="112" y="161"/>
                </a:cubicBezTo>
                <a:cubicBezTo>
                  <a:pt x="109" y="161"/>
                  <a:pt x="106" y="160"/>
                  <a:pt x="103" y="158"/>
                </a:cubicBezTo>
                <a:cubicBezTo>
                  <a:pt x="103" y="282"/>
                  <a:pt x="103" y="282"/>
                  <a:pt x="103" y="282"/>
                </a:cubicBezTo>
                <a:cubicBezTo>
                  <a:pt x="103" y="298"/>
                  <a:pt x="90" y="311"/>
                  <a:pt x="74" y="311"/>
                </a:cubicBezTo>
                <a:close/>
                <a:moveTo>
                  <a:pt x="58" y="282"/>
                </a:moveTo>
                <a:cubicBezTo>
                  <a:pt x="58" y="291"/>
                  <a:pt x="65" y="298"/>
                  <a:pt x="74" y="298"/>
                </a:cubicBezTo>
                <a:cubicBezTo>
                  <a:pt x="83" y="298"/>
                  <a:pt x="91" y="291"/>
                  <a:pt x="91" y="282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71"/>
                  <a:pt x="91" y="71"/>
                  <a:pt x="91" y="71"/>
                </a:cubicBezTo>
                <a:cubicBezTo>
                  <a:pt x="91" y="68"/>
                  <a:pt x="93" y="65"/>
                  <a:pt x="97" y="65"/>
                </a:cubicBezTo>
                <a:cubicBezTo>
                  <a:pt x="100" y="65"/>
                  <a:pt x="103" y="68"/>
                  <a:pt x="103" y="71"/>
                </a:cubicBezTo>
                <a:cubicBezTo>
                  <a:pt x="103" y="136"/>
                  <a:pt x="103" y="136"/>
                  <a:pt x="103" y="136"/>
                </a:cubicBezTo>
                <a:cubicBezTo>
                  <a:pt x="103" y="136"/>
                  <a:pt x="103" y="136"/>
                  <a:pt x="103" y="137"/>
                </a:cubicBezTo>
                <a:cubicBezTo>
                  <a:pt x="103" y="143"/>
                  <a:pt x="108" y="149"/>
                  <a:pt x="114" y="149"/>
                </a:cubicBezTo>
                <a:cubicBezTo>
                  <a:pt x="117" y="149"/>
                  <a:pt x="120" y="148"/>
                  <a:pt x="123" y="146"/>
                </a:cubicBezTo>
                <a:cubicBezTo>
                  <a:pt x="125" y="144"/>
                  <a:pt x="127" y="141"/>
                  <a:pt x="127" y="137"/>
                </a:cubicBezTo>
                <a:cubicBezTo>
                  <a:pt x="127" y="42"/>
                  <a:pt x="127" y="42"/>
                  <a:pt x="127" y="42"/>
                </a:cubicBezTo>
                <a:cubicBezTo>
                  <a:pt x="127" y="26"/>
                  <a:pt x="113" y="12"/>
                  <a:pt x="97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5" y="15"/>
                  <a:pt x="15" y="17"/>
                  <a:pt x="15" y="19"/>
                </a:cubicBezTo>
                <a:cubicBezTo>
                  <a:pt x="15" y="123"/>
                  <a:pt x="15" y="123"/>
                  <a:pt x="15" y="123"/>
                </a:cubicBezTo>
                <a:cubicBezTo>
                  <a:pt x="15" y="127"/>
                  <a:pt x="13" y="134"/>
                  <a:pt x="12" y="137"/>
                </a:cubicBezTo>
                <a:cubicBezTo>
                  <a:pt x="12" y="282"/>
                  <a:pt x="12" y="282"/>
                  <a:pt x="12" y="282"/>
                </a:cubicBezTo>
                <a:cubicBezTo>
                  <a:pt x="12" y="291"/>
                  <a:pt x="20" y="298"/>
                  <a:pt x="29" y="298"/>
                </a:cubicBezTo>
                <a:cubicBezTo>
                  <a:pt x="38" y="298"/>
                  <a:pt x="45" y="291"/>
                  <a:pt x="45" y="282"/>
                </a:cubicBezTo>
                <a:cubicBezTo>
                  <a:pt x="45" y="172"/>
                  <a:pt x="45" y="172"/>
                  <a:pt x="45" y="172"/>
                </a:cubicBezTo>
                <a:cubicBezTo>
                  <a:pt x="45" y="169"/>
                  <a:pt x="48" y="166"/>
                  <a:pt x="51" y="166"/>
                </a:cubicBezTo>
                <a:cubicBezTo>
                  <a:pt x="55" y="166"/>
                  <a:pt x="58" y="169"/>
                  <a:pt x="58" y="172"/>
                </a:cubicBezTo>
                <a:lnTo>
                  <a:pt x="58" y="2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1" name="Freeform 847">
            <a:extLst>
              <a:ext uri="{FF2B5EF4-FFF2-40B4-BE49-F238E27FC236}">
                <a16:creationId xmlns:a16="http://schemas.microsoft.com/office/drawing/2014/main" id="{6161E375-CC57-361D-7501-324C77011EF5}"/>
              </a:ext>
            </a:extLst>
          </p:cNvPr>
          <p:cNvSpPr>
            <a:spLocks noEditPoints="1"/>
          </p:cNvSpPr>
          <p:nvPr/>
        </p:nvSpPr>
        <p:spPr bwMode="auto">
          <a:xfrm>
            <a:off x="9155098" y="2918762"/>
            <a:ext cx="198817" cy="358547"/>
          </a:xfrm>
          <a:custGeom>
            <a:avLst/>
            <a:gdLst>
              <a:gd name="T0" fmla="*/ 119 w 189"/>
              <a:gd name="T1" fmla="*/ 336 h 336"/>
              <a:gd name="T2" fmla="*/ 95 w 189"/>
              <a:gd name="T3" fmla="*/ 324 h 336"/>
              <a:gd name="T4" fmla="*/ 70 w 189"/>
              <a:gd name="T5" fmla="*/ 336 h 336"/>
              <a:gd name="T6" fmla="*/ 39 w 189"/>
              <a:gd name="T7" fmla="*/ 306 h 336"/>
              <a:gd name="T8" fmla="*/ 39 w 189"/>
              <a:gd name="T9" fmla="*/ 170 h 336"/>
              <a:gd name="T10" fmla="*/ 29 w 189"/>
              <a:gd name="T11" fmla="*/ 174 h 336"/>
              <a:gd name="T12" fmla="*/ 4 w 189"/>
              <a:gd name="T13" fmla="*/ 162 h 336"/>
              <a:gd name="T14" fmla="*/ 0 w 189"/>
              <a:gd name="T15" fmla="*/ 149 h 336"/>
              <a:gd name="T16" fmla="*/ 0 w 189"/>
              <a:gd name="T17" fmla="*/ 45 h 336"/>
              <a:gd name="T18" fmla="*/ 3 w 189"/>
              <a:gd name="T19" fmla="*/ 30 h 336"/>
              <a:gd name="T20" fmla="*/ 46 w 189"/>
              <a:gd name="T21" fmla="*/ 0 h 336"/>
              <a:gd name="T22" fmla="*/ 144 w 189"/>
              <a:gd name="T23" fmla="*/ 0 h 336"/>
              <a:gd name="T24" fmla="*/ 187 w 189"/>
              <a:gd name="T25" fmla="*/ 30 h 336"/>
              <a:gd name="T26" fmla="*/ 187 w 189"/>
              <a:gd name="T27" fmla="*/ 30 h 336"/>
              <a:gd name="T28" fmla="*/ 189 w 189"/>
              <a:gd name="T29" fmla="*/ 45 h 336"/>
              <a:gd name="T30" fmla="*/ 189 w 189"/>
              <a:gd name="T31" fmla="*/ 149 h 336"/>
              <a:gd name="T32" fmla="*/ 185 w 189"/>
              <a:gd name="T33" fmla="*/ 162 h 336"/>
              <a:gd name="T34" fmla="*/ 161 w 189"/>
              <a:gd name="T35" fmla="*/ 174 h 336"/>
              <a:gd name="T36" fmla="*/ 150 w 189"/>
              <a:gd name="T37" fmla="*/ 170 h 336"/>
              <a:gd name="T38" fmla="*/ 150 w 189"/>
              <a:gd name="T39" fmla="*/ 306 h 336"/>
              <a:gd name="T40" fmla="*/ 119 w 189"/>
              <a:gd name="T41" fmla="*/ 336 h 336"/>
              <a:gd name="T42" fmla="*/ 95 w 189"/>
              <a:gd name="T43" fmla="*/ 299 h 336"/>
              <a:gd name="T44" fmla="*/ 101 w 189"/>
              <a:gd name="T45" fmla="*/ 306 h 336"/>
              <a:gd name="T46" fmla="*/ 119 w 189"/>
              <a:gd name="T47" fmla="*/ 324 h 336"/>
              <a:gd name="T48" fmla="*/ 138 w 189"/>
              <a:gd name="T49" fmla="*/ 306 h 336"/>
              <a:gd name="T50" fmla="*/ 138 w 189"/>
              <a:gd name="T51" fmla="*/ 148 h 336"/>
              <a:gd name="T52" fmla="*/ 144 w 189"/>
              <a:gd name="T53" fmla="*/ 142 h 336"/>
              <a:gd name="T54" fmla="*/ 144 w 189"/>
              <a:gd name="T55" fmla="*/ 142 h 336"/>
              <a:gd name="T56" fmla="*/ 150 w 189"/>
              <a:gd name="T57" fmla="*/ 148 h 336"/>
              <a:gd name="T58" fmla="*/ 162 w 189"/>
              <a:gd name="T59" fmla="*/ 162 h 336"/>
              <a:gd name="T60" fmla="*/ 175 w 189"/>
              <a:gd name="T61" fmla="*/ 156 h 336"/>
              <a:gd name="T62" fmla="*/ 177 w 189"/>
              <a:gd name="T63" fmla="*/ 149 h 336"/>
              <a:gd name="T64" fmla="*/ 177 w 189"/>
              <a:gd name="T65" fmla="*/ 45 h 336"/>
              <a:gd name="T66" fmla="*/ 175 w 189"/>
              <a:gd name="T67" fmla="*/ 34 h 336"/>
              <a:gd name="T68" fmla="*/ 144 w 189"/>
              <a:gd name="T69" fmla="*/ 12 h 336"/>
              <a:gd name="T70" fmla="*/ 46 w 189"/>
              <a:gd name="T71" fmla="*/ 12 h 336"/>
              <a:gd name="T72" fmla="*/ 15 w 189"/>
              <a:gd name="T73" fmla="*/ 34 h 336"/>
              <a:gd name="T74" fmla="*/ 13 w 189"/>
              <a:gd name="T75" fmla="*/ 45 h 336"/>
              <a:gd name="T76" fmla="*/ 13 w 189"/>
              <a:gd name="T77" fmla="*/ 149 h 336"/>
              <a:gd name="T78" fmla="*/ 15 w 189"/>
              <a:gd name="T79" fmla="*/ 156 h 336"/>
              <a:gd name="T80" fmla="*/ 27 w 189"/>
              <a:gd name="T81" fmla="*/ 162 h 336"/>
              <a:gd name="T82" fmla="*/ 39 w 189"/>
              <a:gd name="T83" fmla="*/ 148 h 336"/>
              <a:gd name="T84" fmla="*/ 46 w 189"/>
              <a:gd name="T85" fmla="*/ 142 h 336"/>
              <a:gd name="T86" fmla="*/ 52 w 189"/>
              <a:gd name="T87" fmla="*/ 148 h 336"/>
              <a:gd name="T88" fmla="*/ 52 w 189"/>
              <a:gd name="T89" fmla="*/ 306 h 336"/>
              <a:gd name="T90" fmla="*/ 70 w 189"/>
              <a:gd name="T91" fmla="*/ 324 h 336"/>
              <a:gd name="T92" fmla="*/ 89 w 189"/>
              <a:gd name="T93" fmla="*/ 306 h 336"/>
              <a:gd name="T94" fmla="*/ 95 w 189"/>
              <a:gd name="T95" fmla="*/ 299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9" h="336">
                <a:moveTo>
                  <a:pt x="119" y="336"/>
                </a:moveTo>
                <a:cubicBezTo>
                  <a:pt x="109" y="336"/>
                  <a:pt x="100" y="331"/>
                  <a:pt x="95" y="324"/>
                </a:cubicBezTo>
                <a:cubicBezTo>
                  <a:pt x="89" y="331"/>
                  <a:pt x="80" y="336"/>
                  <a:pt x="70" y="336"/>
                </a:cubicBezTo>
                <a:cubicBezTo>
                  <a:pt x="53" y="336"/>
                  <a:pt x="39" y="323"/>
                  <a:pt x="39" y="306"/>
                </a:cubicBezTo>
                <a:cubicBezTo>
                  <a:pt x="39" y="170"/>
                  <a:pt x="39" y="170"/>
                  <a:pt x="39" y="170"/>
                </a:cubicBezTo>
                <a:cubicBezTo>
                  <a:pt x="36" y="173"/>
                  <a:pt x="33" y="174"/>
                  <a:pt x="29" y="174"/>
                </a:cubicBezTo>
                <a:cubicBezTo>
                  <a:pt x="19" y="175"/>
                  <a:pt x="10" y="171"/>
                  <a:pt x="4" y="162"/>
                </a:cubicBezTo>
                <a:cubicBezTo>
                  <a:pt x="2" y="158"/>
                  <a:pt x="0" y="153"/>
                  <a:pt x="0" y="14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0"/>
                  <a:pt x="1" y="35"/>
                  <a:pt x="3" y="30"/>
                </a:cubicBezTo>
                <a:cubicBezTo>
                  <a:pt x="9" y="12"/>
                  <a:pt x="27" y="0"/>
                  <a:pt x="46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63" y="0"/>
                  <a:pt x="180" y="12"/>
                  <a:pt x="187" y="30"/>
                </a:cubicBezTo>
                <a:cubicBezTo>
                  <a:pt x="187" y="30"/>
                  <a:pt x="187" y="30"/>
                  <a:pt x="187" y="30"/>
                </a:cubicBezTo>
                <a:cubicBezTo>
                  <a:pt x="188" y="35"/>
                  <a:pt x="189" y="40"/>
                  <a:pt x="189" y="45"/>
                </a:cubicBezTo>
                <a:cubicBezTo>
                  <a:pt x="189" y="149"/>
                  <a:pt x="189" y="149"/>
                  <a:pt x="189" y="149"/>
                </a:cubicBezTo>
                <a:cubicBezTo>
                  <a:pt x="189" y="153"/>
                  <a:pt x="188" y="158"/>
                  <a:pt x="185" y="162"/>
                </a:cubicBezTo>
                <a:cubicBezTo>
                  <a:pt x="180" y="171"/>
                  <a:pt x="171" y="175"/>
                  <a:pt x="161" y="174"/>
                </a:cubicBezTo>
                <a:cubicBezTo>
                  <a:pt x="157" y="174"/>
                  <a:pt x="153" y="173"/>
                  <a:pt x="150" y="170"/>
                </a:cubicBezTo>
                <a:cubicBezTo>
                  <a:pt x="150" y="306"/>
                  <a:pt x="150" y="306"/>
                  <a:pt x="150" y="306"/>
                </a:cubicBezTo>
                <a:cubicBezTo>
                  <a:pt x="150" y="323"/>
                  <a:pt x="136" y="336"/>
                  <a:pt x="119" y="336"/>
                </a:cubicBezTo>
                <a:close/>
                <a:moveTo>
                  <a:pt x="95" y="299"/>
                </a:moveTo>
                <a:cubicBezTo>
                  <a:pt x="98" y="299"/>
                  <a:pt x="101" y="302"/>
                  <a:pt x="101" y="306"/>
                </a:cubicBezTo>
                <a:cubicBezTo>
                  <a:pt x="101" y="316"/>
                  <a:pt x="109" y="324"/>
                  <a:pt x="119" y="324"/>
                </a:cubicBezTo>
                <a:cubicBezTo>
                  <a:pt x="130" y="324"/>
                  <a:pt x="138" y="316"/>
                  <a:pt x="138" y="306"/>
                </a:cubicBezTo>
                <a:cubicBezTo>
                  <a:pt x="138" y="148"/>
                  <a:pt x="138" y="148"/>
                  <a:pt x="138" y="148"/>
                </a:cubicBezTo>
                <a:cubicBezTo>
                  <a:pt x="138" y="145"/>
                  <a:pt x="141" y="142"/>
                  <a:pt x="144" y="142"/>
                </a:cubicBezTo>
                <a:cubicBezTo>
                  <a:pt x="144" y="142"/>
                  <a:pt x="144" y="142"/>
                  <a:pt x="144" y="142"/>
                </a:cubicBezTo>
                <a:cubicBezTo>
                  <a:pt x="147" y="142"/>
                  <a:pt x="150" y="144"/>
                  <a:pt x="150" y="148"/>
                </a:cubicBezTo>
                <a:cubicBezTo>
                  <a:pt x="150" y="155"/>
                  <a:pt x="156" y="161"/>
                  <a:pt x="162" y="162"/>
                </a:cubicBezTo>
                <a:cubicBezTo>
                  <a:pt x="167" y="163"/>
                  <a:pt x="172" y="160"/>
                  <a:pt x="175" y="156"/>
                </a:cubicBezTo>
                <a:cubicBezTo>
                  <a:pt x="176" y="154"/>
                  <a:pt x="177" y="151"/>
                  <a:pt x="177" y="149"/>
                </a:cubicBezTo>
                <a:cubicBezTo>
                  <a:pt x="177" y="45"/>
                  <a:pt x="177" y="45"/>
                  <a:pt x="177" y="45"/>
                </a:cubicBezTo>
                <a:cubicBezTo>
                  <a:pt x="177" y="42"/>
                  <a:pt x="176" y="38"/>
                  <a:pt x="175" y="34"/>
                </a:cubicBezTo>
                <a:cubicBezTo>
                  <a:pt x="170" y="21"/>
                  <a:pt x="158" y="12"/>
                  <a:pt x="144" y="12"/>
                </a:cubicBezTo>
                <a:cubicBezTo>
                  <a:pt x="46" y="12"/>
                  <a:pt x="46" y="12"/>
                  <a:pt x="46" y="12"/>
                </a:cubicBezTo>
                <a:cubicBezTo>
                  <a:pt x="32" y="12"/>
                  <a:pt x="19" y="21"/>
                  <a:pt x="15" y="34"/>
                </a:cubicBezTo>
                <a:cubicBezTo>
                  <a:pt x="13" y="38"/>
                  <a:pt x="13" y="42"/>
                  <a:pt x="13" y="45"/>
                </a:cubicBezTo>
                <a:cubicBezTo>
                  <a:pt x="13" y="149"/>
                  <a:pt x="13" y="149"/>
                  <a:pt x="13" y="149"/>
                </a:cubicBezTo>
                <a:cubicBezTo>
                  <a:pt x="13" y="151"/>
                  <a:pt x="13" y="154"/>
                  <a:pt x="15" y="156"/>
                </a:cubicBezTo>
                <a:cubicBezTo>
                  <a:pt x="17" y="160"/>
                  <a:pt x="22" y="163"/>
                  <a:pt x="27" y="162"/>
                </a:cubicBezTo>
                <a:cubicBezTo>
                  <a:pt x="34" y="161"/>
                  <a:pt x="39" y="155"/>
                  <a:pt x="39" y="148"/>
                </a:cubicBezTo>
                <a:cubicBezTo>
                  <a:pt x="39" y="144"/>
                  <a:pt x="42" y="142"/>
                  <a:pt x="46" y="142"/>
                </a:cubicBezTo>
                <a:cubicBezTo>
                  <a:pt x="49" y="142"/>
                  <a:pt x="52" y="144"/>
                  <a:pt x="52" y="148"/>
                </a:cubicBezTo>
                <a:cubicBezTo>
                  <a:pt x="52" y="306"/>
                  <a:pt x="52" y="306"/>
                  <a:pt x="52" y="306"/>
                </a:cubicBezTo>
                <a:cubicBezTo>
                  <a:pt x="52" y="316"/>
                  <a:pt x="60" y="324"/>
                  <a:pt x="70" y="324"/>
                </a:cubicBezTo>
                <a:cubicBezTo>
                  <a:pt x="80" y="324"/>
                  <a:pt x="89" y="316"/>
                  <a:pt x="89" y="306"/>
                </a:cubicBezTo>
                <a:cubicBezTo>
                  <a:pt x="89" y="302"/>
                  <a:pt x="91" y="299"/>
                  <a:pt x="95" y="2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2" name="Freeform 848">
            <a:extLst>
              <a:ext uri="{FF2B5EF4-FFF2-40B4-BE49-F238E27FC236}">
                <a16:creationId xmlns:a16="http://schemas.microsoft.com/office/drawing/2014/main" id="{DED54FFA-40DC-CA0C-58C5-118D9E650D55}"/>
              </a:ext>
            </a:extLst>
          </p:cNvPr>
          <p:cNvSpPr>
            <a:spLocks noEditPoints="1"/>
          </p:cNvSpPr>
          <p:nvPr/>
        </p:nvSpPr>
        <p:spPr bwMode="auto">
          <a:xfrm>
            <a:off x="9353918" y="2857077"/>
            <a:ext cx="76468" cy="77108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7" y="0"/>
                  <a:pt x="73" y="16"/>
                  <a:pt x="73" y="36"/>
                </a:cubicBezTo>
                <a:cubicBezTo>
                  <a:pt x="73" y="56"/>
                  <a:pt x="57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3" name="Freeform 849">
            <a:extLst>
              <a:ext uri="{FF2B5EF4-FFF2-40B4-BE49-F238E27FC236}">
                <a16:creationId xmlns:a16="http://schemas.microsoft.com/office/drawing/2014/main" id="{43D2F25E-A12A-3658-2D7C-F8043F928A61}"/>
              </a:ext>
            </a:extLst>
          </p:cNvPr>
          <p:cNvSpPr>
            <a:spLocks/>
          </p:cNvSpPr>
          <p:nvPr/>
        </p:nvSpPr>
        <p:spPr bwMode="auto">
          <a:xfrm>
            <a:off x="9250685" y="3111531"/>
            <a:ext cx="11470" cy="138792"/>
          </a:xfrm>
          <a:custGeom>
            <a:avLst/>
            <a:gdLst>
              <a:gd name="T0" fmla="*/ 6 w 12"/>
              <a:gd name="T1" fmla="*/ 131 h 131"/>
              <a:gd name="T2" fmla="*/ 0 w 12"/>
              <a:gd name="T3" fmla="*/ 125 h 131"/>
              <a:gd name="T4" fmla="*/ 0 w 12"/>
              <a:gd name="T5" fmla="*/ 6 h 131"/>
              <a:gd name="T6" fmla="*/ 6 w 12"/>
              <a:gd name="T7" fmla="*/ 0 h 131"/>
              <a:gd name="T8" fmla="*/ 12 w 12"/>
              <a:gd name="T9" fmla="*/ 6 h 131"/>
              <a:gd name="T10" fmla="*/ 12 w 12"/>
              <a:gd name="T11" fmla="*/ 125 h 131"/>
              <a:gd name="T12" fmla="*/ 6 w 12"/>
              <a:gd name="T13" fmla="*/ 131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131">
                <a:moveTo>
                  <a:pt x="6" y="131"/>
                </a:moveTo>
                <a:cubicBezTo>
                  <a:pt x="2" y="131"/>
                  <a:pt x="0" y="128"/>
                  <a:pt x="0" y="12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125"/>
                  <a:pt x="12" y="125"/>
                  <a:pt x="12" y="125"/>
                </a:cubicBezTo>
                <a:cubicBezTo>
                  <a:pt x="12" y="128"/>
                  <a:pt x="9" y="131"/>
                  <a:pt x="6" y="1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4" name="Freeform 850">
            <a:extLst>
              <a:ext uri="{FF2B5EF4-FFF2-40B4-BE49-F238E27FC236}">
                <a16:creationId xmlns:a16="http://schemas.microsoft.com/office/drawing/2014/main" id="{146C9B74-C802-C0DB-9207-3463E61D70EC}"/>
              </a:ext>
            </a:extLst>
          </p:cNvPr>
          <p:cNvSpPr>
            <a:spLocks/>
          </p:cNvSpPr>
          <p:nvPr/>
        </p:nvSpPr>
        <p:spPr bwMode="auto">
          <a:xfrm>
            <a:off x="9197157" y="2984306"/>
            <a:ext cx="11470" cy="100238"/>
          </a:xfrm>
          <a:custGeom>
            <a:avLst/>
            <a:gdLst>
              <a:gd name="T0" fmla="*/ 7 w 13"/>
              <a:gd name="T1" fmla="*/ 93 h 93"/>
              <a:gd name="T2" fmla="*/ 0 w 13"/>
              <a:gd name="T3" fmla="*/ 87 h 93"/>
              <a:gd name="T4" fmla="*/ 0 w 13"/>
              <a:gd name="T5" fmla="*/ 6 h 93"/>
              <a:gd name="T6" fmla="*/ 7 w 13"/>
              <a:gd name="T7" fmla="*/ 0 h 93"/>
              <a:gd name="T8" fmla="*/ 13 w 13"/>
              <a:gd name="T9" fmla="*/ 6 h 93"/>
              <a:gd name="T10" fmla="*/ 13 w 13"/>
              <a:gd name="T11" fmla="*/ 87 h 93"/>
              <a:gd name="T12" fmla="*/ 7 w 13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93">
                <a:moveTo>
                  <a:pt x="7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10" y="0"/>
                  <a:pt x="13" y="3"/>
                  <a:pt x="13" y="6"/>
                </a:cubicBezTo>
                <a:cubicBezTo>
                  <a:pt x="13" y="87"/>
                  <a:pt x="13" y="87"/>
                  <a:pt x="13" y="87"/>
                </a:cubicBezTo>
                <a:cubicBezTo>
                  <a:pt x="13" y="90"/>
                  <a:pt x="10" y="93"/>
                  <a:pt x="7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5" name="Freeform 851">
            <a:extLst>
              <a:ext uri="{FF2B5EF4-FFF2-40B4-BE49-F238E27FC236}">
                <a16:creationId xmlns:a16="http://schemas.microsoft.com/office/drawing/2014/main" id="{7983F722-30FA-AF1D-070B-72ED044D8A79}"/>
              </a:ext>
            </a:extLst>
          </p:cNvPr>
          <p:cNvSpPr>
            <a:spLocks/>
          </p:cNvSpPr>
          <p:nvPr/>
        </p:nvSpPr>
        <p:spPr bwMode="auto">
          <a:xfrm>
            <a:off x="9300390" y="2984306"/>
            <a:ext cx="15294" cy="100238"/>
          </a:xfrm>
          <a:custGeom>
            <a:avLst/>
            <a:gdLst>
              <a:gd name="T0" fmla="*/ 6 w 12"/>
              <a:gd name="T1" fmla="*/ 93 h 93"/>
              <a:gd name="T2" fmla="*/ 0 w 12"/>
              <a:gd name="T3" fmla="*/ 87 h 93"/>
              <a:gd name="T4" fmla="*/ 0 w 12"/>
              <a:gd name="T5" fmla="*/ 6 h 93"/>
              <a:gd name="T6" fmla="*/ 6 w 12"/>
              <a:gd name="T7" fmla="*/ 0 h 93"/>
              <a:gd name="T8" fmla="*/ 12 w 12"/>
              <a:gd name="T9" fmla="*/ 6 h 93"/>
              <a:gd name="T10" fmla="*/ 12 w 12"/>
              <a:gd name="T11" fmla="*/ 87 h 93"/>
              <a:gd name="T12" fmla="*/ 6 w 12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93">
                <a:moveTo>
                  <a:pt x="6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87"/>
                  <a:pt x="12" y="87"/>
                  <a:pt x="12" y="87"/>
                </a:cubicBezTo>
                <a:cubicBezTo>
                  <a:pt x="12" y="90"/>
                  <a:pt x="9" y="93"/>
                  <a:pt x="6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6" name="Shape8_20220427_135811">
            <a:extLst>
              <a:ext uri="{FF2B5EF4-FFF2-40B4-BE49-F238E27FC236}">
                <a16:creationId xmlns:a16="http://schemas.microsoft.com/office/drawing/2014/main" id="{95EFC815-10EF-AD5F-8464-120624105028}"/>
              </a:ext>
            </a:extLst>
          </p:cNvPr>
          <p:cNvSpPr txBox="1">
            <a:spLocks/>
          </p:cNvSpPr>
          <p:nvPr/>
        </p:nvSpPr>
        <p:spPr>
          <a:xfrm>
            <a:off x="6276489" y="5180127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87" name="Shape9_20220427_135811">
            <a:extLst>
              <a:ext uri="{FF2B5EF4-FFF2-40B4-BE49-F238E27FC236}">
                <a16:creationId xmlns:a16="http://schemas.microsoft.com/office/drawing/2014/main" id="{A11C684A-8148-5299-4980-1EC544B80BCA}"/>
              </a:ext>
            </a:extLst>
          </p:cNvPr>
          <p:cNvSpPr txBox="1">
            <a:spLocks/>
          </p:cNvSpPr>
          <p:nvPr/>
        </p:nvSpPr>
        <p:spPr>
          <a:xfrm>
            <a:off x="6276489" y="5410048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8" name="Shape0_20221012_144847">
            <a:extLst>
              <a:ext uri="{FF2B5EF4-FFF2-40B4-BE49-F238E27FC236}">
                <a16:creationId xmlns:a16="http://schemas.microsoft.com/office/drawing/2014/main" id="{798E7FBC-31B6-22C5-6E7D-9AE4C270C581}"/>
              </a:ext>
            </a:extLst>
          </p:cNvPr>
          <p:cNvSpPr/>
          <p:nvPr/>
        </p:nvSpPr>
        <p:spPr>
          <a:xfrm>
            <a:off x="5168003" y="4958847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prstClr val="white"/>
              </a:solidFill>
            </a:endParaRPr>
          </a:p>
        </p:txBody>
      </p:sp>
      <p:sp>
        <p:nvSpPr>
          <p:cNvPr id="89" name="Shape10_20220427_135811">
            <a:extLst>
              <a:ext uri="{FF2B5EF4-FFF2-40B4-BE49-F238E27FC236}">
                <a16:creationId xmlns:a16="http://schemas.microsoft.com/office/drawing/2014/main" id="{C19AA1E2-9A71-677C-36FC-68FDCADFBA4C}"/>
              </a:ext>
            </a:extLst>
          </p:cNvPr>
          <p:cNvSpPr txBox="1">
            <a:spLocks/>
          </p:cNvSpPr>
          <p:nvPr/>
        </p:nvSpPr>
        <p:spPr>
          <a:xfrm>
            <a:off x="9936937" y="5180127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90" name="Shape11_20220427_135811">
            <a:extLst>
              <a:ext uri="{FF2B5EF4-FFF2-40B4-BE49-F238E27FC236}">
                <a16:creationId xmlns:a16="http://schemas.microsoft.com/office/drawing/2014/main" id="{D88680BF-D6C1-729E-3104-1C08468496B2}"/>
              </a:ext>
            </a:extLst>
          </p:cNvPr>
          <p:cNvSpPr txBox="1">
            <a:spLocks/>
          </p:cNvSpPr>
          <p:nvPr/>
        </p:nvSpPr>
        <p:spPr>
          <a:xfrm>
            <a:off x="9936937" y="5410048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1" name="Shape5_20221012_144847">
            <a:extLst>
              <a:ext uri="{FF2B5EF4-FFF2-40B4-BE49-F238E27FC236}">
                <a16:creationId xmlns:a16="http://schemas.microsoft.com/office/drawing/2014/main" id="{C5C5C959-A293-1A00-B779-B365EC652715}"/>
              </a:ext>
            </a:extLst>
          </p:cNvPr>
          <p:cNvSpPr/>
          <p:nvPr/>
        </p:nvSpPr>
        <p:spPr>
          <a:xfrm>
            <a:off x="8828446" y="4958847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0000"/>
                </a:solidFill>
              </a:rPr>
              <a:t> </a:t>
            </a:r>
            <a:endParaRPr lang="en-IN" sz="1400" dirty="0">
              <a:solidFill>
                <a:srgbClr val="000000"/>
              </a:solidFill>
            </a:endParaRPr>
          </a:p>
        </p:txBody>
      </p:sp>
      <p:sp>
        <p:nvSpPr>
          <p:cNvPr id="92" name="Freeform 44">
            <a:extLst>
              <a:ext uri="{FF2B5EF4-FFF2-40B4-BE49-F238E27FC236}">
                <a16:creationId xmlns:a16="http://schemas.microsoft.com/office/drawing/2014/main" id="{F753F9FE-8C80-3745-DA68-113743AB9C35}"/>
              </a:ext>
            </a:extLst>
          </p:cNvPr>
          <p:cNvSpPr>
            <a:spLocks noEditPoints="1"/>
          </p:cNvSpPr>
          <p:nvPr/>
        </p:nvSpPr>
        <p:spPr bwMode="auto">
          <a:xfrm>
            <a:off x="5477106" y="5269807"/>
            <a:ext cx="234029" cy="234032"/>
          </a:xfrm>
          <a:custGeom>
            <a:avLst/>
            <a:gdLst>
              <a:gd name="T0" fmla="*/ 114 w 228"/>
              <a:gd name="T1" fmla="*/ 228 h 228"/>
              <a:gd name="T2" fmla="*/ 0 w 228"/>
              <a:gd name="T3" fmla="*/ 114 h 228"/>
              <a:gd name="T4" fmla="*/ 114 w 228"/>
              <a:gd name="T5" fmla="*/ 0 h 228"/>
              <a:gd name="T6" fmla="*/ 228 w 228"/>
              <a:gd name="T7" fmla="*/ 114 h 228"/>
              <a:gd name="T8" fmla="*/ 114 w 228"/>
              <a:gd name="T9" fmla="*/ 228 h 228"/>
              <a:gd name="T10" fmla="*/ 114 w 228"/>
              <a:gd name="T11" fmla="*/ 12 h 228"/>
              <a:gd name="T12" fmla="*/ 12 w 228"/>
              <a:gd name="T13" fmla="*/ 114 h 228"/>
              <a:gd name="T14" fmla="*/ 114 w 228"/>
              <a:gd name="T15" fmla="*/ 216 h 228"/>
              <a:gd name="T16" fmla="*/ 216 w 228"/>
              <a:gd name="T17" fmla="*/ 114 h 228"/>
              <a:gd name="T18" fmla="*/ 114 w 228"/>
              <a:gd name="T19" fmla="*/ 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28">
                <a:moveTo>
                  <a:pt x="114" y="228"/>
                </a:moveTo>
                <a:cubicBezTo>
                  <a:pt x="51" y="228"/>
                  <a:pt x="0" y="177"/>
                  <a:pt x="0" y="114"/>
                </a:cubicBezTo>
                <a:cubicBezTo>
                  <a:pt x="0" y="51"/>
                  <a:pt x="51" y="0"/>
                  <a:pt x="114" y="0"/>
                </a:cubicBezTo>
                <a:cubicBezTo>
                  <a:pt x="177" y="0"/>
                  <a:pt x="228" y="51"/>
                  <a:pt x="228" y="114"/>
                </a:cubicBezTo>
                <a:cubicBezTo>
                  <a:pt x="228" y="177"/>
                  <a:pt x="177" y="228"/>
                  <a:pt x="114" y="228"/>
                </a:cubicBezTo>
                <a:close/>
                <a:moveTo>
                  <a:pt x="114" y="12"/>
                </a:moveTo>
                <a:cubicBezTo>
                  <a:pt x="58" y="12"/>
                  <a:pt x="12" y="58"/>
                  <a:pt x="12" y="114"/>
                </a:cubicBezTo>
                <a:cubicBezTo>
                  <a:pt x="12" y="170"/>
                  <a:pt x="58" y="216"/>
                  <a:pt x="114" y="216"/>
                </a:cubicBezTo>
                <a:cubicBezTo>
                  <a:pt x="170" y="216"/>
                  <a:pt x="216" y="170"/>
                  <a:pt x="216" y="114"/>
                </a:cubicBezTo>
                <a:cubicBezTo>
                  <a:pt x="216" y="58"/>
                  <a:pt x="170" y="12"/>
                  <a:pt x="114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3" name="Freeform 45">
            <a:extLst>
              <a:ext uri="{FF2B5EF4-FFF2-40B4-BE49-F238E27FC236}">
                <a16:creationId xmlns:a16="http://schemas.microsoft.com/office/drawing/2014/main" id="{5255CBD9-5DB4-8D4B-DE9E-0A734A515921}"/>
              </a:ext>
            </a:extLst>
          </p:cNvPr>
          <p:cNvSpPr>
            <a:spLocks noEditPoints="1"/>
          </p:cNvSpPr>
          <p:nvPr/>
        </p:nvSpPr>
        <p:spPr bwMode="auto">
          <a:xfrm>
            <a:off x="5373091" y="5165792"/>
            <a:ext cx="445770" cy="442059"/>
          </a:xfrm>
          <a:custGeom>
            <a:avLst/>
            <a:gdLst>
              <a:gd name="T0" fmla="*/ 204 w 432"/>
              <a:gd name="T1" fmla="*/ 432 h 432"/>
              <a:gd name="T2" fmla="*/ 172 w 432"/>
              <a:gd name="T3" fmla="*/ 379 h 432"/>
              <a:gd name="T4" fmla="*/ 116 w 432"/>
              <a:gd name="T5" fmla="*/ 378 h 432"/>
              <a:gd name="T6" fmla="*/ 54 w 432"/>
              <a:gd name="T7" fmla="*/ 360 h 432"/>
              <a:gd name="T8" fmla="*/ 54 w 432"/>
              <a:gd name="T9" fmla="*/ 316 h 432"/>
              <a:gd name="T10" fmla="*/ 53 w 432"/>
              <a:gd name="T11" fmla="*/ 260 h 432"/>
              <a:gd name="T12" fmla="*/ 0 w 432"/>
              <a:gd name="T13" fmla="*/ 228 h 432"/>
              <a:gd name="T14" fmla="*/ 31 w 432"/>
              <a:gd name="T15" fmla="*/ 172 h 432"/>
              <a:gd name="T16" fmla="*/ 70 w 432"/>
              <a:gd name="T17" fmla="*/ 132 h 432"/>
              <a:gd name="T18" fmla="*/ 45 w 432"/>
              <a:gd name="T19" fmla="*/ 94 h 432"/>
              <a:gd name="T20" fmla="*/ 72 w 432"/>
              <a:gd name="T21" fmla="*/ 54 h 432"/>
              <a:gd name="T22" fmla="*/ 132 w 432"/>
              <a:gd name="T23" fmla="*/ 70 h 432"/>
              <a:gd name="T24" fmla="*/ 172 w 432"/>
              <a:gd name="T25" fmla="*/ 31 h 432"/>
              <a:gd name="T26" fmla="*/ 229 w 432"/>
              <a:gd name="T27" fmla="*/ 0 h 432"/>
              <a:gd name="T28" fmla="*/ 260 w 432"/>
              <a:gd name="T29" fmla="*/ 53 h 432"/>
              <a:gd name="T30" fmla="*/ 316 w 432"/>
              <a:gd name="T31" fmla="*/ 54 h 432"/>
              <a:gd name="T32" fmla="*/ 378 w 432"/>
              <a:gd name="T33" fmla="*/ 72 h 432"/>
              <a:gd name="T34" fmla="*/ 378 w 432"/>
              <a:gd name="T35" fmla="*/ 116 h 432"/>
              <a:gd name="T36" fmla="*/ 379 w 432"/>
              <a:gd name="T37" fmla="*/ 172 h 432"/>
              <a:gd name="T38" fmla="*/ 432 w 432"/>
              <a:gd name="T39" fmla="*/ 203 h 432"/>
              <a:gd name="T40" fmla="*/ 401 w 432"/>
              <a:gd name="T41" fmla="*/ 260 h 432"/>
              <a:gd name="T42" fmla="*/ 362 w 432"/>
              <a:gd name="T43" fmla="*/ 300 h 432"/>
              <a:gd name="T44" fmla="*/ 387 w 432"/>
              <a:gd name="T45" fmla="*/ 338 h 432"/>
              <a:gd name="T46" fmla="*/ 360 w 432"/>
              <a:gd name="T47" fmla="*/ 378 h 432"/>
              <a:gd name="T48" fmla="*/ 300 w 432"/>
              <a:gd name="T49" fmla="*/ 362 h 432"/>
              <a:gd name="T50" fmla="*/ 260 w 432"/>
              <a:gd name="T51" fmla="*/ 401 h 432"/>
              <a:gd name="T52" fmla="*/ 131 w 432"/>
              <a:gd name="T53" fmla="*/ 348 h 432"/>
              <a:gd name="T54" fmla="*/ 180 w 432"/>
              <a:gd name="T55" fmla="*/ 368 h 432"/>
              <a:gd name="T56" fmla="*/ 185 w 432"/>
              <a:gd name="T57" fmla="*/ 401 h 432"/>
              <a:gd name="T58" fmla="*/ 229 w 432"/>
              <a:gd name="T59" fmla="*/ 420 h 432"/>
              <a:gd name="T60" fmla="*/ 248 w 432"/>
              <a:gd name="T61" fmla="*/ 374 h 432"/>
              <a:gd name="T62" fmla="*/ 298 w 432"/>
              <a:gd name="T63" fmla="*/ 349 h 432"/>
              <a:gd name="T64" fmla="*/ 325 w 432"/>
              <a:gd name="T65" fmla="*/ 369 h 432"/>
              <a:gd name="T66" fmla="*/ 369 w 432"/>
              <a:gd name="T67" fmla="*/ 351 h 432"/>
              <a:gd name="T68" fmla="*/ 351 w 432"/>
              <a:gd name="T69" fmla="*/ 306 h 432"/>
              <a:gd name="T70" fmla="*/ 349 w 432"/>
              <a:gd name="T71" fmla="*/ 298 h 432"/>
              <a:gd name="T72" fmla="*/ 374 w 432"/>
              <a:gd name="T73" fmla="*/ 247 h 432"/>
              <a:gd name="T74" fmla="*/ 420 w 432"/>
              <a:gd name="T75" fmla="*/ 228 h 432"/>
              <a:gd name="T76" fmla="*/ 401 w 432"/>
              <a:gd name="T77" fmla="*/ 184 h 432"/>
              <a:gd name="T78" fmla="*/ 368 w 432"/>
              <a:gd name="T79" fmla="*/ 180 h 432"/>
              <a:gd name="T80" fmla="*/ 350 w 432"/>
              <a:gd name="T81" fmla="*/ 126 h 432"/>
              <a:gd name="T82" fmla="*/ 369 w 432"/>
              <a:gd name="T83" fmla="*/ 80 h 432"/>
              <a:gd name="T84" fmla="*/ 325 w 432"/>
              <a:gd name="T85" fmla="*/ 63 h 432"/>
              <a:gd name="T86" fmla="*/ 298 w 432"/>
              <a:gd name="T87" fmla="*/ 83 h 432"/>
              <a:gd name="T88" fmla="*/ 248 w 432"/>
              <a:gd name="T89" fmla="*/ 58 h 432"/>
              <a:gd name="T90" fmla="*/ 229 w 432"/>
              <a:gd name="T91" fmla="*/ 12 h 432"/>
              <a:gd name="T92" fmla="*/ 185 w 432"/>
              <a:gd name="T93" fmla="*/ 31 h 432"/>
              <a:gd name="T94" fmla="*/ 180 w 432"/>
              <a:gd name="T95" fmla="*/ 64 h 432"/>
              <a:gd name="T96" fmla="*/ 127 w 432"/>
              <a:gd name="T97" fmla="*/ 82 h 432"/>
              <a:gd name="T98" fmla="*/ 81 w 432"/>
              <a:gd name="T99" fmla="*/ 63 h 432"/>
              <a:gd name="T100" fmla="*/ 57 w 432"/>
              <a:gd name="T101" fmla="*/ 94 h 432"/>
              <a:gd name="T102" fmla="*/ 82 w 432"/>
              <a:gd name="T103" fmla="*/ 126 h 432"/>
              <a:gd name="T104" fmla="*/ 64 w 432"/>
              <a:gd name="T105" fmla="*/ 180 h 432"/>
              <a:gd name="T106" fmla="*/ 31 w 432"/>
              <a:gd name="T107" fmla="*/ 184 h 432"/>
              <a:gd name="T108" fmla="*/ 12 w 432"/>
              <a:gd name="T109" fmla="*/ 228 h 432"/>
              <a:gd name="T110" fmla="*/ 58 w 432"/>
              <a:gd name="T111" fmla="*/ 247 h 432"/>
              <a:gd name="T112" fmla="*/ 83 w 432"/>
              <a:gd name="T113" fmla="*/ 298 h 432"/>
              <a:gd name="T114" fmla="*/ 82 w 432"/>
              <a:gd name="T115" fmla="*/ 306 h 432"/>
              <a:gd name="T116" fmla="*/ 57 w 432"/>
              <a:gd name="T117" fmla="*/ 338 h 432"/>
              <a:gd name="T118" fmla="*/ 81 w 432"/>
              <a:gd name="T119" fmla="*/ 369 h 432"/>
              <a:gd name="T120" fmla="*/ 126 w 432"/>
              <a:gd name="T121" fmla="*/ 35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2" h="432">
                <a:moveTo>
                  <a:pt x="229" y="432"/>
                </a:moveTo>
                <a:cubicBezTo>
                  <a:pt x="204" y="432"/>
                  <a:pt x="204" y="432"/>
                  <a:pt x="204" y="432"/>
                </a:cubicBezTo>
                <a:cubicBezTo>
                  <a:pt x="186" y="432"/>
                  <a:pt x="172" y="418"/>
                  <a:pt x="172" y="401"/>
                </a:cubicBezTo>
                <a:cubicBezTo>
                  <a:pt x="172" y="379"/>
                  <a:pt x="172" y="379"/>
                  <a:pt x="172" y="379"/>
                </a:cubicBezTo>
                <a:cubicBezTo>
                  <a:pt x="158" y="375"/>
                  <a:pt x="145" y="369"/>
                  <a:pt x="132" y="362"/>
                </a:cubicBezTo>
                <a:cubicBezTo>
                  <a:pt x="116" y="378"/>
                  <a:pt x="116" y="378"/>
                  <a:pt x="116" y="378"/>
                </a:cubicBezTo>
                <a:cubicBezTo>
                  <a:pt x="104" y="390"/>
                  <a:pt x="84" y="390"/>
                  <a:pt x="72" y="378"/>
                </a:cubicBezTo>
                <a:cubicBezTo>
                  <a:pt x="54" y="360"/>
                  <a:pt x="54" y="360"/>
                  <a:pt x="54" y="360"/>
                </a:cubicBezTo>
                <a:cubicBezTo>
                  <a:pt x="48" y="354"/>
                  <a:pt x="45" y="346"/>
                  <a:pt x="45" y="338"/>
                </a:cubicBezTo>
                <a:cubicBezTo>
                  <a:pt x="45" y="329"/>
                  <a:pt x="48" y="322"/>
                  <a:pt x="54" y="316"/>
                </a:cubicBezTo>
                <a:cubicBezTo>
                  <a:pt x="70" y="300"/>
                  <a:pt x="70" y="300"/>
                  <a:pt x="70" y="300"/>
                </a:cubicBezTo>
                <a:cubicBezTo>
                  <a:pt x="63" y="287"/>
                  <a:pt x="57" y="274"/>
                  <a:pt x="53" y="260"/>
                </a:cubicBezTo>
                <a:cubicBezTo>
                  <a:pt x="31" y="260"/>
                  <a:pt x="31" y="260"/>
                  <a:pt x="31" y="260"/>
                </a:cubicBezTo>
                <a:cubicBezTo>
                  <a:pt x="14" y="260"/>
                  <a:pt x="0" y="246"/>
                  <a:pt x="0" y="228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186"/>
                  <a:pt x="14" y="172"/>
                  <a:pt x="31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7" y="158"/>
                  <a:pt x="63" y="144"/>
                  <a:pt x="70" y="132"/>
                </a:cubicBezTo>
                <a:cubicBezTo>
                  <a:pt x="54" y="116"/>
                  <a:pt x="54" y="116"/>
                  <a:pt x="54" y="116"/>
                </a:cubicBezTo>
                <a:cubicBezTo>
                  <a:pt x="48" y="110"/>
                  <a:pt x="45" y="102"/>
                  <a:pt x="45" y="94"/>
                </a:cubicBezTo>
                <a:cubicBezTo>
                  <a:pt x="45" y="85"/>
                  <a:pt x="48" y="78"/>
                  <a:pt x="54" y="72"/>
                </a:cubicBezTo>
                <a:cubicBezTo>
                  <a:pt x="72" y="54"/>
                  <a:pt x="72" y="54"/>
                  <a:pt x="72" y="54"/>
                </a:cubicBezTo>
                <a:cubicBezTo>
                  <a:pt x="84" y="42"/>
                  <a:pt x="104" y="42"/>
                  <a:pt x="116" y="54"/>
                </a:cubicBezTo>
                <a:cubicBezTo>
                  <a:pt x="132" y="70"/>
                  <a:pt x="132" y="70"/>
                  <a:pt x="132" y="70"/>
                </a:cubicBezTo>
                <a:cubicBezTo>
                  <a:pt x="145" y="62"/>
                  <a:pt x="158" y="57"/>
                  <a:pt x="172" y="53"/>
                </a:cubicBezTo>
                <a:cubicBezTo>
                  <a:pt x="172" y="31"/>
                  <a:pt x="172" y="31"/>
                  <a:pt x="172" y="31"/>
                </a:cubicBezTo>
                <a:cubicBezTo>
                  <a:pt x="172" y="14"/>
                  <a:pt x="186" y="0"/>
                  <a:pt x="204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46" y="0"/>
                  <a:pt x="260" y="14"/>
                  <a:pt x="260" y="31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74" y="57"/>
                  <a:pt x="288" y="62"/>
                  <a:pt x="300" y="70"/>
                </a:cubicBezTo>
                <a:cubicBezTo>
                  <a:pt x="316" y="54"/>
                  <a:pt x="316" y="54"/>
                  <a:pt x="316" y="54"/>
                </a:cubicBezTo>
                <a:cubicBezTo>
                  <a:pt x="328" y="42"/>
                  <a:pt x="348" y="42"/>
                  <a:pt x="360" y="54"/>
                </a:cubicBezTo>
                <a:cubicBezTo>
                  <a:pt x="378" y="72"/>
                  <a:pt x="378" y="72"/>
                  <a:pt x="378" y="72"/>
                </a:cubicBezTo>
                <a:cubicBezTo>
                  <a:pt x="384" y="78"/>
                  <a:pt x="387" y="85"/>
                  <a:pt x="387" y="94"/>
                </a:cubicBezTo>
                <a:cubicBezTo>
                  <a:pt x="387" y="102"/>
                  <a:pt x="384" y="110"/>
                  <a:pt x="378" y="116"/>
                </a:cubicBezTo>
                <a:cubicBezTo>
                  <a:pt x="362" y="132"/>
                  <a:pt x="362" y="132"/>
                  <a:pt x="362" y="132"/>
                </a:cubicBezTo>
                <a:cubicBezTo>
                  <a:pt x="370" y="144"/>
                  <a:pt x="375" y="158"/>
                  <a:pt x="379" y="172"/>
                </a:cubicBezTo>
                <a:cubicBezTo>
                  <a:pt x="401" y="172"/>
                  <a:pt x="401" y="172"/>
                  <a:pt x="401" y="172"/>
                </a:cubicBezTo>
                <a:cubicBezTo>
                  <a:pt x="418" y="172"/>
                  <a:pt x="432" y="186"/>
                  <a:pt x="432" y="203"/>
                </a:cubicBezTo>
                <a:cubicBezTo>
                  <a:pt x="432" y="228"/>
                  <a:pt x="432" y="228"/>
                  <a:pt x="432" y="228"/>
                </a:cubicBezTo>
                <a:cubicBezTo>
                  <a:pt x="432" y="246"/>
                  <a:pt x="418" y="260"/>
                  <a:pt x="401" y="260"/>
                </a:cubicBezTo>
                <a:cubicBezTo>
                  <a:pt x="379" y="260"/>
                  <a:pt x="379" y="260"/>
                  <a:pt x="379" y="260"/>
                </a:cubicBezTo>
                <a:cubicBezTo>
                  <a:pt x="375" y="274"/>
                  <a:pt x="370" y="287"/>
                  <a:pt x="362" y="300"/>
                </a:cubicBezTo>
                <a:cubicBezTo>
                  <a:pt x="378" y="316"/>
                  <a:pt x="378" y="316"/>
                  <a:pt x="378" y="316"/>
                </a:cubicBezTo>
                <a:cubicBezTo>
                  <a:pt x="384" y="322"/>
                  <a:pt x="387" y="329"/>
                  <a:pt x="387" y="338"/>
                </a:cubicBezTo>
                <a:cubicBezTo>
                  <a:pt x="387" y="346"/>
                  <a:pt x="384" y="354"/>
                  <a:pt x="378" y="360"/>
                </a:cubicBezTo>
                <a:cubicBezTo>
                  <a:pt x="360" y="378"/>
                  <a:pt x="360" y="378"/>
                  <a:pt x="360" y="378"/>
                </a:cubicBezTo>
                <a:cubicBezTo>
                  <a:pt x="348" y="390"/>
                  <a:pt x="328" y="390"/>
                  <a:pt x="316" y="378"/>
                </a:cubicBezTo>
                <a:cubicBezTo>
                  <a:pt x="300" y="362"/>
                  <a:pt x="300" y="362"/>
                  <a:pt x="300" y="362"/>
                </a:cubicBezTo>
                <a:cubicBezTo>
                  <a:pt x="288" y="369"/>
                  <a:pt x="274" y="375"/>
                  <a:pt x="260" y="379"/>
                </a:cubicBezTo>
                <a:cubicBezTo>
                  <a:pt x="260" y="401"/>
                  <a:pt x="260" y="401"/>
                  <a:pt x="260" y="401"/>
                </a:cubicBezTo>
                <a:cubicBezTo>
                  <a:pt x="260" y="418"/>
                  <a:pt x="246" y="432"/>
                  <a:pt x="229" y="432"/>
                </a:cubicBezTo>
                <a:close/>
                <a:moveTo>
                  <a:pt x="131" y="348"/>
                </a:moveTo>
                <a:cubicBezTo>
                  <a:pt x="132" y="348"/>
                  <a:pt x="133" y="349"/>
                  <a:pt x="134" y="349"/>
                </a:cubicBezTo>
                <a:cubicBezTo>
                  <a:pt x="148" y="358"/>
                  <a:pt x="164" y="364"/>
                  <a:pt x="180" y="368"/>
                </a:cubicBezTo>
                <a:cubicBezTo>
                  <a:pt x="183" y="369"/>
                  <a:pt x="185" y="371"/>
                  <a:pt x="185" y="374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185" y="411"/>
                  <a:pt x="193" y="420"/>
                  <a:pt x="204" y="420"/>
                </a:cubicBezTo>
                <a:cubicBezTo>
                  <a:pt x="229" y="420"/>
                  <a:pt x="229" y="420"/>
                  <a:pt x="229" y="420"/>
                </a:cubicBezTo>
                <a:cubicBezTo>
                  <a:pt x="239" y="420"/>
                  <a:pt x="248" y="411"/>
                  <a:pt x="248" y="401"/>
                </a:cubicBezTo>
                <a:cubicBezTo>
                  <a:pt x="248" y="374"/>
                  <a:pt x="248" y="374"/>
                  <a:pt x="248" y="374"/>
                </a:cubicBezTo>
                <a:cubicBezTo>
                  <a:pt x="248" y="371"/>
                  <a:pt x="250" y="369"/>
                  <a:pt x="252" y="368"/>
                </a:cubicBezTo>
                <a:cubicBezTo>
                  <a:pt x="269" y="364"/>
                  <a:pt x="284" y="358"/>
                  <a:pt x="298" y="349"/>
                </a:cubicBezTo>
                <a:cubicBezTo>
                  <a:pt x="301" y="348"/>
                  <a:pt x="304" y="348"/>
                  <a:pt x="306" y="350"/>
                </a:cubicBezTo>
                <a:cubicBezTo>
                  <a:pt x="325" y="369"/>
                  <a:pt x="325" y="369"/>
                  <a:pt x="325" y="369"/>
                </a:cubicBezTo>
                <a:cubicBezTo>
                  <a:pt x="332" y="376"/>
                  <a:pt x="344" y="376"/>
                  <a:pt x="352" y="369"/>
                </a:cubicBezTo>
                <a:cubicBezTo>
                  <a:pt x="369" y="351"/>
                  <a:pt x="369" y="351"/>
                  <a:pt x="369" y="351"/>
                </a:cubicBezTo>
                <a:cubicBezTo>
                  <a:pt x="377" y="344"/>
                  <a:pt x="377" y="332"/>
                  <a:pt x="369" y="324"/>
                </a:cubicBezTo>
                <a:cubicBezTo>
                  <a:pt x="351" y="306"/>
                  <a:pt x="351" y="306"/>
                  <a:pt x="351" y="306"/>
                </a:cubicBezTo>
                <a:cubicBezTo>
                  <a:pt x="349" y="304"/>
                  <a:pt x="348" y="302"/>
                  <a:pt x="349" y="299"/>
                </a:cubicBezTo>
                <a:cubicBezTo>
                  <a:pt x="349" y="299"/>
                  <a:pt x="349" y="298"/>
                  <a:pt x="349" y="298"/>
                </a:cubicBezTo>
                <a:cubicBezTo>
                  <a:pt x="358" y="284"/>
                  <a:pt x="364" y="268"/>
                  <a:pt x="368" y="252"/>
                </a:cubicBezTo>
                <a:cubicBezTo>
                  <a:pt x="369" y="249"/>
                  <a:pt x="371" y="247"/>
                  <a:pt x="374" y="247"/>
                </a:cubicBezTo>
                <a:cubicBezTo>
                  <a:pt x="401" y="247"/>
                  <a:pt x="401" y="247"/>
                  <a:pt x="401" y="247"/>
                </a:cubicBezTo>
                <a:cubicBezTo>
                  <a:pt x="412" y="247"/>
                  <a:pt x="420" y="239"/>
                  <a:pt x="420" y="228"/>
                </a:cubicBezTo>
                <a:cubicBezTo>
                  <a:pt x="420" y="203"/>
                  <a:pt x="420" y="203"/>
                  <a:pt x="420" y="203"/>
                </a:cubicBezTo>
                <a:cubicBezTo>
                  <a:pt x="420" y="193"/>
                  <a:pt x="412" y="184"/>
                  <a:pt x="401" y="184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71" y="184"/>
                  <a:pt x="369" y="182"/>
                  <a:pt x="368" y="180"/>
                </a:cubicBezTo>
                <a:cubicBezTo>
                  <a:pt x="364" y="163"/>
                  <a:pt x="358" y="148"/>
                  <a:pt x="349" y="134"/>
                </a:cubicBezTo>
                <a:cubicBezTo>
                  <a:pt x="348" y="131"/>
                  <a:pt x="348" y="128"/>
                  <a:pt x="350" y="12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77" y="100"/>
                  <a:pt x="377" y="88"/>
                  <a:pt x="369" y="80"/>
                </a:cubicBezTo>
                <a:cubicBezTo>
                  <a:pt x="352" y="63"/>
                  <a:pt x="352" y="63"/>
                  <a:pt x="352" y="63"/>
                </a:cubicBezTo>
                <a:cubicBezTo>
                  <a:pt x="344" y="55"/>
                  <a:pt x="332" y="55"/>
                  <a:pt x="325" y="63"/>
                </a:cubicBezTo>
                <a:cubicBezTo>
                  <a:pt x="306" y="82"/>
                  <a:pt x="306" y="82"/>
                  <a:pt x="306" y="82"/>
                </a:cubicBezTo>
                <a:cubicBezTo>
                  <a:pt x="304" y="84"/>
                  <a:pt x="300" y="84"/>
                  <a:pt x="298" y="83"/>
                </a:cubicBezTo>
                <a:cubicBezTo>
                  <a:pt x="284" y="74"/>
                  <a:pt x="269" y="68"/>
                  <a:pt x="252" y="64"/>
                </a:cubicBezTo>
                <a:cubicBezTo>
                  <a:pt x="250" y="63"/>
                  <a:pt x="248" y="61"/>
                  <a:pt x="248" y="58"/>
                </a:cubicBezTo>
                <a:cubicBezTo>
                  <a:pt x="248" y="31"/>
                  <a:pt x="248" y="31"/>
                  <a:pt x="248" y="31"/>
                </a:cubicBezTo>
                <a:cubicBezTo>
                  <a:pt x="248" y="20"/>
                  <a:pt x="239" y="12"/>
                  <a:pt x="229" y="12"/>
                </a:cubicBezTo>
                <a:cubicBezTo>
                  <a:pt x="204" y="12"/>
                  <a:pt x="204" y="12"/>
                  <a:pt x="204" y="12"/>
                </a:cubicBezTo>
                <a:cubicBezTo>
                  <a:pt x="193" y="12"/>
                  <a:pt x="185" y="20"/>
                  <a:pt x="185" y="31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61"/>
                  <a:pt x="183" y="63"/>
                  <a:pt x="180" y="64"/>
                </a:cubicBezTo>
                <a:cubicBezTo>
                  <a:pt x="164" y="68"/>
                  <a:pt x="148" y="74"/>
                  <a:pt x="134" y="83"/>
                </a:cubicBezTo>
                <a:cubicBezTo>
                  <a:pt x="132" y="84"/>
                  <a:pt x="129" y="84"/>
                  <a:pt x="127" y="8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0" y="55"/>
                  <a:pt x="88" y="55"/>
                  <a:pt x="81" y="63"/>
                </a:cubicBezTo>
                <a:cubicBezTo>
                  <a:pt x="63" y="80"/>
                  <a:pt x="63" y="80"/>
                  <a:pt x="63" y="80"/>
                </a:cubicBezTo>
                <a:cubicBezTo>
                  <a:pt x="59" y="84"/>
                  <a:pt x="57" y="89"/>
                  <a:pt x="57" y="94"/>
                </a:cubicBezTo>
                <a:cubicBezTo>
                  <a:pt x="57" y="99"/>
                  <a:pt x="59" y="104"/>
                  <a:pt x="63" y="10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8"/>
                  <a:pt x="84" y="131"/>
                  <a:pt x="83" y="134"/>
                </a:cubicBezTo>
                <a:cubicBezTo>
                  <a:pt x="74" y="148"/>
                  <a:pt x="68" y="163"/>
                  <a:pt x="64" y="180"/>
                </a:cubicBezTo>
                <a:cubicBezTo>
                  <a:pt x="63" y="182"/>
                  <a:pt x="61" y="184"/>
                  <a:pt x="58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21" y="184"/>
                  <a:pt x="12" y="193"/>
                  <a:pt x="12" y="203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9"/>
                  <a:pt x="21" y="247"/>
                  <a:pt x="31" y="247"/>
                </a:cubicBezTo>
                <a:cubicBezTo>
                  <a:pt x="58" y="247"/>
                  <a:pt x="58" y="247"/>
                  <a:pt x="58" y="247"/>
                </a:cubicBezTo>
                <a:cubicBezTo>
                  <a:pt x="61" y="247"/>
                  <a:pt x="63" y="249"/>
                  <a:pt x="64" y="252"/>
                </a:cubicBezTo>
                <a:cubicBezTo>
                  <a:pt x="68" y="268"/>
                  <a:pt x="74" y="284"/>
                  <a:pt x="83" y="298"/>
                </a:cubicBezTo>
                <a:cubicBezTo>
                  <a:pt x="83" y="298"/>
                  <a:pt x="83" y="299"/>
                  <a:pt x="83" y="299"/>
                </a:cubicBezTo>
                <a:cubicBezTo>
                  <a:pt x="84" y="302"/>
                  <a:pt x="83" y="304"/>
                  <a:pt x="82" y="306"/>
                </a:cubicBezTo>
                <a:cubicBezTo>
                  <a:pt x="63" y="324"/>
                  <a:pt x="63" y="324"/>
                  <a:pt x="63" y="324"/>
                </a:cubicBezTo>
                <a:cubicBezTo>
                  <a:pt x="59" y="328"/>
                  <a:pt x="57" y="333"/>
                  <a:pt x="57" y="338"/>
                </a:cubicBezTo>
                <a:cubicBezTo>
                  <a:pt x="57" y="343"/>
                  <a:pt x="59" y="348"/>
                  <a:pt x="63" y="351"/>
                </a:cubicBezTo>
                <a:cubicBezTo>
                  <a:pt x="81" y="369"/>
                  <a:pt x="81" y="369"/>
                  <a:pt x="81" y="369"/>
                </a:cubicBezTo>
                <a:cubicBezTo>
                  <a:pt x="88" y="376"/>
                  <a:pt x="100" y="376"/>
                  <a:pt x="108" y="369"/>
                </a:cubicBezTo>
                <a:cubicBezTo>
                  <a:pt x="126" y="350"/>
                  <a:pt x="126" y="350"/>
                  <a:pt x="126" y="350"/>
                </a:cubicBezTo>
                <a:cubicBezTo>
                  <a:pt x="127" y="349"/>
                  <a:pt x="129" y="348"/>
                  <a:pt x="131" y="3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4" name="Freeform 933">
            <a:extLst>
              <a:ext uri="{FF2B5EF4-FFF2-40B4-BE49-F238E27FC236}">
                <a16:creationId xmlns:a16="http://schemas.microsoft.com/office/drawing/2014/main" id="{8ED14F67-D867-96CC-1AC1-4C2CD7D1BF14}"/>
              </a:ext>
            </a:extLst>
          </p:cNvPr>
          <p:cNvSpPr>
            <a:spLocks/>
          </p:cNvSpPr>
          <p:nvPr/>
        </p:nvSpPr>
        <p:spPr bwMode="auto">
          <a:xfrm>
            <a:off x="9128338" y="5467999"/>
            <a:ext cx="18041" cy="117262"/>
          </a:xfrm>
          <a:custGeom>
            <a:avLst/>
            <a:gdLst>
              <a:gd name="T0" fmla="*/ 6 w 15"/>
              <a:gd name="T1" fmla="*/ 99 h 99"/>
              <a:gd name="T2" fmla="*/ 5 w 15"/>
              <a:gd name="T3" fmla="*/ 99 h 99"/>
              <a:gd name="T4" fmla="*/ 0 w 15"/>
              <a:gd name="T5" fmla="*/ 93 h 99"/>
              <a:gd name="T6" fmla="*/ 4 w 15"/>
              <a:gd name="T7" fmla="*/ 6 h 99"/>
              <a:gd name="T8" fmla="*/ 9 w 15"/>
              <a:gd name="T9" fmla="*/ 0 h 99"/>
              <a:gd name="T10" fmla="*/ 15 w 15"/>
              <a:gd name="T11" fmla="*/ 6 h 99"/>
              <a:gd name="T12" fmla="*/ 11 w 15"/>
              <a:gd name="T13" fmla="*/ 94 h 99"/>
              <a:gd name="T14" fmla="*/ 6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6" y="99"/>
                </a:moveTo>
                <a:cubicBezTo>
                  <a:pt x="6" y="99"/>
                  <a:pt x="6" y="99"/>
                  <a:pt x="5" y="99"/>
                </a:cubicBezTo>
                <a:cubicBezTo>
                  <a:pt x="2" y="99"/>
                  <a:pt x="0" y="96"/>
                  <a:pt x="0" y="93"/>
                </a:cubicBezTo>
                <a:cubicBezTo>
                  <a:pt x="4" y="6"/>
                  <a:pt x="4" y="6"/>
                  <a:pt x="4" y="6"/>
                </a:cubicBezTo>
                <a:cubicBezTo>
                  <a:pt x="4" y="3"/>
                  <a:pt x="6" y="0"/>
                  <a:pt x="9" y="0"/>
                </a:cubicBezTo>
                <a:cubicBezTo>
                  <a:pt x="13" y="1"/>
                  <a:pt x="15" y="3"/>
                  <a:pt x="15" y="6"/>
                </a:cubicBezTo>
                <a:cubicBezTo>
                  <a:pt x="11" y="94"/>
                  <a:pt x="11" y="94"/>
                  <a:pt x="11" y="94"/>
                </a:cubicBezTo>
                <a:cubicBezTo>
                  <a:pt x="11" y="97"/>
                  <a:pt x="9" y="99"/>
                  <a:pt x="6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5" name="Freeform 934">
            <a:extLst>
              <a:ext uri="{FF2B5EF4-FFF2-40B4-BE49-F238E27FC236}">
                <a16:creationId xmlns:a16="http://schemas.microsoft.com/office/drawing/2014/main" id="{2167CC87-1F31-9CD1-90F1-A8C142733451}"/>
              </a:ext>
            </a:extLst>
          </p:cNvPr>
          <p:cNvSpPr>
            <a:spLocks/>
          </p:cNvSpPr>
          <p:nvPr/>
        </p:nvSpPr>
        <p:spPr bwMode="auto">
          <a:xfrm>
            <a:off x="9366468" y="5467999"/>
            <a:ext cx="16235" cy="117262"/>
          </a:xfrm>
          <a:custGeom>
            <a:avLst/>
            <a:gdLst>
              <a:gd name="T0" fmla="*/ 9 w 15"/>
              <a:gd name="T1" fmla="*/ 99 h 99"/>
              <a:gd name="T2" fmla="*/ 4 w 15"/>
              <a:gd name="T3" fmla="*/ 94 h 99"/>
              <a:gd name="T4" fmla="*/ 0 w 15"/>
              <a:gd name="T5" fmla="*/ 6 h 99"/>
              <a:gd name="T6" fmla="*/ 5 w 15"/>
              <a:gd name="T7" fmla="*/ 0 h 99"/>
              <a:gd name="T8" fmla="*/ 11 w 15"/>
              <a:gd name="T9" fmla="*/ 6 h 99"/>
              <a:gd name="T10" fmla="*/ 15 w 15"/>
              <a:gd name="T11" fmla="*/ 93 h 99"/>
              <a:gd name="T12" fmla="*/ 9 w 15"/>
              <a:gd name="T13" fmla="*/ 99 h 99"/>
              <a:gd name="T14" fmla="*/ 9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9" y="99"/>
                </a:moveTo>
                <a:cubicBezTo>
                  <a:pt x="6" y="99"/>
                  <a:pt x="4" y="97"/>
                  <a:pt x="4" y="94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1"/>
                  <a:pt x="5" y="0"/>
                </a:cubicBezTo>
                <a:cubicBezTo>
                  <a:pt x="8" y="0"/>
                  <a:pt x="11" y="3"/>
                  <a:pt x="11" y="6"/>
                </a:cubicBezTo>
                <a:cubicBezTo>
                  <a:pt x="15" y="93"/>
                  <a:pt x="15" y="93"/>
                  <a:pt x="15" y="93"/>
                </a:cubicBezTo>
                <a:cubicBezTo>
                  <a:pt x="15" y="96"/>
                  <a:pt x="12" y="99"/>
                  <a:pt x="9" y="99"/>
                </a:cubicBezTo>
                <a:cubicBezTo>
                  <a:pt x="9" y="99"/>
                  <a:pt x="9" y="99"/>
                  <a:pt x="9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6" name="Freeform 935">
            <a:extLst>
              <a:ext uri="{FF2B5EF4-FFF2-40B4-BE49-F238E27FC236}">
                <a16:creationId xmlns:a16="http://schemas.microsoft.com/office/drawing/2014/main" id="{BD25A80F-E26B-B9C5-13C5-21FA9E312CE2}"/>
              </a:ext>
            </a:extLst>
          </p:cNvPr>
          <p:cNvSpPr>
            <a:spLocks noEditPoints="1"/>
          </p:cNvSpPr>
          <p:nvPr/>
        </p:nvSpPr>
        <p:spPr bwMode="auto">
          <a:xfrm>
            <a:off x="9056178" y="5379601"/>
            <a:ext cx="400491" cy="205655"/>
          </a:xfrm>
          <a:custGeom>
            <a:avLst/>
            <a:gdLst>
              <a:gd name="T0" fmla="*/ 307 w 340"/>
              <a:gd name="T1" fmla="*/ 174 h 174"/>
              <a:gd name="T2" fmla="*/ 33 w 340"/>
              <a:gd name="T3" fmla="*/ 174 h 174"/>
              <a:gd name="T4" fmla="*/ 9 w 340"/>
              <a:gd name="T5" fmla="*/ 163 h 174"/>
              <a:gd name="T6" fmla="*/ 1 w 340"/>
              <a:gd name="T7" fmla="*/ 138 h 174"/>
              <a:gd name="T8" fmla="*/ 11 w 340"/>
              <a:gd name="T9" fmla="*/ 43 h 174"/>
              <a:gd name="T10" fmla="*/ 62 w 340"/>
              <a:gd name="T11" fmla="*/ 0 h 174"/>
              <a:gd name="T12" fmla="*/ 143 w 340"/>
              <a:gd name="T13" fmla="*/ 0 h 174"/>
              <a:gd name="T14" fmla="*/ 147 w 340"/>
              <a:gd name="T15" fmla="*/ 1 h 174"/>
              <a:gd name="T16" fmla="*/ 149 w 340"/>
              <a:gd name="T17" fmla="*/ 6 h 174"/>
              <a:gd name="T18" fmla="*/ 148 w 340"/>
              <a:gd name="T19" fmla="*/ 12 h 174"/>
              <a:gd name="T20" fmla="*/ 153 w 340"/>
              <a:gd name="T21" fmla="*/ 30 h 174"/>
              <a:gd name="T22" fmla="*/ 170 w 340"/>
              <a:gd name="T23" fmla="*/ 38 h 174"/>
              <a:gd name="T24" fmla="*/ 187 w 340"/>
              <a:gd name="T25" fmla="*/ 30 h 174"/>
              <a:gd name="T26" fmla="*/ 192 w 340"/>
              <a:gd name="T27" fmla="*/ 12 h 174"/>
              <a:gd name="T28" fmla="*/ 191 w 340"/>
              <a:gd name="T29" fmla="*/ 6 h 174"/>
              <a:gd name="T30" fmla="*/ 192 w 340"/>
              <a:gd name="T31" fmla="*/ 1 h 174"/>
              <a:gd name="T32" fmla="*/ 197 w 340"/>
              <a:gd name="T33" fmla="*/ 0 h 174"/>
              <a:gd name="T34" fmla="*/ 278 w 340"/>
              <a:gd name="T35" fmla="*/ 0 h 174"/>
              <a:gd name="T36" fmla="*/ 328 w 340"/>
              <a:gd name="T37" fmla="*/ 43 h 174"/>
              <a:gd name="T38" fmla="*/ 339 w 340"/>
              <a:gd name="T39" fmla="*/ 138 h 174"/>
              <a:gd name="T40" fmla="*/ 331 w 340"/>
              <a:gd name="T41" fmla="*/ 163 h 174"/>
              <a:gd name="T42" fmla="*/ 307 w 340"/>
              <a:gd name="T43" fmla="*/ 174 h 174"/>
              <a:gd name="T44" fmla="*/ 62 w 340"/>
              <a:gd name="T45" fmla="*/ 11 h 174"/>
              <a:gd name="T46" fmla="*/ 22 w 340"/>
              <a:gd name="T47" fmla="*/ 45 h 174"/>
              <a:gd name="T48" fmla="*/ 12 w 340"/>
              <a:gd name="T49" fmla="*/ 140 h 174"/>
              <a:gd name="T50" fmla="*/ 17 w 340"/>
              <a:gd name="T51" fmla="*/ 156 h 174"/>
              <a:gd name="T52" fmla="*/ 33 w 340"/>
              <a:gd name="T53" fmla="*/ 163 h 174"/>
              <a:gd name="T54" fmla="*/ 307 w 340"/>
              <a:gd name="T55" fmla="*/ 163 h 174"/>
              <a:gd name="T56" fmla="*/ 323 w 340"/>
              <a:gd name="T57" fmla="*/ 156 h 174"/>
              <a:gd name="T58" fmla="*/ 328 w 340"/>
              <a:gd name="T59" fmla="*/ 140 h 174"/>
              <a:gd name="T60" fmla="*/ 318 w 340"/>
              <a:gd name="T61" fmla="*/ 44 h 174"/>
              <a:gd name="T62" fmla="*/ 278 w 340"/>
              <a:gd name="T63" fmla="*/ 11 h 174"/>
              <a:gd name="T64" fmla="*/ 203 w 340"/>
              <a:gd name="T65" fmla="*/ 11 h 174"/>
              <a:gd name="T66" fmla="*/ 203 w 340"/>
              <a:gd name="T67" fmla="*/ 11 h 174"/>
              <a:gd name="T68" fmla="*/ 195 w 340"/>
              <a:gd name="T69" fmla="*/ 37 h 174"/>
              <a:gd name="T70" fmla="*/ 170 w 340"/>
              <a:gd name="T71" fmla="*/ 49 h 174"/>
              <a:gd name="T72" fmla="*/ 170 w 340"/>
              <a:gd name="T73" fmla="*/ 49 h 174"/>
              <a:gd name="T74" fmla="*/ 144 w 340"/>
              <a:gd name="T75" fmla="*/ 37 h 174"/>
              <a:gd name="T76" fmla="*/ 137 w 340"/>
              <a:gd name="T77" fmla="*/ 11 h 174"/>
              <a:gd name="T78" fmla="*/ 137 w 340"/>
              <a:gd name="T79" fmla="*/ 11 h 174"/>
              <a:gd name="T80" fmla="*/ 62 w 340"/>
              <a:gd name="T81" fmla="*/ 11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40" h="174">
                <a:moveTo>
                  <a:pt x="307" y="174"/>
                </a:moveTo>
                <a:cubicBezTo>
                  <a:pt x="33" y="174"/>
                  <a:pt x="33" y="174"/>
                  <a:pt x="33" y="174"/>
                </a:cubicBezTo>
                <a:cubicBezTo>
                  <a:pt x="24" y="174"/>
                  <a:pt x="15" y="170"/>
                  <a:pt x="9" y="163"/>
                </a:cubicBezTo>
                <a:cubicBezTo>
                  <a:pt x="3" y="156"/>
                  <a:pt x="0" y="147"/>
                  <a:pt x="1" y="138"/>
                </a:cubicBezTo>
                <a:cubicBezTo>
                  <a:pt x="11" y="43"/>
                  <a:pt x="11" y="43"/>
                  <a:pt x="11" y="43"/>
                </a:cubicBezTo>
                <a:cubicBezTo>
                  <a:pt x="15" y="18"/>
                  <a:pt x="36" y="0"/>
                  <a:pt x="62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5" y="0"/>
                  <a:pt x="146" y="0"/>
                  <a:pt x="147" y="1"/>
                </a:cubicBezTo>
                <a:cubicBezTo>
                  <a:pt x="148" y="3"/>
                  <a:pt x="149" y="4"/>
                  <a:pt x="149" y="6"/>
                </a:cubicBezTo>
                <a:cubicBezTo>
                  <a:pt x="148" y="12"/>
                  <a:pt x="148" y="12"/>
                  <a:pt x="148" y="12"/>
                </a:cubicBezTo>
                <a:cubicBezTo>
                  <a:pt x="147" y="18"/>
                  <a:pt x="150" y="27"/>
                  <a:pt x="153" y="30"/>
                </a:cubicBezTo>
                <a:cubicBezTo>
                  <a:pt x="157" y="35"/>
                  <a:pt x="163" y="38"/>
                  <a:pt x="170" y="38"/>
                </a:cubicBezTo>
                <a:cubicBezTo>
                  <a:pt x="176" y="38"/>
                  <a:pt x="183" y="35"/>
                  <a:pt x="187" y="30"/>
                </a:cubicBezTo>
                <a:cubicBezTo>
                  <a:pt x="190" y="27"/>
                  <a:pt x="192" y="18"/>
                  <a:pt x="192" y="12"/>
                </a:cubicBezTo>
                <a:cubicBezTo>
                  <a:pt x="191" y="6"/>
                  <a:pt x="191" y="6"/>
                  <a:pt x="191" y="6"/>
                </a:cubicBezTo>
                <a:cubicBezTo>
                  <a:pt x="191" y="4"/>
                  <a:pt x="191" y="3"/>
                  <a:pt x="192" y="1"/>
                </a:cubicBezTo>
                <a:cubicBezTo>
                  <a:pt x="193" y="0"/>
                  <a:pt x="195" y="0"/>
                  <a:pt x="197" y="0"/>
                </a:cubicBezTo>
                <a:cubicBezTo>
                  <a:pt x="278" y="0"/>
                  <a:pt x="278" y="0"/>
                  <a:pt x="278" y="0"/>
                </a:cubicBezTo>
                <a:cubicBezTo>
                  <a:pt x="303" y="0"/>
                  <a:pt x="325" y="18"/>
                  <a:pt x="328" y="43"/>
                </a:cubicBezTo>
                <a:cubicBezTo>
                  <a:pt x="339" y="138"/>
                  <a:pt x="339" y="138"/>
                  <a:pt x="339" y="138"/>
                </a:cubicBezTo>
                <a:cubicBezTo>
                  <a:pt x="340" y="147"/>
                  <a:pt x="337" y="156"/>
                  <a:pt x="331" y="163"/>
                </a:cubicBezTo>
                <a:cubicBezTo>
                  <a:pt x="325" y="170"/>
                  <a:pt x="316" y="174"/>
                  <a:pt x="307" y="174"/>
                </a:cubicBezTo>
                <a:close/>
                <a:moveTo>
                  <a:pt x="62" y="11"/>
                </a:moveTo>
                <a:cubicBezTo>
                  <a:pt x="42" y="11"/>
                  <a:pt x="25" y="25"/>
                  <a:pt x="22" y="45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1" y="145"/>
                  <a:pt x="13" y="151"/>
                  <a:pt x="17" y="156"/>
                </a:cubicBezTo>
                <a:cubicBezTo>
                  <a:pt x="21" y="160"/>
                  <a:pt x="27" y="163"/>
                  <a:pt x="33" y="163"/>
                </a:cubicBezTo>
                <a:cubicBezTo>
                  <a:pt x="307" y="163"/>
                  <a:pt x="307" y="163"/>
                  <a:pt x="307" y="163"/>
                </a:cubicBezTo>
                <a:cubicBezTo>
                  <a:pt x="313" y="163"/>
                  <a:pt x="319" y="160"/>
                  <a:pt x="323" y="156"/>
                </a:cubicBezTo>
                <a:cubicBezTo>
                  <a:pt x="327" y="151"/>
                  <a:pt x="328" y="145"/>
                  <a:pt x="328" y="140"/>
                </a:cubicBezTo>
                <a:cubicBezTo>
                  <a:pt x="318" y="44"/>
                  <a:pt x="318" y="44"/>
                  <a:pt x="318" y="44"/>
                </a:cubicBezTo>
                <a:cubicBezTo>
                  <a:pt x="315" y="25"/>
                  <a:pt x="298" y="11"/>
                  <a:pt x="278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4" y="20"/>
                  <a:pt x="200" y="31"/>
                  <a:pt x="195" y="37"/>
                </a:cubicBezTo>
                <a:cubicBezTo>
                  <a:pt x="189" y="45"/>
                  <a:pt x="180" y="49"/>
                  <a:pt x="170" y="49"/>
                </a:cubicBezTo>
                <a:cubicBezTo>
                  <a:pt x="170" y="49"/>
                  <a:pt x="170" y="49"/>
                  <a:pt x="170" y="49"/>
                </a:cubicBezTo>
                <a:cubicBezTo>
                  <a:pt x="160" y="49"/>
                  <a:pt x="151" y="45"/>
                  <a:pt x="144" y="37"/>
                </a:cubicBezTo>
                <a:cubicBezTo>
                  <a:pt x="139" y="31"/>
                  <a:pt x="136" y="20"/>
                  <a:pt x="137" y="11"/>
                </a:cubicBezTo>
                <a:cubicBezTo>
                  <a:pt x="137" y="11"/>
                  <a:pt x="137" y="11"/>
                  <a:pt x="137" y="11"/>
                </a:cubicBezTo>
                <a:lnTo>
                  <a:pt x="62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7" name="Freeform 936">
            <a:extLst>
              <a:ext uri="{FF2B5EF4-FFF2-40B4-BE49-F238E27FC236}">
                <a16:creationId xmlns:a16="http://schemas.microsoft.com/office/drawing/2014/main" id="{22321714-85C7-BF85-156F-CB07BEDF29E6}"/>
              </a:ext>
            </a:extLst>
          </p:cNvPr>
          <p:cNvSpPr>
            <a:spLocks noEditPoints="1"/>
          </p:cNvSpPr>
          <p:nvPr/>
        </p:nvSpPr>
        <p:spPr bwMode="auto">
          <a:xfrm>
            <a:off x="9216735" y="5348933"/>
            <a:ext cx="79377" cy="88396"/>
          </a:xfrm>
          <a:custGeom>
            <a:avLst/>
            <a:gdLst>
              <a:gd name="T0" fmla="*/ 34 w 68"/>
              <a:gd name="T1" fmla="*/ 76 h 76"/>
              <a:gd name="T2" fmla="*/ 10 w 68"/>
              <a:gd name="T3" fmla="*/ 67 h 76"/>
              <a:gd name="T4" fmla="*/ 1 w 68"/>
              <a:gd name="T5" fmla="*/ 39 h 76"/>
              <a:gd name="T6" fmla="*/ 5 w 68"/>
              <a:gd name="T7" fmla="*/ 5 h 76"/>
              <a:gd name="T8" fmla="*/ 7 w 68"/>
              <a:gd name="T9" fmla="*/ 1 h 76"/>
              <a:gd name="T10" fmla="*/ 12 w 68"/>
              <a:gd name="T11" fmla="*/ 0 h 76"/>
              <a:gd name="T12" fmla="*/ 27 w 68"/>
              <a:gd name="T13" fmla="*/ 2 h 76"/>
              <a:gd name="T14" fmla="*/ 40 w 68"/>
              <a:gd name="T15" fmla="*/ 2 h 76"/>
              <a:gd name="T16" fmla="*/ 56 w 68"/>
              <a:gd name="T17" fmla="*/ 0 h 76"/>
              <a:gd name="T18" fmla="*/ 61 w 68"/>
              <a:gd name="T19" fmla="*/ 1 h 76"/>
              <a:gd name="T20" fmla="*/ 63 w 68"/>
              <a:gd name="T21" fmla="*/ 5 h 76"/>
              <a:gd name="T22" fmla="*/ 67 w 68"/>
              <a:gd name="T23" fmla="*/ 39 h 76"/>
              <a:gd name="T24" fmla="*/ 67 w 68"/>
              <a:gd name="T25" fmla="*/ 39 h 76"/>
              <a:gd name="T26" fmla="*/ 57 w 68"/>
              <a:gd name="T27" fmla="*/ 67 h 76"/>
              <a:gd name="T28" fmla="*/ 34 w 68"/>
              <a:gd name="T29" fmla="*/ 76 h 76"/>
              <a:gd name="T30" fmla="*/ 15 w 68"/>
              <a:gd name="T31" fmla="*/ 12 h 76"/>
              <a:gd name="T32" fmla="*/ 12 w 68"/>
              <a:gd name="T33" fmla="*/ 41 h 76"/>
              <a:gd name="T34" fmla="*/ 18 w 68"/>
              <a:gd name="T35" fmla="*/ 59 h 76"/>
              <a:gd name="T36" fmla="*/ 50 w 68"/>
              <a:gd name="T37" fmla="*/ 59 h 76"/>
              <a:gd name="T38" fmla="*/ 56 w 68"/>
              <a:gd name="T39" fmla="*/ 41 h 76"/>
              <a:gd name="T40" fmla="*/ 56 w 68"/>
              <a:gd name="T41" fmla="*/ 41 h 76"/>
              <a:gd name="T42" fmla="*/ 53 w 68"/>
              <a:gd name="T43" fmla="*/ 12 h 76"/>
              <a:gd name="T44" fmla="*/ 40 w 68"/>
              <a:gd name="T45" fmla="*/ 13 h 76"/>
              <a:gd name="T46" fmla="*/ 27 w 68"/>
              <a:gd name="T47" fmla="*/ 13 h 76"/>
              <a:gd name="T48" fmla="*/ 15 w 68"/>
              <a:gd name="T49" fmla="*/ 12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8" h="76">
                <a:moveTo>
                  <a:pt x="34" y="76"/>
                </a:moveTo>
                <a:cubicBezTo>
                  <a:pt x="25" y="76"/>
                  <a:pt x="17" y="73"/>
                  <a:pt x="10" y="67"/>
                </a:cubicBezTo>
                <a:cubicBezTo>
                  <a:pt x="3" y="59"/>
                  <a:pt x="0" y="49"/>
                  <a:pt x="1" y="39"/>
                </a:cubicBezTo>
                <a:cubicBezTo>
                  <a:pt x="5" y="5"/>
                  <a:pt x="5" y="5"/>
                  <a:pt x="5" y="5"/>
                </a:cubicBezTo>
                <a:cubicBezTo>
                  <a:pt x="5" y="3"/>
                  <a:pt x="6" y="2"/>
                  <a:pt x="7" y="1"/>
                </a:cubicBezTo>
                <a:cubicBezTo>
                  <a:pt x="8" y="0"/>
                  <a:pt x="10" y="0"/>
                  <a:pt x="12" y="0"/>
                </a:cubicBezTo>
                <a:cubicBezTo>
                  <a:pt x="17" y="2"/>
                  <a:pt x="22" y="2"/>
                  <a:pt x="27" y="2"/>
                </a:cubicBezTo>
                <a:cubicBezTo>
                  <a:pt x="40" y="2"/>
                  <a:pt x="40" y="2"/>
                  <a:pt x="40" y="2"/>
                </a:cubicBezTo>
                <a:cubicBezTo>
                  <a:pt x="46" y="2"/>
                  <a:pt x="51" y="2"/>
                  <a:pt x="56" y="0"/>
                </a:cubicBezTo>
                <a:cubicBezTo>
                  <a:pt x="58" y="0"/>
                  <a:pt x="59" y="0"/>
                  <a:pt x="61" y="1"/>
                </a:cubicBezTo>
                <a:cubicBezTo>
                  <a:pt x="62" y="2"/>
                  <a:pt x="63" y="3"/>
                  <a:pt x="63" y="5"/>
                </a:cubicBezTo>
                <a:cubicBezTo>
                  <a:pt x="67" y="39"/>
                  <a:pt x="67" y="39"/>
                  <a:pt x="67" y="39"/>
                </a:cubicBezTo>
                <a:cubicBezTo>
                  <a:pt x="67" y="39"/>
                  <a:pt x="67" y="39"/>
                  <a:pt x="67" y="39"/>
                </a:cubicBezTo>
                <a:cubicBezTo>
                  <a:pt x="68" y="49"/>
                  <a:pt x="65" y="59"/>
                  <a:pt x="57" y="67"/>
                </a:cubicBezTo>
                <a:cubicBezTo>
                  <a:pt x="51" y="73"/>
                  <a:pt x="42" y="76"/>
                  <a:pt x="34" y="76"/>
                </a:cubicBezTo>
                <a:close/>
                <a:moveTo>
                  <a:pt x="15" y="12"/>
                </a:moveTo>
                <a:cubicBezTo>
                  <a:pt x="12" y="41"/>
                  <a:pt x="12" y="41"/>
                  <a:pt x="12" y="41"/>
                </a:cubicBezTo>
                <a:cubicBezTo>
                  <a:pt x="11" y="47"/>
                  <a:pt x="13" y="54"/>
                  <a:pt x="18" y="59"/>
                </a:cubicBezTo>
                <a:cubicBezTo>
                  <a:pt x="27" y="67"/>
                  <a:pt x="41" y="67"/>
                  <a:pt x="50" y="59"/>
                </a:cubicBezTo>
                <a:cubicBezTo>
                  <a:pt x="54" y="54"/>
                  <a:pt x="57" y="47"/>
                  <a:pt x="56" y="41"/>
                </a:cubicBezTo>
                <a:cubicBezTo>
                  <a:pt x="56" y="41"/>
                  <a:pt x="56" y="41"/>
                  <a:pt x="56" y="41"/>
                </a:cubicBezTo>
                <a:cubicBezTo>
                  <a:pt x="53" y="12"/>
                  <a:pt x="53" y="12"/>
                  <a:pt x="53" y="12"/>
                </a:cubicBezTo>
                <a:cubicBezTo>
                  <a:pt x="49" y="13"/>
                  <a:pt x="44" y="13"/>
                  <a:pt x="40" y="13"/>
                </a:cubicBezTo>
                <a:cubicBezTo>
                  <a:pt x="27" y="13"/>
                  <a:pt x="27" y="13"/>
                  <a:pt x="27" y="13"/>
                </a:cubicBezTo>
                <a:cubicBezTo>
                  <a:pt x="23" y="13"/>
                  <a:pt x="19" y="13"/>
                  <a:pt x="15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8" name="Freeform 937">
            <a:extLst>
              <a:ext uri="{FF2B5EF4-FFF2-40B4-BE49-F238E27FC236}">
                <a16:creationId xmlns:a16="http://schemas.microsoft.com/office/drawing/2014/main" id="{61247B13-5B3D-3B6E-590B-E6ACF8911A77}"/>
              </a:ext>
            </a:extLst>
          </p:cNvPr>
          <p:cNvSpPr>
            <a:spLocks noEditPoints="1"/>
          </p:cNvSpPr>
          <p:nvPr/>
        </p:nvSpPr>
        <p:spPr bwMode="auto">
          <a:xfrm>
            <a:off x="9168026" y="5188377"/>
            <a:ext cx="174991" cy="174991"/>
          </a:xfrm>
          <a:custGeom>
            <a:avLst/>
            <a:gdLst>
              <a:gd name="T0" fmla="*/ 81 w 149"/>
              <a:gd name="T1" fmla="*/ 149 h 149"/>
              <a:gd name="T2" fmla="*/ 68 w 149"/>
              <a:gd name="T3" fmla="*/ 149 h 149"/>
              <a:gd name="T4" fmla="*/ 50 w 149"/>
              <a:gd name="T5" fmla="*/ 147 h 149"/>
              <a:gd name="T6" fmla="*/ 0 w 149"/>
              <a:gd name="T7" fmla="*/ 81 h 149"/>
              <a:gd name="T8" fmla="*/ 0 w 149"/>
              <a:gd name="T9" fmla="*/ 58 h 149"/>
              <a:gd name="T10" fmla="*/ 58 w 149"/>
              <a:gd name="T11" fmla="*/ 0 h 149"/>
              <a:gd name="T12" fmla="*/ 92 w 149"/>
              <a:gd name="T13" fmla="*/ 0 h 149"/>
              <a:gd name="T14" fmla="*/ 149 w 149"/>
              <a:gd name="T15" fmla="*/ 58 h 149"/>
              <a:gd name="T16" fmla="*/ 149 w 149"/>
              <a:gd name="T17" fmla="*/ 81 h 149"/>
              <a:gd name="T18" fmla="*/ 100 w 149"/>
              <a:gd name="T19" fmla="*/ 147 h 149"/>
              <a:gd name="T20" fmla="*/ 81 w 149"/>
              <a:gd name="T21" fmla="*/ 149 h 149"/>
              <a:gd name="T22" fmla="*/ 58 w 149"/>
              <a:gd name="T23" fmla="*/ 11 h 149"/>
              <a:gd name="T24" fmla="*/ 11 w 149"/>
              <a:gd name="T25" fmla="*/ 58 h 149"/>
              <a:gd name="T26" fmla="*/ 11 w 149"/>
              <a:gd name="T27" fmla="*/ 81 h 149"/>
              <a:gd name="T28" fmla="*/ 53 w 149"/>
              <a:gd name="T29" fmla="*/ 136 h 149"/>
              <a:gd name="T30" fmla="*/ 68 w 149"/>
              <a:gd name="T31" fmla="*/ 138 h 149"/>
              <a:gd name="T32" fmla="*/ 81 w 149"/>
              <a:gd name="T33" fmla="*/ 138 h 149"/>
              <a:gd name="T34" fmla="*/ 97 w 149"/>
              <a:gd name="T35" fmla="*/ 136 h 149"/>
              <a:gd name="T36" fmla="*/ 138 w 149"/>
              <a:gd name="T37" fmla="*/ 81 h 149"/>
              <a:gd name="T38" fmla="*/ 138 w 149"/>
              <a:gd name="T39" fmla="*/ 58 h 149"/>
              <a:gd name="T40" fmla="*/ 92 w 149"/>
              <a:gd name="T41" fmla="*/ 11 h 149"/>
              <a:gd name="T42" fmla="*/ 58 w 149"/>
              <a:gd name="T43" fmla="*/ 11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9" h="149">
                <a:moveTo>
                  <a:pt x="81" y="149"/>
                </a:moveTo>
                <a:cubicBezTo>
                  <a:pt x="68" y="149"/>
                  <a:pt x="68" y="149"/>
                  <a:pt x="68" y="149"/>
                </a:cubicBezTo>
                <a:cubicBezTo>
                  <a:pt x="62" y="149"/>
                  <a:pt x="56" y="148"/>
                  <a:pt x="50" y="147"/>
                </a:cubicBezTo>
                <a:cubicBezTo>
                  <a:pt x="21" y="138"/>
                  <a:pt x="0" y="111"/>
                  <a:pt x="0" y="8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26"/>
                  <a:pt x="26" y="0"/>
                  <a:pt x="58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124" y="0"/>
                  <a:pt x="149" y="26"/>
                  <a:pt x="149" y="58"/>
                </a:cubicBezTo>
                <a:cubicBezTo>
                  <a:pt x="149" y="81"/>
                  <a:pt x="149" y="81"/>
                  <a:pt x="149" y="81"/>
                </a:cubicBezTo>
                <a:cubicBezTo>
                  <a:pt x="149" y="111"/>
                  <a:pt x="129" y="138"/>
                  <a:pt x="100" y="147"/>
                </a:cubicBezTo>
                <a:cubicBezTo>
                  <a:pt x="94" y="148"/>
                  <a:pt x="88" y="149"/>
                  <a:pt x="81" y="149"/>
                </a:cubicBezTo>
                <a:close/>
                <a:moveTo>
                  <a:pt x="58" y="11"/>
                </a:moveTo>
                <a:cubicBezTo>
                  <a:pt x="32" y="11"/>
                  <a:pt x="11" y="32"/>
                  <a:pt x="11" y="58"/>
                </a:cubicBezTo>
                <a:cubicBezTo>
                  <a:pt x="11" y="81"/>
                  <a:pt x="11" y="81"/>
                  <a:pt x="11" y="81"/>
                </a:cubicBezTo>
                <a:cubicBezTo>
                  <a:pt x="11" y="107"/>
                  <a:pt x="28" y="129"/>
                  <a:pt x="53" y="136"/>
                </a:cubicBezTo>
                <a:cubicBezTo>
                  <a:pt x="58" y="138"/>
                  <a:pt x="63" y="138"/>
                  <a:pt x="68" y="138"/>
                </a:cubicBezTo>
                <a:cubicBezTo>
                  <a:pt x="81" y="138"/>
                  <a:pt x="81" y="138"/>
                  <a:pt x="81" y="138"/>
                </a:cubicBezTo>
                <a:cubicBezTo>
                  <a:pt x="87" y="138"/>
                  <a:pt x="92" y="138"/>
                  <a:pt x="97" y="136"/>
                </a:cubicBezTo>
                <a:cubicBezTo>
                  <a:pt x="121" y="129"/>
                  <a:pt x="138" y="107"/>
                  <a:pt x="138" y="81"/>
                </a:cubicBezTo>
                <a:cubicBezTo>
                  <a:pt x="138" y="58"/>
                  <a:pt x="138" y="58"/>
                  <a:pt x="138" y="58"/>
                </a:cubicBezTo>
                <a:cubicBezTo>
                  <a:pt x="138" y="32"/>
                  <a:pt x="118" y="11"/>
                  <a:pt x="92" y="11"/>
                </a:cubicBezTo>
                <a:lnTo>
                  <a:pt x="58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8B25AE62-9F91-598D-4A26-829B0B88B4A3}"/>
              </a:ext>
            </a:extLst>
          </p:cNvPr>
          <p:cNvSpPr txBox="1">
            <a:spLocks/>
          </p:cNvSpPr>
          <p:nvPr/>
        </p:nvSpPr>
        <p:spPr>
          <a:xfrm>
            <a:off x="419099" y="1468935"/>
            <a:ext cx="4448630" cy="71724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>
                <a:solidFill>
                  <a:schemeClr val="lt1"/>
                </a:solidFill>
                <a:latin typeface="+mj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endParaRPr lang="en-US" sz="2400" dirty="0">
              <a:latin typeface="+mn-lt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4DC3EA08-A71A-A1B3-4D54-8CB2153BF549}"/>
              </a:ext>
            </a:extLst>
          </p:cNvPr>
          <p:cNvSpPr/>
          <p:nvPr/>
        </p:nvSpPr>
        <p:spPr>
          <a:xfrm>
            <a:off x="419099" y="2187127"/>
            <a:ext cx="4448630" cy="366492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1841E2F3-3C5E-F6B4-D02D-ED6215E31820}"/>
              </a:ext>
            </a:extLst>
          </p:cNvPr>
          <p:cNvSpPr/>
          <p:nvPr/>
        </p:nvSpPr>
        <p:spPr>
          <a:xfrm rot="5400000">
            <a:off x="541870" y="2559475"/>
            <a:ext cx="321083" cy="20123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02" name="Shape12_20220427_135811">
            <a:extLst>
              <a:ext uri="{FF2B5EF4-FFF2-40B4-BE49-F238E27FC236}">
                <a16:creationId xmlns:a16="http://schemas.microsoft.com/office/drawing/2014/main" id="{95ACCDB2-8366-0017-BF09-B58FCAC9597E}"/>
              </a:ext>
            </a:extLst>
          </p:cNvPr>
          <p:cNvSpPr txBox="1"/>
          <p:nvPr/>
        </p:nvSpPr>
        <p:spPr>
          <a:xfrm>
            <a:off x="985719" y="2542030"/>
            <a:ext cx="361566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lang="en-IN"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3" name="Shape13_20220427_135811">
            <a:extLst>
              <a:ext uri="{FF2B5EF4-FFF2-40B4-BE49-F238E27FC236}">
                <a16:creationId xmlns:a16="http://schemas.microsoft.com/office/drawing/2014/main" id="{F1630B1F-CB4F-2D42-417A-41EF6125E82D}"/>
              </a:ext>
            </a:extLst>
          </p:cNvPr>
          <p:cNvSpPr txBox="1"/>
          <p:nvPr/>
        </p:nvSpPr>
        <p:spPr>
          <a:xfrm>
            <a:off x="985719" y="2916939"/>
            <a:ext cx="3615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lang="en-IN" sz="14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4" name="Isosceles Triangle 103">
            <a:extLst>
              <a:ext uri="{FF2B5EF4-FFF2-40B4-BE49-F238E27FC236}">
                <a16:creationId xmlns:a16="http://schemas.microsoft.com/office/drawing/2014/main" id="{2FFE2F4C-ED30-F544-05FD-CFDFA55386C6}"/>
              </a:ext>
            </a:extLst>
          </p:cNvPr>
          <p:cNvSpPr/>
          <p:nvPr/>
        </p:nvSpPr>
        <p:spPr>
          <a:xfrm rot="5400000">
            <a:off x="541870" y="3842062"/>
            <a:ext cx="321083" cy="20123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05" name="Shape14_20220427_135811">
            <a:extLst>
              <a:ext uri="{FF2B5EF4-FFF2-40B4-BE49-F238E27FC236}">
                <a16:creationId xmlns:a16="http://schemas.microsoft.com/office/drawing/2014/main" id="{54FDA9C1-545E-7CEF-7A64-8A81AEB4D73E}"/>
              </a:ext>
            </a:extLst>
          </p:cNvPr>
          <p:cNvSpPr txBox="1"/>
          <p:nvPr/>
        </p:nvSpPr>
        <p:spPr>
          <a:xfrm>
            <a:off x="985719" y="3824616"/>
            <a:ext cx="361566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lang="en-IN"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6" name="Shape15_20220427_135811">
            <a:extLst>
              <a:ext uri="{FF2B5EF4-FFF2-40B4-BE49-F238E27FC236}">
                <a16:creationId xmlns:a16="http://schemas.microsoft.com/office/drawing/2014/main" id="{321A6192-BB6B-CDED-649F-3A2DCDF9E5AD}"/>
              </a:ext>
            </a:extLst>
          </p:cNvPr>
          <p:cNvSpPr txBox="1"/>
          <p:nvPr/>
        </p:nvSpPr>
        <p:spPr>
          <a:xfrm>
            <a:off x="985719" y="4199526"/>
            <a:ext cx="3615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lang="en-IN" sz="14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7" name="Isosceles Triangle 106">
            <a:extLst>
              <a:ext uri="{FF2B5EF4-FFF2-40B4-BE49-F238E27FC236}">
                <a16:creationId xmlns:a16="http://schemas.microsoft.com/office/drawing/2014/main" id="{117EE99E-BB37-9AE1-3B22-229A2F4BB5DC}"/>
              </a:ext>
            </a:extLst>
          </p:cNvPr>
          <p:cNvSpPr/>
          <p:nvPr/>
        </p:nvSpPr>
        <p:spPr>
          <a:xfrm rot="5400000">
            <a:off x="541870" y="5124651"/>
            <a:ext cx="321083" cy="20123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08" name="Shape16_20220427_135811">
            <a:extLst>
              <a:ext uri="{FF2B5EF4-FFF2-40B4-BE49-F238E27FC236}">
                <a16:creationId xmlns:a16="http://schemas.microsoft.com/office/drawing/2014/main" id="{FF52CB7B-89B6-2345-A2A6-B3B47C71E55D}"/>
              </a:ext>
            </a:extLst>
          </p:cNvPr>
          <p:cNvSpPr txBox="1"/>
          <p:nvPr/>
        </p:nvSpPr>
        <p:spPr>
          <a:xfrm>
            <a:off x="985719" y="5107205"/>
            <a:ext cx="361566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09" name="Shape17_20220427_135811">
            <a:extLst>
              <a:ext uri="{FF2B5EF4-FFF2-40B4-BE49-F238E27FC236}">
                <a16:creationId xmlns:a16="http://schemas.microsoft.com/office/drawing/2014/main" id="{D12452BB-4A45-D8A2-6E51-463FA9894992}"/>
              </a:ext>
            </a:extLst>
          </p:cNvPr>
          <p:cNvSpPr txBox="1"/>
          <p:nvPr/>
        </p:nvSpPr>
        <p:spPr>
          <a:xfrm>
            <a:off x="985719" y="5482110"/>
            <a:ext cx="3615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lang="en-IN" sz="14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295F125-F528-5413-9CAE-5B70F2C229B3}"/>
              </a:ext>
            </a:extLst>
          </p:cNvPr>
          <p:cNvCxnSpPr/>
          <p:nvPr/>
        </p:nvCxnSpPr>
        <p:spPr>
          <a:xfrm>
            <a:off x="985719" y="3469710"/>
            <a:ext cx="3615664" cy="0"/>
          </a:xfrm>
          <a:prstGeom prst="line">
            <a:avLst/>
          </a:prstGeom>
          <a:ln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C721B838-562B-7524-B2C9-7D44C06B0D65}"/>
              </a:ext>
            </a:extLst>
          </p:cNvPr>
          <p:cNvCxnSpPr/>
          <p:nvPr/>
        </p:nvCxnSpPr>
        <p:spPr>
          <a:xfrm>
            <a:off x="985719" y="4752299"/>
            <a:ext cx="3615664" cy="0"/>
          </a:xfrm>
          <a:prstGeom prst="line">
            <a:avLst/>
          </a:prstGeom>
          <a:ln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136F5888-C476-45B7-0E08-33CD18A5D083}"/>
              </a:ext>
            </a:extLst>
          </p:cNvPr>
          <p:cNvSpPr/>
          <p:nvPr/>
        </p:nvSpPr>
        <p:spPr>
          <a:xfrm>
            <a:off x="1805044" y="1642892"/>
            <a:ext cx="1676741" cy="36933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bg1"/>
                </a:solidFill>
                <a:ea typeface="ＭＳ Ｐゴシック" pitchFamily="-108" charset="-128"/>
              </a:rPr>
              <a:t>Case Study</a:t>
            </a:r>
            <a:endParaRPr lang="en-IN" sz="2400" b="1" dirty="0">
              <a:solidFill>
                <a:schemeClr val="bg1"/>
              </a:solidFill>
              <a:ea typeface="ＭＳ Ｐゴシック" pitchFamily="-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7408781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45B4A9-BE1E-14E1-50E7-6C2CEA939D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F81B69A-9090-5767-EC81-022EE14CC2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81B69A-9090-5767-EC81-022EE14CC2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8AEDC2-3942-DC9D-9928-633637A9D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072146A-1F0F-AA46-2F8A-3D79253EDE2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7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07F576B-20FA-C7C4-C39C-4D455CEAFB3E}"/>
              </a:ext>
            </a:extLst>
          </p:cNvPr>
          <p:cNvGrpSpPr/>
          <p:nvPr/>
        </p:nvGrpSpPr>
        <p:grpSpPr>
          <a:xfrm>
            <a:off x="4176717" y="1372038"/>
            <a:ext cx="3853073" cy="4619790"/>
            <a:chOff x="4176717" y="1476210"/>
            <a:chExt cx="3853073" cy="3453855"/>
          </a:xfrm>
        </p:grpSpPr>
        <p:cxnSp>
          <p:nvCxnSpPr>
            <p:cNvPr id="3" name="Shape1_20210621_181029">
              <a:extLst>
                <a:ext uri="{FF2B5EF4-FFF2-40B4-BE49-F238E27FC236}">
                  <a16:creationId xmlns:a16="http://schemas.microsoft.com/office/drawing/2014/main" id="{6E4ECB48-F0CC-67AA-CD5C-AC650F2DA86E}"/>
                </a:ext>
              </a:extLst>
            </p:cNvPr>
            <p:cNvCxnSpPr>
              <a:cxnSpLocks/>
            </p:cNvCxnSpPr>
            <p:nvPr/>
          </p:nvCxnSpPr>
          <p:spPr>
            <a:xfrm>
              <a:off x="8029790" y="1476210"/>
              <a:ext cx="0" cy="3453855"/>
            </a:xfrm>
            <a:prstGeom prst="line">
              <a:avLst/>
            </a:prstGeom>
            <a:ln>
              <a:solidFill>
                <a:srgbClr val="BFBFB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hape0_20210621_181029">
              <a:extLst>
                <a:ext uri="{FF2B5EF4-FFF2-40B4-BE49-F238E27FC236}">
                  <a16:creationId xmlns:a16="http://schemas.microsoft.com/office/drawing/2014/main" id="{BD82938D-CDB1-FAE3-7630-888DDC100CAF}"/>
                </a:ext>
              </a:extLst>
            </p:cNvPr>
            <p:cNvCxnSpPr>
              <a:cxnSpLocks/>
            </p:cNvCxnSpPr>
            <p:nvPr/>
          </p:nvCxnSpPr>
          <p:spPr>
            <a:xfrm>
              <a:off x="4176717" y="1476210"/>
              <a:ext cx="0" cy="3453855"/>
            </a:xfrm>
            <a:prstGeom prst="line">
              <a:avLst/>
            </a:prstGeom>
            <a:ln>
              <a:solidFill>
                <a:srgbClr val="BFBFB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hape1_20220518_131534">
            <a:extLst>
              <a:ext uri="{FF2B5EF4-FFF2-40B4-BE49-F238E27FC236}">
                <a16:creationId xmlns:a16="http://schemas.microsoft.com/office/drawing/2014/main" id="{A3B8AE86-4C9E-8791-E672-C9EB24F818E7}"/>
              </a:ext>
            </a:extLst>
          </p:cNvPr>
          <p:cNvSpPr/>
          <p:nvPr/>
        </p:nvSpPr>
        <p:spPr>
          <a:xfrm>
            <a:off x="4297133" y="1372038"/>
            <a:ext cx="3608583" cy="4405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30" name="Shape0_20210621_180903">
            <a:extLst>
              <a:ext uri="{FF2B5EF4-FFF2-40B4-BE49-F238E27FC236}">
                <a16:creationId xmlns:a16="http://schemas.microsoft.com/office/drawing/2014/main" id="{3AFE7046-EED6-CFD3-8B84-CD313D0E7868}"/>
              </a:ext>
            </a:extLst>
          </p:cNvPr>
          <p:cNvSpPr>
            <a:spLocks/>
          </p:cNvSpPr>
          <p:nvPr/>
        </p:nvSpPr>
        <p:spPr>
          <a:xfrm>
            <a:off x="8153879" y="1372038"/>
            <a:ext cx="3608583" cy="4405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31" name="Shape0_20210621_180936">
            <a:extLst>
              <a:ext uri="{FF2B5EF4-FFF2-40B4-BE49-F238E27FC236}">
                <a16:creationId xmlns:a16="http://schemas.microsoft.com/office/drawing/2014/main" id="{8FE9CE1B-23F3-9D38-1181-ECCE36ACDFA3}"/>
              </a:ext>
            </a:extLst>
          </p:cNvPr>
          <p:cNvSpPr txBox="1">
            <a:spLocks/>
          </p:cNvSpPr>
          <p:nvPr/>
        </p:nvSpPr>
        <p:spPr>
          <a:xfrm>
            <a:off x="8340539" y="1935362"/>
            <a:ext cx="3235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+mn-lt"/>
              </a:rPr>
              <a:t>Insert </a:t>
            </a:r>
            <a:r>
              <a:rPr lang="en-US">
                <a:latin typeface="+mn-lt"/>
              </a:rPr>
              <a:t>Text Here</a:t>
            </a:r>
            <a:endParaRPr lang="en-IN" dirty="0">
              <a:latin typeface="+mn-lt"/>
            </a:endParaRPr>
          </a:p>
        </p:txBody>
      </p:sp>
      <p:sp>
        <p:nvSpPr>
          <p:cNvPr id="32" name="Shape2_20210621_180903">
            <a:extLst>
              <a:ext uri="{FF2B5EF4-FFF2-40B4-BE49-F238E27FC236}">
                <a16:creationId xmlns:a16="http://schemas.microsoft.com/office/drawing/2014/main" id="{C2DAC14B-861B-5E2D-0872-3D331A9A393E}"/>
              </a:ext>
            </a:extLst>
          </p:cNvPr>
          <p:cNvSpPr/>
          <p:nvPr/>
        </p:nvSpPr>
        <p:spPr>
          <a:xfrm>
            <a:off x="447728" y="1372038"/>
            <a:ext cx="3608583" cy="440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33" name="Shape2_20210621_180936">
            <a:extLst>
              <a:ext uri="{FF2B5EF4-FFF2-40B4-BE49-F238E27FC236}">
                <a16:creationId xmlns:a16="http://schemas.microsoft.com/office/drawing/2014/main" id="{74A60087-067D-E2C3-8320-D467C0810E70}"/>
              </a:ext>
            </a:extLst>
          </p:cNvPr>
          <p:cNvSpPr txBox="1"/>
          <p:nvPr/>
        </p:nvSpPr>
        <p:spPr>
          <a:xfrm>
            <a:off x="1226278" y="2143127"/>
            <a:ext cx="28300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5" name="Shape0_20220518_131534">
            <a:extLst>
              <a:ext uri="{FF2B5EF4-FFF2-40B4-BE49-F238E27FC236}">
                <a16:creationId xmlns:a16="http://schemas.microsoft.com/office/drawing/2014/main" id="{8F3BB3F0-91FB-7B32-F4D5-1EF42F32B93E}"/>
              </a:ext>
            </a:extLst>
          </p:cNvPr>
          <p:cNvSpPr>
            <a:spLocks noEditPoints="1"/>
          </p:cNvSpPr>
          <p:nvPr/>
        </p:nvSpPr>
        <p:spPr bwMode="auto">
          <a:xfrm>
            <a:off x="475561" y="1947018"/>
            <a:ext cx="643073" cy="638433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rgbClr val="195167"/>
            </a:solidFill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DF39E3B-FD53-673E-28A0-125B27006313}"/>
              </a:ext>
            </a:extLst>
          </p:cNvPr>
          <p:cNvGrpSpPr/>
          <p:nvPr/>
        </p:nvGrpSpPr>
        <p:grpSpPr>
          <a:xfrm>
            <a:off x="624173" y="2094750"/>
            <a:ext cx="345852" cy="342973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37" name="Freeform 1532">
              <a:extLst>
                <a:ext uri="{FF2B5EF4-FFF2-40B4-BE49-F238E27FC236}">
                  <a16:creationId xmlns:a16="http://schemas.microsoft.com/office/drawing/2014/main" id="{4C283051-14FC-A535-EE15-D45EA71091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38" name="Freeform 1533">
              <a:extLst>
                <a:ext uri="{FF2B5EF4-FFF2-40B4-BE49-F238E27FC236}">
                  <a16:creationId xmlns:a16="http://schemas.microsoft.com/office/drawing/2014/main" id="{E4DEBCDD-EF57-A57E-0F30-B2C0E90B4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39" name="Freeform 1534">
              <a:extLst>
                <a:ext uri="{FF2B5EF4-FFF2-40B4-BE49-F238E27FC236}">
                  <a16:creationId xmlns:a16="http://schemas.microsoft.com/office/drawing/2014/main" id="{7F62F088-615F-81BA-AD65-BFB2EAE02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0" name="Freeform 1535">
              <a:extLst>
                <a:ext uri="{FF2B5EF4-FFF2-40B4-BE49-F238E27FC236}">
                  <a16:creationId xmlns:a16="http://schemas.microsoft.com/office/drawing/2014/main" id="{C829F525-14C1-BC7B-9240-735ED0D96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1" name="Freeform 1536">
              <a:extLst>
                <a:ext uri="{FF2B5EF4-FFF2-40B4-BE49-F238E27FC236}">
                  <a16:creationId xmlns:a16="http://schemas.microsoft.com/office/drawing/2014/main" id="{25831EE0-549A-181F-79D8-F11EA67B3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2" name="Freeform 1537">
              <a:extLst>
                <a:ext uri="{FF2B5EF4-FFF2-40B4-BE49-F238E27FC236}">
                  <a16:creationId xmlns:a16="http://schemas.microsoft.com/office/drawing/2014/main" id="{5862D877-C5E4-D1A3-3781-37C454632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3" name="Freeform 1538">
              <a:extLst>
                <a:ext uri="{FF2B5EF4-FFF2-40B4-BE49-F238E27FC236}">
                  <a16:creationId xmlns:a16="http://schemas.microsoft.com/office/drawing/2014/main" id="{B472B2C7-2D53-4D89-4C37-5953CF348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4" name="Freeform 1539">
              <a:extLst>
                <a:ext uri="{FF2B5EF4-FFF2-40B4-BE49-F238E27FC236}">
                  <a16:creationId xmlns:a16="http://schemas.microsoft.com/office/drawing/2014/main" id="{7F062247-F782-2FA6-387B-E11F1E5B9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5" name="Freeform 1540">
              <a:extLst>
                <a:ext uri="{FF2B5EF4-FFF2-40B4-BE49-F238E27FC236}">
                  <a16:creationId xmlns:a16="http://schemas.microsoft.com/office/drawing/2014/main" id="{DFC480F9-24FA-7437-1BDB-2E941D9FB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6" name="Freeform 1541">
              <a:extLst>
                <a:ext uri="{FF2B5EF4-FFF2-40B4-BE49-F238E27FC236}">
                  <a16:creationId xmlns:a16="http://schemas.microsoft.com/office/drawing/2014/main" id="{89EBCCD3-2317-DF3F-B1ED-06B293A55D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7" name="Freeform 1542">
              <a:extLst>
                <a:ext uri="{FF2B5EF4-FFF2-40B4-BE49-F238E27FC236}">
                  <a16:creationId xmlns:a16="http://schemas.microsoft.com/office/drawing/2014/main" id="{8E0E55E7-E0F0-650D-90C6-9D77AAD452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8" name="Freeform 1543">
              <a:extLst>
                <a:ext uri="{FF2B5EF4-FFF2-40B4-BE49-F238E27FC236}">
                  <a16:creationId xmlns:a16="http://schemas.microsoft.com/office/drawing/2014/main" id="{49B11B3A-A382-142A-BF92-433AF6B1C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9EAF0014-8590-D28B-02A3-4AF0DFEA4D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4104271"/>
              </p:ext>
            </p:extLst>
          </p:nvPr>
        </p:nvGraphicFramePr>
        <p:xfrm>
          <a:off x="4304473" y="1961080"/>
          <a:ext cx="3608583" cy="3939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8" name="Shape2_20210621_180936">
            <a:extLst>
              <a:ext uri="{FF2B5EF4-FFF2-40B4-BE49-F238E27FC236}">
                <a16:creationId xmlns:a16="http://schemas.microsoft.com/office/drawing/2014/main" id="{89D61B12-EE9F-014B-2128-9102C4A89472}"/>
              </a:ext>
            </a:extLst>
          </p:cNvPr>
          <p:cNvSpPr txBox="1"/>
          <p:nvPr/>
        </p:nvSpPr>
        <p:spPr>
          <a:xfrm>
            <a:off x="1226278" y="3112062"/>
            <a:ext cx="28300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59" name="Shape0_20220518_131534">
            <a:extLst>
              <a:ext uri="{FF2B5EF4-FFF2-40B4-BE49-F238E27FC236}">
                <a16:creationId xmlns:a16="http://schemas.microsoft.com/office/drawing/2014/main" id="{F0CFC672-137E-C60B-EEB7-8BC979F9CA49}"/>
              </a:ext>
            </a:extLst>
          </p:cNvPr>
          <p:cNvSpPr>
            <a:spLocks noEditPoints="1"/>
          </p:cNvSpPr>
          <p:nvPr/>
        </p:nvSpPr>
        <p:spPr bwMode="auto">
          <a:xfrm>
            <a:off x="475561" y="2915953"/>
            <a:ext cx="643073" cy="638433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rgbClr val="195167"/>
            </a:solidFill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A21DB0A-3364-18D0-D367-1A5E35FEB304}"/>
              </a:ext>
            </a:extLst>
          </p:cNvPr>
          <p:cNvGrpSpPr/>
          <p:nvPr/>
        </p:nvGrpSpPr>
        <p:grpSpPr>
          <a:xfrm>
            <a:off x="624173" y="3063685"/>
            <a:ext cx="345852" cy="342973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61" name="Freeform 1532">
              <a:extLst>
                <a:ext uri="{FF2B5EF4-FFF2-40B4-BE49-F238E27FC236}">
                  <a16:creationId xmlns:a16="http://schemas.microsoft.com/office/drawing/2014/main" id="{5904F3C8-FC69-F225-27EC-44D62F6EF6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2" name="Freeform 1533">
              <a:extLst>
                <a:ext uri="{FF2B5EF4-FFF2-40B4-BE49-F238E27FC236}">
                  <a16:creationId xmlns:a16="http://schemas.microsoft.com/office/drawing/2014/main" id="{C713F7F9-8FFA-60E0-6C77-AEFE60A19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3" name="Freeform 1534">
              <a:extLst>
                <a:ext uri="{FF2B5EF4-FFF2-40B4-BE49-F238E27FC236}">
                  <a16:creationId xmlns:a16="http://schemas.microsoft.com/office/drawing/2014/main" id="{2A5ABC46-8731-1B7C-D1D8-01CFC3B61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4" name="Freeform 1535">
              <a:extLst>
                <a:ext uri="{FF2B5EF4-FFF2-40B4-BE49-F238E27FC236}">
                  <a16:creationId xmlns:a16="http://schemas.microsoft.com/office/drawing/2014/main" id="{39871790-472B-8932-F54F-1F3F96269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5" name="Freeform 1536">
              <a:extLst>
                <a:ext uri="{FF2B5EF4-FFF2-40B4-BE49-F238E27FC236}">
                  <a16:creationId xmlns:a16="http://schemas.microsoft.com/office/drawing/2014/main" id="{93A7B536-2982-8A7D-F4E7-7D0557BC6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6" name="Freeform 1537">
              <a:extLst>
                <a:ext uri="{FF2B5EF4-FFF2-40B4-BE49-F238E27FC236}">
                  <a16:creationId xmlns:a16="http://schemas.microsoft.com/office/drawing/2014/main" id="{841B7E8C-0339-EE79-6F4B-61477FDF5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7" name="Freeform 1538">
              <a:extLst>
                <a:ext uri="{FF2B5EF4-FFF2-40B4-BE49-F238E27FC236}">
                  <a16:creationId xmlns:a16="http://schemas.microsoft.com/office/drawing/2014/main" id="{3B92BA89-7D0E-452B-C398-CC8E5E183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8" name="Freeform 1539">
              <a:extLst>
                <a:ext uri="{FF2B5EF4-FFF2-40B4-BE49-F238E27FC236}">
                  <a16:creationId xmlns:a16="http://schemas.microsoft.com/office/drawing/2014/main" id="{B029E7CD-B935-55E3-E0A4-B94B42B74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9" name="Freeform 1540">
              <a:extLst>
                <a:ext uri="{FF2B5EF4-FFF2-40B4-BE49-F238E27FC236}">
                  <a16:creationId xmlns:a16="http://schemas.microsoft.com/office/drawing/2014/main" id="{C73B19C6-B3CE-4D02-1F67-9047B05C4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70" name="Freeform 1541">
              <a:extLst>
                <a:ext uri="{FF2B5EF4-FFF2-40B4-BE49-F238E27FC236}">
                  <a16:creationId xmlns:a16="http://schemas.microsoft.com/office/drawing/2014/main" id="{C6CA9A81-A6BB-8A10-BA5E-C6CFD21F6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13" name="Freeform 1542">
              <a:extLst>
                <a:ext uri="{FF2B5EF4-FFF2-40B4-BE49-F238E27FC236}">
                  <a16:creationId xmlns:a16="http://schemas.microsoft.com/office/drawing/2014/main" id="{B02AC213-AE12-DA71-A141-AC6248F2DA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14" name="Freeform 1543">
              <a:extLst>
                <a:ext uri="{FF2B5EF4-FFF2-40B4-BE49-F238E27FC236}">
                  <a16:creationId xmlns:a16="http://schemas.microsoft.com/office/drawing/2014/main" id="{B03DAD6F-2341-AFAE-535F-96FDBA420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sp>
        <p:nvSpPr>
          <p:cNvPr id="115" name="Shape2_20210621_180936">
            <a:extLst>
              <a:ext uri="{FF2B5EF4-FFF2-40B4-BE49-F238E27FC236}">
                <a16:creationId xmlns:a16="http://schemas.microsoft.com/office/drawing/2014/main" id="{69E838B2-8B2D-3E4E-3C45-241286220774}"/>
              </a:ext>
            </a:extLst>
          </p:cNvPr>
          <p:cNvSpPr txBox="1"/>
          <p:nvPr/>
        </p:nvSpPr>
        <p:spPr>
          <a:xfrm>
            <a:off x="1226278" y="4149439"/>
            <a:ext cx="28300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16" name="Shape0_20220518_131534">
            <a:extLst>
              <a:ext uri="{FF2B5EF4-FFF2-40B4-BE49-F238E27FC236}">
                <a16:creationId xmlns:a16="http://schemas.microsoft.com/office/drawing/2014/main" id="{6A97969C-75AF-808C-6A1F-CCEA4E622B33}"/>
              </a:ext>
            </a:extLst>
          </p:cNvPr>
          <p:cNvSpPr>
            <a:spLocks noEditPoints="1"/>
          </p:cNvSpPr>
          <p:nvPr/>
        </p:nvSpPr>
        <p:spPr bwMode="auto">
          <a:xfrm>
            <a:off x="475561" y="3953330"/>
            <a:ext cx="643073" cy="638433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rgbClr val="195167"/>
            </a:solidFill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1AB30950-8B08-F120-A13B-73E27EFD14D5}"/>
              </a:ext>
            </a:extLst>
          </p:cNvPr>
          <p:cNvGrpSpPr/>
          <p:nvPr/>
        </p:nvGrpSpPr>
        <p:grpSpPr>
          <a:xfrm>
            <a:off x="624173" y="4101062"/>
            <a:ext cx="345852" cy="342973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118" name="Freeform 1532">
              <a:extLst>
                <a:ext uri="{FF2B5EF4-FFF2-40B4-BE49-F238E27FC236}">
                  <a16:creationId xmlns:a16="http://schemas.microsoft.com/office/drawing/2014/main" id="{E3974263-F81B-38B2-219E-5550C9E5B4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19" name="Freeform 1533">
              <a:extLst>
                <a:ext uri="{FF2B5EF4-FFF2-40B4-BE49-F238E27FC236}">
                  <a16:creationId xmlns:a16="http://schemas.microsoft.com/office/drawing/2014/main" id="{E7FA6557-AB72-AE14-7898-F62607A5A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0" name="Freeform 1534">
              <a:extLst>
                <a:ext uri="{FF2B5EF4-FFF2-40B4-BE49-F238E27FC236}">
                  <a16:creationId xmlns:a16="http://schemas.microsoft.com/office/drawing/2014/main" id="{707708DC-24C9-D218-8E9A-8C8C2359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1" name="Freeform 1535">
              <a:extLst>
                <a:ext uri="{FF2B5EF4-FFF2-40B4-BE49-F238E27FC236}">
                  <a16:creationId xmlns:a16="http://schemas.microsoft.com/office/drawing/2014/main" id="{C52FF00E-097F-49EB-AE25-60C040157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2" name="Freeform 1536">
              <a:extLst>
                <a:ext uri="{FF2B5EF4-FFF2-40B4-BE49-F238E27FC236}">
                  <a16:creationId xmlns:a16="http://schemas.microsoft.com/office/drawing/2014/main" id="{F2539037-186C-0D64-56CA-0D11DE898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3" name="Freeform 1537">
              <a:extLst>
                <a:ext uri="{FF2B5EF4-FFF2-40B4-BE49-F238E27FC236}">
                  <a16:creationId xmlns:a16="http://schemas.microsoft.com/office/drawing/2014/main" id="{5728A4B7-25DC-504B-844F-81415E768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4" name="Freeform 1538">
              <a:extLst>
                <a:ext uri="{FF2B5EF4-FFF2-40B4-BE49-F238E27FC236}">
                  <a16:creationId xmlns:a16="http://schemas.microsoft.com/office/drawing/2014/main" id="{16F4CF3C-8059-42C3-12D5-0F236AC76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5" name="Freeform 1539">
              <a:extLst>
                <a:ext uri="{FF2B5EF4-FFF2-40B4-BE49-F238E27FC236}">
                  <a16:creationId xmlns:a16="http://schemas.microsoft.com/office/drawing/2014/main" id="{E8FEEB65-D442-0361-6179-70FCBE59C2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6" name="Freeform 1540">
              <a:extLst>
                <a:ext uri="{FF2B5EF4-FFF2-40B4-BE49-F238E27FC236}">
                  <a16:creationId xmlns:a16="http://schemas.microsoft.com/office/drawing/2014/main" id="{C5C7022E-DF2F-3F87-4F04-262FF2C80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7" name="Freeform 1541">
              <a:extLst>
                <a:ext uri="{FF2B5EF4-FFF2-40B4-BE49-F238E27FC236}">
                  <a16:creationId xmlns:a16="http://schemas.microsoft.com/office/drawing/2014/main" id="{FBECC6AF-A0F4-019E-0B51-8059D0350F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8" name="Freeform 1542">
              <a:extLst>
                <a:ext uri="{FF2B5EF4-FFF2-40B4-BE49-F238E27FC236}">
                  <a16:creationId xmlns:a16="http://schemas.microsoft.com/office/drawing/2014/main" id="{0DE1DDF7-0637-163D-E2E0-04DE1A9331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9" name="Freeform 1543">
              <a:extLst>
                <a:ext uri="{FF2B5EF4-FFF2-40B4-BE49-F238E27FC236}">
                  <a16:creationId xmlns:a16="http://schemas.microsoft.com/office/drawing/2014/main" id="{6F48E846-986C-91A2-912C-59541733B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sp>
        <p:nvSpPr>
          <p:cNvPr id="130" name="Shape2_20210621_180936">
            <a:extLst>
              <a:ext uri="{FF2B5EF4-FFF2-40B4-BE49-F238E27FC236}">
                <a16:creationId xmlns:a16="http://schemas.microsoft.com/office/drawing/2014/main" id="{823A163F-2D08-C4DF-F054-C94A24C5AE44}"/>
              </a:ext>
            </a:extLst>
          </p:cNvPr>
          <p:cNvSpPr txBox="1"/>
          <p:nvPr/>
        </p:nvSpPr>
        <p:spPr>
          <a:xfrm>
            <a:off x="1226278" y="5136698"/>
            <a:ext cx="28300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1" name="Shape0_20220518_131534">
            <a:extLst>
              <a:ext uri="{FF2B5EF4-FFF2-40B4-BE49-F238E27FC236}">
                <a16:creationId xmlns:a16="http://schemas.microsoft.com/office/drawing/2014/main" id="{9119A953-E59A-037D-DC17-A7FA1AA0C839}"/>
              </a:ext>
            </a:extLst>
          </p:cNvPr>
          <p:cNvSpPr>
            <a:spLocks noEditPoints="1"/>
          </p:cNvSpPr>
          <p:nvPr/>
        </p:nvSpPr>
        <p:spPr bwMode="auto">
          <a:xfrm>
            <a:off x="475561" y="4940589"/>
            <a:ext cx="643073" cy="638433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rgbClr val="195167"/>
            </a:solidFill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62421CB1-2159-3CE4-5927-71C5BBD937B4}"/>
              </a:ext>
            </a:extLst>
          </p:cNvPr>
          <p:cNvGrpSpPr/>
          <p:nvPr/>
        </p:nvGrpSpPr>
        <p:grpSpPr>
          <a:xfrm>
            <a:off x="624173" y="5088321"/>
            <a:ext cx="345852" cy="342973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133" name="Freeform 1532">
              <a:extLst>
                <a:ext uri="{FF2B5EF4-FFF2-40B4-BE49-F238E27FC236}">
                  <a16:creationId xmlns:a16="http://schemas.microsoft.com/office/drawing/2014/main" id="{C51B1D1E-1592-4A5B-7DB4-6ED1860454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4" name="Freeform 1533">
              <a:extLst>
                <a:ext uri="{FF2B5EF4-FFF2-40B4-BE49-F238E27FC236}">
                  <a16:creationId xmlns:a16="http://schemas.microsoft.com/office/drawing/2014/main" id="{9A0AB77A-085B-93A7-F78B-567D5FF7C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5" name="Freeform 1534">
              <a:extLst>
                <a:ext uri="{FF2B5EF4-FFF2-40B4-BE49-F238E27FC236}">
                  <a16:creationId xmlns:a16="http://schemas.microsoft.com/office/drawing/2014/main" id="{1B50A7F2-4775-9001-C0EC-CADB4C7AE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6" name="Freeform 1535">
              <a:extLst>
                <a:ext uri="{FF2B5EF4-FFF2-40B4-BE49-F238E27FC236}">
                  <a16:creationId xmlns:a16="http://schemas.microsoft.com/office/drawing/2014/main" id="{441D0072-CD5F-5075-1284-F9BDAC4C5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7" name="Freeform 1536">
              <a:extLst>
                <a:ext uri="{FF2B5EF4-FFF2-40B4-BE49-F238E27FC236}">
                  <a16:creationId xmlns:a16="http://schemas.microsoft.com/office/drawing/2014/main" id="{18A7B8D4-01CD-1859-71DB-A919C9F0E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8" name="Freeform 1537">
              <a:extLst>
                <a:ext uri="{FF2B5EF4-FFF2-40B4-BE49-F238E27FC236}">
                  <a16:creationId xmlns:a16="http://schemas.microsoft.com/office/drawing/2014/main" id="{29BB2F53-1473-0CED-E59B-955E65761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9" name="Freeform 1538">
              <a:extLst>
                <a:ext uri="{FF2B5EF4-FFF2-40B4-BE49-F238E27FC236}">
                  <a16:creationId xmlns:a16="http://schemas.microsoft.com/office/drawing/2014/main" id="{9FCB769C-1895-20AE-725A-9BD0F4E47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0" name="Freeform 1539">
              <a:extLst>
                <a:ext uri="{FF2B5EF4-FFF2-40B4-BE49-F238E27FC236}">
                  <a16:creationId xmlns:a16="http://schemas.microsoft.com/office/drawing/2014/main" id="{8F9239CF-6507-919A-13E3-805BD0FB7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1" name="Freeform 1540">
              <a:extLst>
                <a:ext uri="{FF2B5EF4-FFF2-40B4-BE49-F238E27FC236}">
                  <a16:creationId xmlns:a16="http://schemas.microsoft.com/office/drawing/2014/main" id="{0B647834-F2F7-CCD6-3E31-93AACB98A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2" name="Freeform 1541">
              <a:extLst>
                <a:ext uri="{FF2B5EF4-FFF2-40B4-BE49-F238E27FC236}">
                  <a16:creationId xmlns:a16="http://schemas.microsoft.com/office/drawing/2014/main" id="{4B2FB95C-3A5A-4852-1CA2-6FFF84F064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3" name="Freeform 1542">
              <a:extLst>
                <a:ext uri="{FF2B5EF4-FFF2-40B4-BE49-F238E27FC236}">
                  <a16:creationId xmlns:a16="http://schemas.microsoft.com/office/drawing/2014/main" id="{ACE1707E-042A-E3DF-887C-86F1ADC41A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4" name="Freeform 1543">
              <a:extLst>
                <a:ext uri="{FF2B5EF4-FFF2-40B4-BE49-F238E27FC236}">
                  <a16:creationId xmlns:a16="http://schemas.microsoft.com/office/drawing/2014/main" id="{1405FB43-D563-B677-3323-E4346B34C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16398760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F91998-3C5F-0DE6-4696-2A5732394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8C82AE2-F666-FBF7-25C9-EB94649C9D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C82AE2-F666-FBF7-25C9-EB94649C9D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137CF7-61E7-196A-46B6-084F1E09A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CFBB215-993B-C602-0FA6-EFA6E845D4D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Google Shape;464;p1">
            <a:extLst>
              <a:ext uri="{FF2B5EF4-FFF2-40B4-BE49-F238E27FC236}">
                <a16:creationId xmlns:a16="http://schemas.microsoft.com/office/drawing/2014/main" id="{35196F02-6C24-7ADC-7D2C-B941C790AAA0}"/>
              </a:ext>
            </a:extLst>
          </p:cNvPr>
          <p:cNvSpPr txBox="1"/>
          <p:nvPr/>
        </p:nvSpPr>
        <p:spPr>
          <a:xfrm>
            <a:off x="1554222" y="5405918"/>
            <a:ext cx="93344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20A7E0"/>
              </a:buClr>
              <a:buSzPts val="1800"/>
              <a:buFont typeface="Arial"/>
              <a:buNone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Shape4_20210621_150425">
            <a:extLst>
              <a:ext uri="{FF2B5EF4-FFF2-40B4-BE49-F238E27FC236}">
                <a16:creationId xmlns:a16="http://schemas.microsoft.com/office/drawing/2014/main" id="{06FC0361-9D01-3191-20B7-1C063C26C774}"/>
              </a:ext>
            </a:extLst>
          </p:cNvPr>
          <p:cNvSpPr txBox="1"/>
          <p:nvPr/>
        </p:nvSpPr>
        <p:spPr>
          <a:xfrm>
            <a:off x="1554222" y="5764035"/>
            <a:ext cx="93344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3F7E9EF-3663-1CE0-BEF4-D947C785861C}"/>
              </a:ext>
            </a:extLst>
          </p:cNvPr>
          <p:cNvGrpSpPr/>
          <p:nvPr/>
        </p:nvGrpSpPr>
        <p:grpSpPr>
          <a:xfrm>
            <a:off x="892915" y="5504147"/>
            <a:ext cx="463445" cy="452346"/>
            <a:chOff x="948424" y="5395570"/>
            <a:chExt cx="752330" cy="509366"/>
          </a:xfrm>
          <a:solidFill>
            <a:schemeClr val="accent1"/>
          </a:solidFill>
        </p:grpSpPr>
        <p:sp>
          <p:nvSpPr>
            <p:cNvPr id="8" name="Freeform 1532">
              <a:extLst>
                <a:ext uri="{FF2B5EF4-FFF2-40B4-BE49-F238E27FC236}">
                  <a16:creationId xmlns:a16="http://schemas.microsoft.com/office/drawing/2014/main" id="{8F240356-AFE5-6166-0F56-215CEC8395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4853" y="5744421"/>
              <a:ext cx="184893" cy="12413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9" name="Freeform 1533">
              <a:extLst>
                <a:ext uri="{FF2B5EF4-FFF2-40B4-BE49-F238E27FC236}">
                  <a16:creationId xmlns:a16="http://schemas.microsoft.com/office/drawing/2014/main" id="{C299E14E-F5A4-2618-638D-715CFC6AB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799" y="5399851"/>
              <a:ext cx="207210" cy="139112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0" name="Freeform 1534">
              <a:extLst>
                <a:ext uri="{FF2B5EF4-FFF2-40B4-BE49-F238E27FC236}">
                  <a16:creationId xmlns:a16="http://schemas.microsoft.com/office/drawing/2014/main" id="{CF99C64F-3BC5-05A3-D997-DE43C7B98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424" y="5474758"/>
              <a:ext cx="232715" cy="121991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1" name="Freeform 1535">
              <a:extLst>
                <a:ext uri="{FF2B5EF4-FFF2-40B4-BE49-F238E27FC236}">
                  <a16:creationId xmlns:a16="http://schemas.microsoft.com/office/drawing/2014/main" id="{824FEDD5-4253-2A84-6122-7001AC0A1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374" y="5395570"/>
              <a:ext cx="191269" cy="156235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2" name="Freeform 1536">
              <a:extLst>
                <a:ext uri="{FF2B5EF4-FFF2-40B4-BE49-F238E27FC236}">
                  <a16:creationId xmlns:a16="http://schemas.microsoft.com/office/drawing/2014/main" id="{B330FB12-605D-996E-EF2A-3CCC8B0C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821" y="5571066"/>
              <a:ext cx="117950" cy="7490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3" name="Freeform 1537">
              <a:extLst>
                <a:ext uri="{FF2B5EF4-FFF2-40B4-BE49-F238E27FC236}">
                  <a16:creationId xmlns:a16="http://schemas.microsoft.com/office/drawing/2014/main" id="{AAAE628C-F076-C1CB-E1EF-51429BFCB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4153" y="5688775"/>
              <a:ext cx="121137" cy="79188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4" name="Freeform 1538">
              <a:extLst>
                <a:ext uri="{FF2B5EF4-FFF2-40B4-BE49-F238E27FC236}">
                  <a16:creationId xmlns:a16="http://schemas.microsoft.com/office/drawing/2014/main" id="{E08848C5-69AA-6658-B8F8-3E6147FF9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6641" y="5538964"/>
              <a:ext cx="296469" cy="199039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5" name="Freeform 1539">
              <a:extLst>
                <a:ext uri="{FF2B5EF4-FFF2-40B4-BE49-F238E27FC236}">
                  <a16:creationId xmlns:a16="http://schemas.microsoft.com/office/drawing/2014/main" id="{93B9A6B3-DF39-5C23-E479-260AD5119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096" y="5701618"/>
              <a:ext cx="299658" cy="203318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6" name="Freeform 1540">
              <a:extLst>
                <a:ext uri="{FF2B5EF4-FFF2-40B4-BE49-F238E27FC236}">
                  <a16:creationId xmlns:a16="http://schemas.microsoft.com/office/drawing/2014/main" id="{AD5A891A-8B3F-0A60-9BF0-A9353948F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2277" y="5416973"/>
              <a:ext cx="372978" cy="254683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7" name="Freeform 1541">
              <a:extLst>
                <a:ext uri="{FF2B5EF4-FFF2-40B4-BE49-F238E27FC236}">
                  <a16:creationId xmlns:a16="http://schemas.microsoft.com/office/drawing/2014/main" id="{23AD4E60-56B0-B7DC-2DF3-9D4D0C9C75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7989" y="5658813"/>
              <a:ext cx="363413" cy="2375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8" name="Freeform 1542">
              <a:extLst>
                <a:ext uri="{FF2B5EF4-FFF2-40B4-BE49-F238E27FC236}">
                  <a16:creationId xmlns:a16="http://schemas.microsoft.com/office/drawing/2014/main" id="{C50261E7-787F-0D48-4209-D2FF8D78A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6204" y="5630990"/>
              <a:ext cx="146639" cy="94169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9" name="Freeform 1543">
              <a:extLst>
                <a:ext uri="{FF2B5EF4-FFF2-40B4-BE49-F238E27FC236}">
                  <a16:creationId xmlns:a16="http://schemas.microsoft.com/office/drawing/2014/main" id="{F6F330DD-9E4F-7685-FDB9-10A9AA9C5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682" y="5416972"/>
              <a:ext cx="63755" cy="42805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</p:grpSp>
      <p:sp>
        <p:nvSpPr>
          <p:cNvPr id="20" name="Shape0_20210630_090810">
            <a:extLst>
              <a:ext uri="{FF2B5EF4-FFF2-40B4-BE49-F238E27FC236}">
                <a16:creationId xmlns:a16="http://schemas.microsoft.com/office/drawing/2014/main" id="{DA33B695-DB75-B0D6-EE64-581E64DF2CEC}"/>
              </a:ext>
            </a:extLst>
          </p:cNvPr>
          <p:cNvSpPr txBox="1"/>
          <p:nvPr/>
        </p:nvSpPr>
        <p:spPr>
          <a:xfrm>
            <a:off x="735152" y="1216917"/>
            <a:ext cx="50319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20A7E0"/>
              </a:buClr>
              <a:buSzPts val="1800"/>
              <a:buFont typeface="Arial"/>
              <a:buNone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7" name="Google Shape;460;p1">
            <a:extLst>
              <a:ext uri="{FF2B5EF4-FFF2-40B4-BE49-F238E27FC236}">
                <a16:creationId xmlns:a16="http://schemas.microsoft.com/office/drawing/2014/main" id="{03FF9A3D-5D6D-2BDF-5D27-66FC6265B24B}"/>
              </a:ext>
            </a:extLst>
          </p:cNvPr>
          <p:cNvSpPr txBox="1"/>
          <p:nvPr/>
        </p:nvSpPr>
        <p:spPr>
          <a:xfrm>
            <a:off x="6426347" y="1216917"/>
            <a:ext cx="488585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20A7E0"/>
              </a:buClr>
              <a:buSzPts val="1800"/>
              <a:buFont typeface="Arial"/>
              <a:buNone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4" name="Google Shape;462;p1">
            <a:extLst>
              <a:ext uri="{FF2B5EF4-FFF2-40B4-BE49-F238E27FC236}">
                <a16:creationId xmlns:a16="http://schemas.microsoft.com/office/drawing/2014/main" id="{09956A1E-8F2E-198D-711C-47939F92F581}"/>
              </a:ext>
            </a:extLst>
          </p:cNvPr>
          <p:cNvCxnSpPr>
            <a:cxnSpLocks/>
          </p:cNvCxnSpPr>
          <p:nvPr/>
        </p:nvCxnSpPr>
        <p:spPr>
          <a:xfrm>
            <a:off x="6203362" y="1216917"/>
            <a:ext cx="0" cy="2449476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EF9DE32-C283-0B28-1BE0-486C5D0C3849}"/>
              </a:ext>
            </a:extLst>
          </p:cNvPr>
          <p:cNvGrpSpPr/>
          <p:nvPr/>
        </p:nvGrpSpPr>
        <p:grpSpPr>
          <a:xfrm>
            <a:off x="687157" y="1563350"/>
            <a:ext cx="5031939" cy="2103043"/>
            <a:chOff x="687157" y="1563350"/>
            <a:chExt cx="5031939" cy="2103043"/>
          </a:xfrm>
        </p:grpSpPr>
        <p:sp>
          <p:nvSpPr>
            <p:cNvPr id="22" name="Shape1_20210621_150425">
              <a:extLst>
                <a:ext uri="{FF2B5EF4-FFF2-40B4-BE49-F238E27FC236}">
                  <a16:creationId xmlns:a16="http://schemas.microsoft.com/office/drawing/2014/main" id="{9D9FB28B-0F0C-C3CD-1113-998AAFF5A710}"/>
                </a:ext>
              </a:extLst>
            </p:cNvPr>
            <p:cNvSpPr txBox="1"/>
            <p:nvPr/>
          </p:nvSpPr>
          <p:spPr>
            <a:xfrm>
              <a:off x="1693911" y="1682768"/>
              <a:ext cx="402518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600" dirty="0">
                  <a:solidFill>
                    <a:schemeClr val="tx1">
                      <a:lumMod val="100000"/>
                    </a:schemeClr>
                  </a:solidFill>
                </a:rPr>
                <a:t>Insert text here</a:t>
              </a:r>
              <a:endParaRPr sz="16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  <p:sp>
          <p:nvSpPr>
            <p:cNvPr id="24" name="Shape2_20210621_150425">
              <a:extLst>
                <a:ext uri="{FF2B5EF4-FFF2-40B4-BE49-F238E27FC236}">
                  <a16:creationId xmlns:a16="http://schemas.microsoft.com/office/drawing/2014/main" id="{B4DCD721-E529-9182-15F5-C1A3639CBCFE}"/>
                </a:ext>
              </a:extLst>
            </p:cNvPr>
            <p:cNvSpPr txBox="1"/>
            <p:nvPr/>
          </p:nvSpPr>
          <p:spPr>
            <a:xfrm>
              <a:off x="1693911" y="2222097"/>
              <a:ext cx="402518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600" dirty="0">
                  <a:solidFill>
                    <a:schemeClr val="tx1">
                      <a:lumMod val="100000"/>
                    </a:schemeClr>
                  </a:solidFill>
                </a:rPr>
                <a:t>Insert text here</a:t>
              </a:r>
              <a:endParaRPr sz="16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  <p:sp>
          <p:nvSpPr>
            <p:cNvPr id="26" name="Shape0_20210621_150425">
              <a:extLst>
                <a:ext uri="{FF2B5EF4-FFF2-40B4-BE49-F238E27FC236}">
                  <a16:creationId xmlns:a16="http://schemas.microsoft.com/office/drawing/2014/main" id="{28E1121C-C3CA-EADB-8CA7-BF0C45DFAA20}"/>
                </a:ext>
              </a:extLst>
            </p:cNvPr>
            <p:cNvSpPr txBox="1"/>
            <p:nvPr/>
          </p:nvSpPr>
          <p:spPr>
            <a:xfrm>
              <a:off x="1693911" y="3300758"/>
              <a:ext cx="402518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600" dirty="0">
                  <a:solidFill>
                    <a:schemeClr val="tx1">
                      <a:lumMod val="100000"/>
                    </a:schemeClr>
                  </a:solidFill>
                </a:rPr>
                <a:t>Insert text here</a:t>
              </a:r>
              <a:endParaRPr sz="16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A232DA1F-2A94-0395-70FE-46B83DB946B3}"/>
                </a:ext>
              </a:extLst>
            </p:cNvPr>
            <p:cNvGrpSpPr/>
            <p:nvPr/>
          </p:nvGrpSpPr>
          <p:grpSpPr>
            <a:xfrm>
              <a:off x="687157" y="1563350"/>
              <a:ext cx="770432" cy="2103043"/>
              <a:chOff x="687157" y="1563350"/>
              <a:chExt cx="770432" cy="2103043"/>
            </a:xfrm>
          </p:grpSpPr>
          <p:sp>
            <p:nvSpPr>
              <p:cNvPr id="21" name="Shape0_20210630_090802">
                <a:extLst>
                  <a:ext uri="{FF2B5EF4-FFF2-40B4-BE49-F238E27FC236}">
                    <a16:creationId xmlns:a16="http://schemas.microsoft.com/office/drawing/2014/main" id="{CF0BF09B-6BC9-02D6-4C15-99BCAE4DABF4}"/>
                  </a:ext>
                </a:extLst>
              </p:cNvPr>
              <p:cNvSpPr/>
              <p:nvPr/>
            </p:nvSpPr>
            <p:spPr>
              <a:xfrm>
                <a:off x="687157" y="1563350"/>
                <a:ext cx="770432" cy="4850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50125" tIns="75042" rIns="150125" bIns="75042" anchor="ctr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ts val="1800"/>
                  <a:defRPr/>
                </a:pPr>
                <a:r>
                  <a:rPr lang="en-US" sz="2300" b="1" dirty="0">
                    <a:solidFill>
                      <a:srgbClr val="FFFFFF"/>
                    </a:solidFill>
                  </a:rPr>
                  <a:t>01</a:t>
                </a:r>
                <a:endParaRPr sz="2300" b="1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8D8FB8D5-F8D1-4563-A836-B5AF4AD06BDD}"/>
                  </a:ext>
                </a:extLst>
              </p:cNvPr>
              <p:cNvGrpSpPr/>
              <p:nvPr/>
            </p:nvGrpSpPr>
            <p:grpSpPr>
              <a:xfrm>
                <a:off x="687157" y="2102678"/>
                <a:ext cx="770432" cy="1563715"/>
                <a:chOff x="687157" y="2102678"/>
                <a:chExt cx="770432" cy="1563715"/>
              </a:xfrm>
            </p:grpSpPr>
            <p:sp>
              <p:nvSpPr>
                <p:cNvPr id="23" name="Shape1_20210630_090802">
                  <a:extLst>
                    <a:ext uri="{FF2B5EF4-FFF2-40B4-BE49-F238E27FC236}">
                      <a16:creationId xmlns:a16="http://schemas.microsoft.com/office/drawing/2014/main" id="{787AEF1C-79CF-646F-382A-98426C023472}"/>
                    </a:ext>
                  </a:extLst>
                </p:cNvPr>
                <p:cNvSpPr/>
                <p:nvPr/>
              </p:nvSpPr>
              <p:spPr>
                <a:xfrm>
                  <a:off x="687157" y="2102678"/>
                  <a:ext cx="770432" cy="48505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150125" tIns="75042" rIns="150125" bIns="75042" anchor="ctr" anchorCtr="0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FFFF"/>
                    </a:buClr>
                    <a:buSzPts val="1800"/>
                    <a:buFont typeface="Arial"/>
                    <a:buNone/>
                  </a:pPr>
                  <a:r>
                    <a:rPr lang="en-US" sz="2300" b="1" dirty="0">
                      <a:solidFill>
                        <a:srgbClr val="FFFFFF"/>
                      </a:solidFill>
                    </a:rPr>
                    <a:t>02</a:t>
                  </a:r>
                  <a:endParaRPr sz="2300" b="1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5" name="Shape2_20210630_090802">
                  <a:extLst>
                    <a:ext uri="{FF2B5EF4-FFF2-40B4-BE49-F238E27FC236}">
                      <a16:creationId xmlns:a16="http://schemas.microsoft.com/office/drawing/2014/main" id="{72FBCB9C-305D-5743-90C5-3EC364026A5E}"/>
                    </a:ext>
                  </a:extLst>
                </p:cNvPr>
                <p:cNvSpPr/>
                <p:nvPr/>
              </p:nvSpPr>
              <p:spPr>
                <a:xfrm>
                  <a:off x="687157" y="3181338"/>
                  <a:ext cx="770432" cy="48505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150125" tIns="75042" rIns="150125" bIns="75042" anchor="ctr" anchorCtr="0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FFFF"/>
                    </a:buClr>
                    <a:buSzPts val="1800"/>
                    <a:buFont typeface="Arial"/>
                    <a:buNone/>
                  </a:pPr>
                  <a:r>
                    <a:rPr lang="en-US" sz="2300" b="1" dirty="0">
                      <a:solidFill>
                        <a:srgbClr val="FFFFFF"/>
                      </a:solidFill>
                    </a:rPr>
                    <a:t>04</a:t>
                  </a:r>
                  <a:endParaRPr sz="2300" b="1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6" name="Shape2_20210630_090802">
                  <a:extLst>
                    <a:ext uri="{FF2B5EF4-FFF2-40B4-BE49-F238E27FC236}">
                      <a16:creationId xmlns:a16="http://schemas.microsoft.com/office/drawing/2014/main" id="{D6AC9F65-4CF3-D5F5-75C9-74848EEA210A}"/>
                    </a:ext>
                  </a:extLst>
                </p:cNvPr>
                <p:cNvSpPr/>
                <p:nvPr/>
              </p:nvSpPr>
              <p:spPr>
                <a:xfrm>
                  <a:off x="687157" y="2642008"/>
                  <a:ext cx="770432" cy="48505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150125" tIns="75042" rIns="150125" bIns="75042" anchor="ctr" anchorCtr="0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FFFF"/>
                    </a:buClr>
                    <a:buSzPts val="1800"/>
                    <a:buFont typeface="Arial"/>
                    <a:buNone/>
                  </a:pPr>
                  <a:r>
                    <a:rPr lang="en-US" sz="2300" b="1" dirty="0">
                      <a:solidFill>
                        <a:srgbClr val="FFFFFF"/>
                      </a:solidFill>
                    </a:rPr>
                    <a:t>03</a:t>
                  </a:r>
                  <a:endParaRPr sz="2300" b="1" dirty="0">
                    <a:solidFill>
                      <a:srgbClr val="FFFFFF"/>
                    </a:solidFill>
                  </a:endParaRPr>
                </a:p>
              </p:txBody>
            </p:sp>
          </p:grpSp>
        </p:grpSp>
        <p:sp>
          <p:nvSpPr>
            <p:cNvPr id="49" name="Shape0_20210621_150425">
              <a:extLst>
                <a:ext uri="{FF2B5EF4-FFF2-40B4-BE49-F238E27FC236}">
                  <a16:creationId xmlns:a16="http://schemas.microsoft.com/office/drawing/2014/main" id="{4318DD16-5F6D-5936-DBFA-AF1486226C36}"/>
                </a:ext>
              </a:extLst>
            </p:cNvPr>
            <p:cNvSpPr txBox="1"/>
            <p:nvPr/>
          </p:nvSpPr>
          <p:spPr>
            <a:xfrm>
              <a:off x="1693911" y="2761426"/>
              <a:ext cx="402518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600" dirty="0">
                  <a:solidFill>
                    <a:schemeClr val="tx1">
                      <a:lumMod val="100000"/>
                    </a:schemeClr>
                  </a:solidFill>
                </a:rPr>
                <a:t>Insert text here</a:t>
              </a:r>
              <a:endParaRPr sz="16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sp>
        <p:nvSpPr>
          <p:cNvPr id="50" name="Shape0_20211122_110854">
            <a:extLst>
              <a:ext uri="{FF2B5EF4-FFF2-40B4-BE49-F238E27FC236}">
                <a16:creationId xmlns:a16="http://schemas.microsoft.com/office/drawing/2014/main" id="{993A4801-E5DF-A80D-D421-65032A78D21C}"/>
              </a:ext>
            </a:extLst>
          </p:cNvPr>
          <p:cNvSpPr/>
          <p:nvPr/>
        </p:nvSpPr>
        <p:spPr>
          <a:xfrm>
            <a:off x="687157" y="3793587"/>
            <a:ext cx="10599155" cy="12940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939" dirty="0">
              <a:solidFill>
                <a:srgbClr val="FFFFFF"/>
              </a:solidFill>
            </a:endParaRPr>
          </a:p>
        </p:txBody>
      </p:sp>
      <p:sp>
        <p:nvSpPr>
          <p:cNvPr id="51" name="Google Shape;466;p1">
            <a:extLst>
              <a:ext uri="{FF2B5EF4-FFF2-40B4-BE49-F238E27FC236}">
                <a16:creationId xmlns:a16="http://schemas.microsoft.com/office/drawing/2014/main" id="{B319A9AF-3E9B-C267-E5C9-3329CCEC28B6}"/>
              </a:ext>
            </a:extLst>
          </p:cNvPr>
          <p:cNvSpPr txBox="1"/>
          <p:nvPr/>
        </p:nvSpPr>
        <p:spPr>
          <a:xfrm>
            <a:off x="948433" y="4130852"/>
            <a:ext cx="956430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20A7E0"/>
              </a:buClr>
              <a:buSzPts val="1800"/>
              <a:buFont typeface="Arial"/>
              <a:buNone/>
            </a:pPr>
            <a:r>
              <a:rPr lang="en-US" sz="16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53" name="Shape5_20210621_150425">
            <a:extLst>
              <a:ext uri="{FF2B5EF4-FFF2-40B4-BE49-F238E27FC236}">
                <a16:creationId xmlns:a16="http://schemas.microsoft.com/office/drawing/2014/main" id="{49E8C329-8866-4320-125A-B2A0965E0A32}"/>
              </a:ext>
            </a:extLst>
          </p:cNvPr>
          <p:cNvSpPr txBox="1"/>
          <p:nvPr/>
        </p:nvSpPr>
        <p:spPr>
          <a:xfrm>
            <a:off x="948433" y="4504099"/>
            <a:ext cx="956430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bg1"/>
                </a:solidFill>
              </a:rPr>
              <a:t>Insert text here</a:t>
            </a:r>
          </a:p>
        </p:txBody>
      </p:sp>
      <p:sp>
        <p:nvSpPr>
          <p:cNvPr id="56" name="Shape3_20210630_090802">
            <a:extLst>
              <a:ext uri="{FF2B5EF4-FFF2-40B4-BE49-F238E27FC236}">
                <a16:creationId xmlns:a16="http://schemas.microsoft.com/office/drawing/2014/main" id="{1C58EDAE-F48B-96FB-84E6-DC85F194857A}"/>
              </a:ext>
            </a:extLst>
          </p:cNvPr>
          <p:cNvSpPr/>
          <p:nvPr/>
        </p:nvSpPr>
        <p:spPr>
          <a:xfrm>
            <a:off x="9954199" y="3793587"/>
            <a:ext cx="1540953" cy="1294003"/>
          </a:xfrm>
          <a:prstGeom prst="rect">
            <a:avLst/>
          </a:prstGeom>
          <a:solidFill>
            <a:srgbClr val="E0E0E0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939" dirty="0">
              <a:solidFill>
                <a:srgbClr val="00B4E0"/>
              </a:solidFill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16ED34A-5D31-FF0F-CED5-532F3AA76C61}"/>
              </a:ext>
            </a:extLst>
          </p:cNvPr>
          <p:cNvGrpSpPr/>
          <p:nvPr/>
        </p:nvGrpSpPr>
        <p:grpSpPr>
          <a:xfrm>
            <a:off x="10422252" y="4140432"/>
            <a:ext cx="620685" cy="600308"/>
            <a:chOff x="10297314" y="4140432"/>
            <a:chExt cx="870560" cy="600308"/>
          </a:xfrm>
        </p:grpSpPr>
        <p:sp>
          <p:nvSpPr>
            <p:cNvPr id="71" name="Freeform 380">
              <a:extLst>
                <a:ext uri="{FF2B5EF4-FFF2-40B4-BE49-F238E27FC236}">
                  <a16:creationId xmlns:a16="http://schemas.microsoft.com/office/drawing/2014/main" id="{D7C6A658-CFB8-3D41-4D66-C941F587FD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97314" y="4140432"/>
              <a:ext cx="679037" cy="469549"/>
            </a:xfrm>
            <a:custGeom>
              <a:avLst/>
              <a:gdLst>
                <a:gd name="T0" fmla="*/ 142 w 285"/>
                <a:gd name="T1" fmla="*/ 285 h 285"/>
                <a:gd name="T2" fmla="*/ 0 w 285"/>
                <a:gd name="T3" fmla="*/ 143 h 285"/>
                <a:gd name="T4" fmla="*/ 142 w 285"/>
                <a:gd name="T5" fmla="*/ 0 h 285"/>
                <a:gd name="T6" fmla="*/ 285 w 285"/>
                <a:gd name="T7" fmla="*/ 143 h 285"/>
                <a:gd name="T8" fmla="*/ 142 w 285"/>
                <a:gd name="T9" fmla="*/ 285 h 285"/>
                <a:gd name="T10" fmla="*/ 142 w 285"/>
                <a:gd name="T11" fmla="*/ 12 h 285"/>
                <a:gd name="T12" fmla="*/ 12 w 285"/>
                <a:gd name="T13" fmla="*/ 143 h 285"/>
                <a:gd name="T14" fmla="*/ 142 w 285"/>
                <a:gd name="T15" fmla="*/ 273 h 285"/>
                <a:gd name="T16" fmla="*/ 273 w 285"/>
                <a:gd name="T17" fmla="*/ 143 h 285"/>
                <a:gd name="T18" fmla="*/ 142 w 285"/>
                <a:gd name="T19" fmla="*/ 1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5" h="285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72" name="Freeform 381">
              <a:extLst>
                <a:ext uri="{FF2B5EF4-FFF2-40B4-BE49-F238E27FC236}">
                  <a16:creationId xmlns:a16="http://schemas.microsoft.com/office/drawing/2014/main" id="{6C2EC03B-3051-56D6-EA4B-FF64FAFBAF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19652" y="4497050"/>
              <a:ext cx="348222" cy="243690"/>
            </a:xfrm>
            <a:custGeom>
              <a:avLst/>
              <a:gdLst>
                <a:gd name="T0" fmla="*/ 119 w 145"/>
                <a:gd name="T1" fmla="*/ 146 h 146"/>
                <a:gd name="T2" fmla="*/ 100 w 145"/>
                <a:gd name="T3" fmla="*/ 138 h 146"/>
                <a:gd name="T4" fmla="*/ 2 w 145"/>
                <a:gd name="T5" fmla="*/ 40 h 146"/>
                <a:gd name="T6" fmla="*/ 2 w 145"/>
                <a:gd name="T7" fmla="*/ 32 h 146"/>
                <a:gd name="T8" fmla="*/ 31 w 145"/>
                <a:gd name="T9" fmla="*/ 3 h 146"/>
                <a:gd name="T10" fmla="*/ 40 w 145"/>
                <a:gd name="T11" fmla="*/ 3 h 146"/>
                <a:gd name="T12" fmla="*/ 138 w 145"/>
                <a:gd name="T13" fmla="*/ 100 h 146"/>
                <a:gd name="T14" fmla="*/ 145 w 145"/>
                <a:gd name="T15" fmla="*/ 119 h 146"/>
                <a:gd name="T16" fmla="*/ 138 w 145"/>
                <a:gd name="T17" fmla="*/ 138 h 146"/>
                <a:gd name="T18" fmla="*/ 119 w 145"/>
                <a:gd name="T19" fmla="*/ 146 h 146"/>
                <a:gd name="T20" fmla="*/ 15 w 145"/>
                <a:gd name="T21" fmla="*/ 36 h 146"/>
                <a:gd name="T22" fmla="*/ 109 w 145"/>
                <a:gd name="T23" fmla="*/ 129 h 146"/>
                <a:gd name="T24" fmla="*/ 109 w 145"/>
                <a:gd name="T25" fmla="*/ 129 h 146"/>
                <a:gd name="T26" fmla="*/ 129 w 145"/>
                <a:gd name="T27" fmla="*/ 129 h 146"/>
                <a:gd name="T28" fmla="*/ 133 w 145"/>
                <a:gd name="T29" fmla="*/ 119 h 146"/>
                <a:gd name="T30" fmla="*/ 129 w 145"/>
                <a:gd name="T31" fmla="*/ 109 h 146"/>
                <a:gd name="T32" fmla="*/ 36 w 145"/>
                <a:gd name="T33" fmla="*/ 16 h 146"/>
                <a:gd name="T34" fmla="*/ 15 w 145"/>
                <a:gd name="T35" fmla="*/ 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6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73" name="Freeform 382">
              <a:extLst>
                <a:ext uri="{FF2B5EF4-FFF2-40B4-BE49-F238E27FC236}">
                  <a16:creationId xmlns:a16="http://schemas.microsoft.com/office/drawing/2014/main" id="{616F27D8-F6E7-8629-5708-2FE1A93C0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0484" y="4217698"/>
              <a:ext cx="243758" cy="166423"/>
            </a:xfrm>
            <a:custGeom>
              <a:avLst/>
              <a:gdLst>
                <a:gd name="T0" fmla="*/ 6 w 99"/>
                <a:gd name="T1" fmla="*/ 100 h 100"/>
                <a:gd name="T2" fmla="*/ 0 w 99"/>
                <a:gd name="T3" fmla="*/ 94 h 100"/>
                <a:gd name="T4" fmla="*/ 93 w 99"/>
                <a:gd name="T5" fmla="*/ 0 h 100"/>
                <a:gd name="T6" fmla="*/ 99 w 99"/>
                <a:gd name="T7" fmla="*/ 6 h 100"/>
                <a:gd name="T8" fmla="*/ 93 w 99"/>
                <a:gd name="T9" fmla="*/ 12 h 100"/>
                <a:gd name="T10" fmla="*/ 12 w 99"/>
                <a:gd name="T11" fmla="*/ 94 h 100"/>
                <a:gd name="T12" fmla="*/ 6 w 9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10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</p:grpSp>
      <p:sp>
        <p:nvSpPr>
          <p:cNvPr id="81" name="Shape1_20210621_150425">
            <a:extLst>
              <a:ext uri="{FF2B5EF4-FFF2-40B4-BE49-F238E27FC236}">
                <a16:creationId xmlns:a16="http://schemas.microsoft.com/office/drawing/2014/main" id="{A26AC98E-FDED-8A4E-DB05-AFB0CDD99798}"/>
              </a:ext>
            </a:extLst>
          </p:cNvPr>
          <p:cNvSpPr txBox="1"/>
          <p:nvPr/>
        </p:nvSpPr>
        <p:spPr>
          <a:xfrm>
            <a:off x="7475047" y="1682768"/>
            <a:ext cx="402518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2" name="Shape2_20210621_150425">
            <a:extLst>
              <a:ext uri="{FF2B5EF4-FFF2-40B4-BE49-F238E27FC236}">
                <a16:creationId xmlns:a16="http://schemas.microsoft.com/office/drawing/2014/main" id="{C520D35D-627E-F9A9-8C50-E5F4116F3A09}"/>
              </a:ext>
            </a:extLst>
          </p:cNvPr>
          <p:cNvSpPr txBox="1"/>
          <p:nvPr/>
        </p:nvSpPr>
        <p:spPr>
          <a:xfrm>
            <a:off x="7475047" y="2222097"/>
            <a:ext cx="402518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3" name="Shape0_20210621_150425">
            <a:extLst>
              <a:ext uri="{FF2B5EF4-FFF2-40B4-BE49-F238E27FC236}">
                <a16:creationId xmlns:a16="http://schemas.microsoft.com/office/drawing/2014/main" id="{7F8A21F0-CECD-A33A-42CB-6DB596577A11}"/>
              </a:ext>
            </a:extLst>
          </p:cNvPr>
          <p:cNvSpPr txBox="1"/>
          <p:nvPr/>
        </p:nvSpPr>
        <p:spPr>
          <a:xfrm>
            <a:off x="7475047" y="3300758"/>
            <a:ext cx="402518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027737D-2FD9-81A8-E686-94555C9692C3}"/>
              </a:ext>
            </a:extLst>
          </p:cNvPr>
          <p:cNvGrpSpPr/>
          <p:nvPr/>
        </p:nvGrpSpPr>
        <p:grpSpPr>
          <a:xfrm>
            <a:off x="6468293" y="1563350"/>
            <a:ext cx="770432" cy="2103043"/>
            <a:chOff x="687157" y="1563350"/>
            <a:chExt cx="770432" cy="2103043"/>
          </a:xfrm>
        </p:grpSpPr>
        <p:sp>
          <p:nvSpPr>
            <p:cNvPr id="86" name="Shape0_20210630_090802">
              <a:extLst>
                <a:ext uri="{FF2B5EF4-FFF2-40B4-BE49-F238E27FC236}">
                  <a16:creationId xmlns:a16="http://schemas.microsoft.com/office/drawing/2014/main" id="{D52E1E17-1F5B-D713-B17D-38CA1E38C835}"/>
                </a:ext>
              </a:extLst>
            </p:cNvPr>
            <p:cNvSpPr/>
            <p:nvPr/>
          </p:nvSpPr>
          <p:spPr>
            <a:xfrm>
              <a:off x="687157" y="1563350"/>
              <a:ext cx="770432" cy="48505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1800"/>
                <a:defRPr/>
              </a:pPr>
              <a:r>
                <a:rPr lang="en-US" sz="2300" b="1" dirty="0">
                  <a:solidFill>
                    <a:srgbClr val="FFFFFF"/>
                  </a:solidFill>
                </a:rPr>
                <a:t>01</a:t>
              </a:r>
              <a:endParaRPr sz="23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1D5EF8DF-3EE1-AE12-F644-096B2F4D667E}"/>
                </a:ext>
              </a:extLst>
            </p:cNvPr>
            <p:cNvGrpSpPr/>
            <p:nvPr/>
          </p:nvGrpSpPr>
          <p:grpSpPr>
            <a:xfrm>
              <a:off x="687157" y="2102678"/>
              <a:ext cx="770432" cy="1563715"/>
              <a:chOff x="687157" y="2102678"/>
              <a:chExt cx="770432" cy="1563715"/>
            </a:xfrm>
          </p:grpSpPr>
          <p:sp>
            <p:nvSpPr>
              <p:cNvPr id="88" name="Shape1_20210630_090802">
                <a:extLst>
                  <a:ext uri="{FF2B5EF4-FFF2-40B4-BE49-F238E27FC236}">
                    <a16:creationId xmlns:a16="http://schemas.microsoft.com/office/drawing/2014/main" id="{EC20A4D2-8C7A-BA88-5AF3-CBB0FA1A165B}"/>
                  </a:ext>
                </a:extLst>
              </p:cNvPr>
              <p:cNvSpPr/>
              <p:nvPr/>
            </p:nvSpPr>
            <p:spPr>
              <a:xfrm>
                <a:off x="687157" y="2102678"/>
                <a:ext cx="770432" cy="4850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50125" tIns="75042" rIns="150125" bIns="75042" anchor="ctr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ts val="1800"/>
                  <a:buFont typeface="Arial"/>
                  <a:buNone/>
                </a:pPr>
                <a:r>
                  <a:rPr lang="en-US" sz="2300" b="1" dirty="0">
                    <a:solidFill>
                      <a:srgbClr val="FFFFFF"/>
                    </a:solidFill>
                  </a:rPr>
                  <a:t>02</a:t>
                </a:r>
                <a:endParaRPr sz="23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Shape2_20210630_090802">
                <a:extLst>
                  <a:ext uri="{FF2B5EF4-FFF2-40B4-BE49-F238E27FC236}">
                    <a16:creationId xmlns:a16="http://schemas.microsoft.com/office/drawing/2014/main" id="{45C0383D-38DE-70FA-A5A9-EC98DE99E157}"/>
                  </a:ext>
                </a:extLst>
              </p:cNvPr>
              <p:cNvSpPr/>
              <p:nvPr/>
            </p:nvSpPr>
            <p:spPr>
              <a:xfrm>
                <a:off x="687157" y="3181338"/>
                <a:ext cx="770432" cy="4850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50125" tIns="75042" rIns="150125" bIns="75042" anchor="ctr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ts val="1800"/>
                  <a:buFont typeface="Arial"/>
                  <a:buNone/>
                </a:pPr>
                <a:r>
                  <a:rPr lang="en-US" sz="2300" b="1" dirty="0">
                    <a:solidFill>
                      <a:srgbClr val="FFFFFF"/>
                    </a:solidFill>
                  </a:rPr>
                  <a:t>04</a:t>
                </a:r>
                <a:endParaRPr sz="23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Shape2_20210630_090802">
                <a:extLst>
                  <a:ext uri="{FF2B5EF4-FFF2-40B4-BE49-F238E27FC236}">
                    <a16:creationId xmlns:a16="http://schemas.microsoft.com/office/drawing/2014/main" id="{23745D26-94C9-7E2B-DAB5-8D5DFF279DCB}"/>
                  </a:ext>
                </a:extLst>
              </p:cNvPr>
              <p:cNvSpPr/>
              <p:nvPr/>
            </p:nvSpPr>
            <p:spPr>
              <a:xfrm>
                <a:off x="687157" y="2642008"/>
                <a:ext cx="770432" cy="4850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50125" tIns="75042" rIns="150125" bIns="75042" anchor="ctr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ts val="1800"/>
                  <a:buFont typeface="Arial"/>
                  <a:buNone/>
                </a:pPr>
                <a:r>
                  <a:rPr lang="en-US" sz="2300" b="1" dirty="0">
                    <a:solidFill>
                      <a:srgbClr val="FFFFFF"/>
                    </a:solidFill>
                  </a:rPr>
                  <a:t>03</a:t>
                </a:r>
                <a:endParaRPr sz="2300" b="1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85" name="Shape0_20210621_150425">
            <a:extLst>
              <a:ext uri="{FF2B5EF4-FFF2-40B4-BE49-F238E27FC236}">
                <a16:creationId xmlns:a16="http://schemas.microsoft.com/office/drawing/2014/main" id="{4E857BFD-A523-CF9D-D04A-767256B8FA54}"/>
              </a:ext>
            </a:extLst>
          </p:cNvPr>
          <p:cNvSpPr txBox="1"/>
          <p:nvPr/>
        </p:nvSpPr>
        <p:spPr>
          <a:xfrm>
            <a:off x="7475047" y="2761426"/>
            <a:ext cx="402518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66295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D23DF6-DB77-943B-6139-B4DF6F6034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3A03DB8-53CF-97E0-BFD8-9CA570CCFE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A03DB8-53CF-97E0-BFD8-9CA570CCF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C2A097CE-6D02-C4EC-390B-2CC0D1782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4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67986A-151A-7417-5E02-55D80BAAD7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hecklist </a:t>
            </a:r>
          </a:p>
        </p:txBody>
      </p:sp>
    </p:spTree>
    <p:extLst>
      <p:ext uri="{BB962C8B-B14F-4D97-AF65-F5344CB8AC3E}">
        <p14:creationId xmlns:p14="http://schemas.microsoft.com/office/powerpoint/2010/main" val="3772378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0F278B-FE6A-F19D-D291-AAA36421DE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24EFDC7-0752-5374-1F6E-F15E314A45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4EFDC7-0752-5374-1F6E-F15E314A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4AF73D-2433-2C5D-EA95-A3C270F03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92A8B07-2521-1FA5-6E9C-757C8BFF504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D7088C7-4AC8-21CF-2EBC-DC0870F797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78641"/>
              </p:ext>
            </p:extLst>
          </p:nvPr>
        </p:nvGraphicFramePr>
        <p:xfrm>
          <a:off x="605863" y="1184554"/>
          <a:ext cx="11156599" cy="4567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3798">
                  <a:extLst>
                    <a:ext uri="{9D8B030D-6E8A-4147-A177-3AD203B41FA5}">
                      <a16:colId xmlns:a16="http://schemas.microsoft.com/office/drawing/2014/main" val="20907343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135900651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452308803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3134237105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85510681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6373698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334602310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88875718"/>
                    </a:ext>
                  </a:extLst>
                </a:gridCol>
              </a:tblGrid>
              <a:tr h="453502">
                <a:tc>
                  <a:txBody>
                    <a:bodyPr/>
                    <a:lstStyle/>
                    <a:p>
                      <a:r>
                        <a:rPr lang="en-IN" sz="1500" dirty="0">
                          <a:solidFill>
                            <a:srgbClr val="FFFFFF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148821"/>
                  </a:ext>
                </a:extLst>
              </a:tr>
              <a:tr h="2057166">
                <a:tc>
                  <a:txBody>
                    <a:bodyPr/>
                    <a:lstStyle/>
                    <a:p>
                      <a:r>
                        <a:rPr lang="en-IN" sz="15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433772"/>
                  </a:ext>
                </a:extLst>
              </a:tr>
              <a:tr h="20571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2348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760756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5DCCC-3413-EBF7-D0C2-BC85FA672B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0C03ACE-14ED-634E-094F-26B7A484C4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C03ACE-14ED-634E-094F-26B7A484C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CB0515-08D4-EF9C-B163-67DDE9678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FCA20AE-C9BE-E849-3F0D-03B1F0DDB34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0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092402">
            <a:extLst>
              <a:ext uri="{FF2B5EF4-FFF2-40B4-BE49-F238E27FC236}">
                <a16:creationId xmlns:a16="http://schemas.microsoft.com/office/drawing/2014/main" id="{5AAD5C51-82D2-ACEA-3EDE-125EDAF58183}"/>
              </a:ext>
            </a:extLst>
          </p:cNvPr>
          <p:cNvCxnSpPr>
            <a:cxnSpLocks/>
          </p:cNvCxnSpPr>
          <p:nvPr/>
        </p:nvCxnSpPr>
        <p:spPr>
          <a:xfrm>
            <a:off x="605969" y="2304743"/>
            <a:ext cx="11157242" cy="0"/>
          </a:xfrm>
          <a:prstGeom prst="straightConnector1">
            <a:avLst/>
          </a:prstGeom>
          <a:ln w="12700">
            <a:solidFill>
              <a:srgbClr val="C6C6C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hape1_20220715_092402">
            <a:extLst>
              <a:ext uri="{FF2B5EF4-FFF2-40B4-BE49-F238E27FC236}">
                <a16:creationId xmlns:a16="http://schemas.microsoft.com/office/drawing/2014/main" id="{2C265A7D-3667-3EA7-C056-B6B00F9F568F}"/>
              </a:ext>
            </a:extLst>
          </p:cNvPr>
          <p:cNvCxnSpPr>
            <a:cxnSpLocks/>
          </p:cNvCxnSpPr>
          <p:nvPr/>
        </p:nvCxnSpPr>
        <p:spPr>
          <a:xfrm>
            <a:off x="605969" y="3640936"/>
            <a:ext cx="11157242" cy="0"/>
          </a:xfrm>
          <a:prstGeom prst="straightConnector1">
            <a:avLst/>
          </a:prstGeom>
          <a:ln w="12700">
            <a:solidFill>
              <a:srgbClr val="C6C6C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hape2_20220715_092402">
            <a:extLst>
              <a:ext uri="{FF2B5EF4-FFF2-40B4-BE49-F238E27FC236}">
                <a16:creationId xmlns:a16="http://schemas.microsoft.com/office/drawing/2014/main" id="{BD9C2C2D-BB1E-9DA9-1541-4C98AE6BFF5D}"/>
              </a:ext>
            </a:extLst>
          </p:cNvPr>
          <p:cNvCxnSpPr>
            <a:cxnSpLocks/>
          </p:cNvCxnSpPr>
          <p:nvPr/>
        </p:nvCxnSpPr>
        <p:spPr>
          <a:xfrm>
            <a:off x="605969" y="4977130"/>
            <a:ext cx="11157242" cy="0"/>
          </a:xfrm>
          <a:prstGeom prst="straightConnector1">
            <a:avLst/>
          </a:prstGeom>
          <a:ln w="12700">
            <a:solidFill>
              <a:srgbClr val="C6C6C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oogle Shape;243;p38">
            <a:extLst>
              <a:ext uri="{FF2B5EF4-FFF2-40B4-BE49-F238E27FC236}">
                <a16:creationId xmlns:a16="http://schemas.microsoft.com/office/drawing/2014/main" id="{C44C7F79-AEE7-7E4A-2BD4-F0E89C436184}"/>
              </a:ext>
            </a:extLst>
          </p:cNvPr>
          <p:cNvSpPr>
            <a:spLocks/>
          </p:cNvSpPr>
          <p:nvPr/>
        </p:nvSpPr>
        <p:spPr>
          <a:xfrm>
            <a:off x="1272887" y="1500016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9" name="Google Shape;245;p38">
            <a:extLst>
              <a:ext uri="{FF2B5EF4-FFF2-40B4-BE49-F238E27FC236}">
                <a16:creationId xmlns:a16="http://schemas.microsoft.com/office/drawing/2014/main" id="{DE2D6D93-936D-6A83-4026-91B9A561EA4B}"/>
              </a:ext>
            </a:extLst>
          </p:cNvPr>
          <p:cNvSpPr/>
          <p:nvPr/>
        </p:nvSpPr>
        <p:spPr>
          <a:xfrm rot="5400000" flipH="1">
            <a:off x="610836" y="1348780"/>
            <a:ext cx="566000" cy="57573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2" name="Google Shape;249;p38">
            <a:extLst>
              <a:ext uri="{FF2B5EF4-FFF2-40B4-BE49-F238E27FC236}">
                <a16:creationId xmlns:a16="http://schemas.microsoft.com/office/drawing/2014/main" id="{1F1A3CE5-C66D-6680-67D4-E09B975A5BEF}"/>
              </a:ext>
            </a:extLst>
          </p:cNvPr>
          <p:cNvSpPr>
            <a:spLocks/>
          </p:cNvSpPr>
          <p:nvPr/>
        </p:nvSpPr>
        <p:spPr>
          <a:xfrm>
            <a:off x="1272887" y="2846863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3" name="Google Shape;245;p38">
            <a:extLst>
              <a:ext uri="{FF2B5EF4-FFF2-40B4-BE49-F238E27FC236}">
                <a16:creationId xmlns:a16="http://schemas.microsoft.com/office/drawing/2014/main" id="{F93EA55A-1075-44E1-3D8D-5203378C2C05}"/>
              </a:ext>
            </a:extLst>
          </p:cNvPr>
          <p:cNvSpPr/>
          <p:nvPr/>
        </p:nvSpPr>
        <p:spPr>
          <a:xfrm rot="5400000" flipH="1">
            <a:off x="610836" y="2684972"/>
            <a:ext cx="566000" cy="57573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5" name="Google Shape;252;p38">
            <a:extLst>
              <a:ext uri="{FF2B5EF4-FFF2-40B4-BE49-F238E27FC236}">
                <a16:creationId xmlns:a16="http://schemas.microsoft.com/office/drawing/2014/main" id="{D54EE1A2-8CD9-E888-627C-818FD2699C5E}"/>
              </a:ext>
            </a:extLst>
          </p:cNvPr>
          <p:cNvSpPr>
            <a:spLocks/>
          </p:cNvSpPr>
          <p:nvPr/>
        </p:nvSpPr>
        <p:spPr>
          <a:xfrm>
            <a:off x="1272887" y="4183054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6" name="Google Shape;245;p38">
            <a:extLst>
              <a:ext uri="{FF2B5EF4-FFF2-40B4-BE49-F238E27FC236}">
                <a16:creationId xmlns:a16="http://schemas.microsoft.com/office/drawing/2014/main" id="{70A48C71-B389-9AC8-0EBD-930CC318120A}"/>
              </a:ext>
            </a:extLst>
          </p:cNvPr>
          <p:cNvSpPr/>
          <p:nvPr/>
        </p:nvSpPr>
        <p:spPr>
          <a:xfrm rot="5400000" flipH="1">
            <a:off x="610836" y="4021165"/>
            <a:ext cx="566000" cy="575734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8" name="Google Shape;252;p38">
            <a:extLst>
              <a:ext uri="{FF2B5EF4-FFF2-40B4-BE49-F238E27FC236}">
                <a16:creationId xmlns:a16="http://schemas.microsoft.com/office/drawing/2014/main" id="{87E97E5A-F07D-C015-27F7-6FD207240534}"/>
              </a:ext>
            </a:extLst>
          </p:cNvPr>
          <p:cNvSpPr>
            <a:spLocks/>
          </p:cNvSpPr>
          <p:nvPr/>
        </p:nvSpPr>
        <p:spPr>
          <a:xfrm>
            <a:off x="1272887" y="5519251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>
                <a:solidFill>
                  <a:schemeClr val="tx1"/>
                </a:solidFill>
              </a:rPr>
              <a:t>Insert Text Here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9" name="Google Shape;245;p38">
            <a:extLst>
              <a:ext uri="{FF2B5EF4-FFF2-40B4-BE49-F238E27FC236}">
                <a16:creationId xmlns:a16="http://schemas.microsoft.com/office/drawing/2014/main" id="{A1334EC1-FCC7-AA09-C672-E11D1B636998}"/>
              </a:ext>
            </a:extLst>
          </p:cNvPr>
          <p:cNvSpPr/>
          <p:nvPr/>
        </p:nvSpPr>
        <p:spPr>
          <a:xfrm rot="5400000" flipH="1">
            <a:off x="610836" y="5357361"/>
            <a:ext cx="566000" cy="57573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25F4AAD-6238-EDE7-8998-5D5F42FE6BCA}"/>
              </a:ext>
            </a:extLst>
          </p:cNvPr>
          <p:cNvSpPr txBox="1">
            <a:spLocks/>
          </p:cNvSpPr>
          <p:nvPr/>
        </p:nvSpPr>
        <p:spPr>
          <a:xfrm>
            <a:off x="698803" y="1488332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E8C7DB-600D-AC14-2965-70E1C7EF14E8}"/>
              </a:ext>
            </a:extLst>
          </p:cNvPr>
          <p:cNvSpPr txBox="1">
            <a:spLocks/>
          </p:cNvSpPr>
          <p:nvPr/>
        </p:nvSpPr>
        <p:spPr>
          <a:xfrm>
            <a:off x="698803" y="2824524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8A6660F-4A95-DD09-E28B-85D76E156696}"/>
              </a:ext>
            </a:extLst>
          </p:cNvPr>
          <p:cNvSpPr txBox="1">
            <a:spLocks/>
          </p:cNvSpPr>
          <p:nvPr/>
        </p:nvSpPr>
        <p:spPr>
          <a:xfrm>
            <a:off x="698803" y="4160717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2E4837B-70AB-BA5E-12D3-0DCA157174B0}"/>
              </a:ext>
            </a:extLst>
          </p:cNvPr>
          <p:cNvSpPr txBox="1">
            <a:spLocks/>
          </p:cNvSpPr>
          <p:nvPr/>
        </p:nvSpPr>
        <p:spPr>
          <a:xfrm>
            <a:off x="698803" y="5496913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42980816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FF67B-E08E-0132-8736-CFD365939A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4678766-1337-DADA-582E-57C1B072F0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678766-1337-DADA-582E-57C1B072F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9E4D21-D3E7-56C3-A632-B9B99A511F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A31E055-1EA1-B369-1414-0E31A4DE814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D436D95-8235-4E06-03C2-5FD206C0A4BE}"/>
              </a:ext>
            </a:extLst>
          </p:cNvPr>
          <p:cNvSpPr/>
          <p:nvPr/>
        </p:nvSpPr>
        <p:spPr>
          <a:xfrm rot="16200000">
            <a:off x="515922" y="1602711"/>
            <a:ext cx="871501" cy="18461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b="1" dirty="0" err="1">
              <a:solidFill>
                <a:srgbClr val="20A7E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C02E831-A11D-7AD4-F913-4DC9AE6FA4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3401" y="1743158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F1820B-9107-147D-1B38-603F1EAFC8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3401" y="1405461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charset="0"/>
              </a:rPr>
              <a:t>Title</a:t>
            </a:r>
          </a:p>
        </p:txBody>
      </p:sp>
      <p:cxnSp>
        <p:nvCxnSpPr>
          <p:cNvPr id="8" name="Shape0_20220715_093113">
            <a:extLst>
              <a:ext uri="{FF2B5EF4-FFF2-40B4-BE49-F238E27FC236}">
                <a16:creationId xmlns:a16="http://schemas.microsoft.com/office/drawing/2014/main" id="{CCEE79DB-919B-424F-DBDB-F32BC31506DE}"/>
              </a:ext>
            </a:extLst>
          </p:cNvPr>
          <p:cNvCxnSpPr>
            <a:cxnSpLocks/>
            <a:endCxn id="10" idx="2"/>
          </p:cNvCxnSpPr>
          <p:nvPr/>
        </p:nvCxnSpPr>
        <p:spPr>
          <a:xfrm>
            <a:off x="1108052" y="1690537"/>
            <a:ext cx="9705352" cy="4478"/>
          </a:xfrm>
          <a:prstGeom prst="line">
            <a:avLst/>
          </a:prstGeom>
          <a:ln w="12700">
            <a:solidFill>
              <a:srgbClr val="1951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4A6B937C-5549-29EB-9715-21D819C1AF7A}"/>
              </a:ext>
            </a:extLst>
          </p:cNvPr>
          <p:cNvSpPr/>
          <p:nvPr/>
        </p:nvSpPr>
        <p:spPr>
          <a:xfrm>
            <a:off x="793808" y="1532676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rgbClr val="195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dirty="0">
                <a:solidFill>
                  <a:schemeClr val="tx1">
                    <a:lumMod val="100000"/>
                  </a:schemeClr>
                </a:solidFill>
              </a:rPr>
              <a:t>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9D8903B-FDBE-FE7A-7E41-C1F8C2F636EE}"/>
              </a:ext>
            </a:extLst>
          </p:cNvPr>
          <p:cNvSpPr/>
          <p:nvPr/>
        </p:nvSpPr>
        <p:spPr>
          <a:xfrm>
            <a:off x="10813404" y="1402620"/>
            <a:ext cx="584789" cy="5847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11" name="WordArt 5">
            <a:extLst>
              <a:ext uri="{FF2B5EF4-FFF2-40B4-BE49-F238E27FC236}">
                <a16:creationId xmlns:a16="http://schemas.microsoft.com/office/drawing/2014/main" id="{EF5A2F31-0EF7-86E7-0ABD-BC9F28B1AD8B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2"/>
            </p:custDataLst>
          </p:nvPr>
        </p:nvSpPr>
        <p:spPr bwMode="gray">
          <a:xfrm>
            <a:off x="10972624" y="1558042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rgbClr val="FFFFFF"/>
                </a:solidFill>
                <a:latin typeface="Arial" panose="020B0604020202020204" pitchFamily="34" charset="0"/>
              </a:rPr>
              <a:t>✓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9FF47BC-9980-E760-9F69-17AF5A4FE0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2620312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A0033F-1408-116B-2B4F-479E2E212F9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2270413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charset="0"/>
              </a:rPr>
              <a:t>Title</a:t>
            </a:r>
          </a:p>
        </p:txBody>
      </p:sp>
      <p:cxnSp>
        <p:nvCxnSpPr>
          <p:cNvPr id="14" name="Shape1_20220715_093113">
            <a:extLst>
              <a:ext uri="{FF2B5EF4-FFF2-40B4-BE49-F238E27FC236}">
                <a16:creationId xmlns:a16="http://schemas.microsoft.com/office/drawing/2014/main" id="{26526D25-AB5C-AAA4-59B2-FD47AB15213D}"/>
              </a:ext>
            </a:extLst>
          </p:cNvPr>
          <p:cNvCxnSpPr>
            <a:cxnSpLocks/>
            <a:endCxn id="17" idx="2"/>
          </p:cNvCxnSpPr>
          <p:nvPr/>
        </p:nvCxnSpPr>
        <p:spPr>
          <a:xfrm>
            <a:off x="1112155" y="2564333"/>
            <a:ext cx="9701249" cy="1"/>
          </a:xfrm>
          <a:prstGeom prst="line">
            <a:avLst/>
          </a:prstGeom>
          <a:ln w="12700">
            <a:solidFill>
              <a:srgbClr val="0B8A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0862A260-A431-DCD1-3F7A-26AED09396E2}"/>
              </a:ext>
            </a:extLst>
          </p:cNvPr>
          <p:cNvSpPr/>
          <p:nvPr/>
        </p:nvSpPr>
        <p:spPr>
          <a:xfrm rot="16200000">
            <a:off x="515923" y="2472033"/>
            <a:ext cx="871497" cy="184610"/>
          </a:xfrm>
          <a:prstGeom prst="rect">
            <a:avLst/>
          </a:prstGeom>
          <a:solidFill>
            <a:schemeClr val="accent2"/>
          </a:solidFill>
          <a:ln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dirty="0" err="1">
              <a:solidFill>
                <a:srgbClr val="FFFFFF"/>
              </a:solidFill>
            </a:endParaRPr>
          </a:p>
        </p:txBody>
      </p:sp>
      <p:sp>
        <p:nvSpPr>
          <p:cNvPr id="16" name="Shape1_20220715_093109">
            <a:extLst>
              <a:ext uri="{FF2B5EF4-FFF2-40B4-BE49-F238E27FC236}">
                <a16:creationId xmlns:a16="http://schemas.microsoft.com/office/drawing/2014/main" id="{54B13854-71F8-4D6D-E4EC-C7776A5E590A}"/>
              </a:ext>
            </a:extLst>
          </p:cNvPr>
          <p:cNvSpPr/>
          <p:nvPr/>
        </p:nvSpPr>
        <p:spPr>
          <a:xfrm>
            <a:off x="793808" y="2406473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rgbClr val="0B8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dirty="0">
                <a:solidFill>
                  <a:schemeClr val="tx1">
                    <a:lumMod val="100000"/>
                  </a:schemeClr>
                </a:solidFill>
              </a:rPr>
              <a:t>2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77028A6-9C60-9525-9635-968E8B626C7A}"/>
              </a:ext>
            </a:extLst>
          </p:cNvPr>
          <p:cNvSpPr/>
          <p:nvPr/>
        </p:nvSpPr>
        <p:spPr>
          <a:xfrm>
            <a:off x="10813404" y="2271939"/>
            <a:ext cx="584789" cy="5847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18" name="WordArt 5">
            <a:extLst>
              <a:ext uri="{FF2B5EF4-FFF2-40B4-BE49-F238E27FC236}">
                <a16:creationId xmlns:a16="http://schemas.microsoft.com/office/drawing/2014/main" id="{B8972227-E424-44F7-1B3B-9D67C7B80A76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3"/>
            </p:custDataLst>
          </p:nvPr>
        </p:nvSpPr>
        <p:spPr bwMode="gray">
          <a:xfrm>
            <a:off x="10972624" y="2427362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rgbClr val="FFFFFF"/>
                </a:solidFill>
                <a:latin typeface="Arial" panose="020B0604020202020204" pitchFamily="34" charset="0"/>
              </a:rPr>
              <a:t>✓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C5282-679B-2A84-EAB2-9A2F8BAE36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3401" y="3486469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F9402B3-9EAD-7B59-F441-649BE58CD3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3401" y="3135906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charset="0"/>
              </a:rPr>
              <a:t>Title</a:t>
            </a:r>
          </a:p>
        </p:txBody>
      </p:sp>
      <p:cxnSp>
        <p:nvCxnSpPr>
          <p:cNvPr id="21" name="Shape2_20220715_093113">
            <a:extLst>
              <a:ext uri="{FF2B5EF4-FFF2-40B4-BE49-F238E27FC236}">
                <a16:creationId xmlns:a16="http://schemas.microsoft.com/office/drawing/2014/main" id="{0AFDA408-FE12-160C-57F8-299BB6BC6B99}"/>
              </a:ext>
            </a:extLst>
          </p:cNvPr>
          <p:cNvCxnSpPr>
            <a:cxnSpLocks/>
            <a:endCxn id="24" idx="2"/>
          </p:cNvCxnSpPr>
          <p:nvPr/>
        </p:nvCxnSpPr>
        <p:spPr>
          <a:xfrm>
            <a:off x="1108052" y="3427278"/>
            <a:ext cx="9705352" cy="35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195596F-39B0-98A3-FE08-F8DC0E843714}"/>
              </a:ext>
            </a:extLst>
          </p:cNvPr>
          <p:cNvSpPr/>
          <p:nvPr/>
        </p:nvSpPr>
        <p:spPr>
          <a:xfrm rot="16200000">
            <a:off x="515923" y="3339453"/>
            <a:ext cx="871497" cy="18461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b="1" dirty="0" err="1">
              <a:solidFill>
                <a:srgbClr val="000000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1DEB5C9-39D2-A3C3-D827-F37B932E9654}"/>
              </a:ext>
            </a:extLst>
          </p:cNvPr>
          <p:cNvSpPr/>
          <p:nvPr/>
        </p:nvSpPr>
        <p:spPr>
          <a:xfrm>
            <a:off x="793808" y="3269415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dirty="0">
                <a:solidFill>
                  <a:schemeClr val="tx1">
                    <a:lumMod val="100000"/>
                  </a:schemeClr>
                </a:solidFill>
              </a:rPr>
              <a:t>3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90CA4C6-677E-5A18-6F84-F258431A3792}"/>
              </a:ext>
            </a:extLst>
          </p:cNvPr>
          <p:cNvSpPr/>
          <p:nvPr/>
        </p:nvSpPr>
        <p:spPr>
          <a:xfrm>
            <a:off x="10813404" y="3138410"/>
            <a:ext cx="584789" cy="58478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25" name="WordArt 5">
            <a:extLst>
              <a:ext uri="{FF2B5EF4-FFF2-40B4-BE49-F238E27FC236}">
                <a16:creationId xmlns:a16="http://schemas.microsoft.com/office/drawing/2014/main" id="{2066D9E3-7126-8877-3248-0EB6734221E9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4"/>
            </p:custDataLst>
          </p:nvPr>
        </p:nvSpPr>
        <p:spPr bwMode="gray">
          <a:xfrm>
            <a:off x="10972624" y="3293832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rgbClr val="FFFFFF"/>
                </a:solidFill>
                <a:latin typeface="Arial" panose="020B0604020202020204" pitchFamily="34" charset="0"/>
              </a:rPr>
              <a:t>✓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E21230E-E177-78DF-3EDF-BC9C861196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4347830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6F2515D-204F-E649-D24E-714FDB56D9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4012415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charset="0"/>
              </a:rPr>
              <a:t>Title</a:t>
            </a:r>
          </a:p>
        </p:txBody>
      </p:sp>
      <p:cxnSp>
        <p:nvCxnSpPr>
          <p:cNvPr id="28" name="Shape3_20220715_093113">
            <a:extLst>
              <a:ext uri="{FF2B5EF4-FFF2-40B4-BE49-F238E27FC236}">
                <a16:creationId xmlns:a16="http://schemas.microsoft.com/office/drawing/2014/main" id="{419D62C8-EB6F-7C1A-BD92-DA884DC7BC09}"/>
              </a:ext>
            </a:extLst>
          </p:cNvPr>
          <p:cNvCxnSpPr>
            <a:cxnSpLocks/>
            <a:endCxn id="31" idx="2"/>
          </p:cNvCxnSpPr>
          <p:nvPr/>
        </p:nvCxnSpPr>
        <p:spPr>
          <a:xfrm flipV="1">
            <a:off x="1112155" y="4300712"/>
            <a:ext cx="9701249" cy="269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F2DADEF4-B9F9-C7D2-3A5A-E3BF92906FD8}"/>
              </a:ext>
            </a:extLst>
          </p:cNvPr>
          <p:cNvSpPr/>
          <p:nvPr/>
        </p:nvSpPr>
        <p:spPr>
          <a:xfrm rot="16200000">
            <a:off x="515923" y="4208682"/>
            <a:ext cx="871497" cy="18461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b="1" dirty="0" err="1">
              <a:solidFill>
                <a:srgbClr val="000000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4C70231-9A59-5F2A-A097-942BF15FC966}"/>
              </a:ext>
            </a:extLst>
          </p:cNvPr>
          <p:cNvSpPr/>
          <p:nvPr/>
        </p:nvSpPr>
        <p:spPr>
          <a:xfrm>
            <a:off x="793808" y="4143121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b="1" dirty="0">
                <a:solidFill>
                  <a:schemeClr val="tx1">
                    <a:lumMod val="100000"/>
                  </a:schemeClr>
                </a:solidFill>
              </a:rPr>
              <a:t>4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8997D28-7BA9-8B3A-DCA1-714650D2EA4F}"/>
              </a:ext>
            </a:extLst>
          </p:cNvPr>
          <p:cNvSpPr/>
          <p:nvPr/>
        </p:nvSpPr>
        <p:spPr>
          <a:xfrm>
            <a:off x="10813404" y="4008318"/>
            <a:ext cx="584789" cy="58478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32" name="WordArt 5">
            <a:extLst>
              <a:ext uri="{FF2B5EF4-FFF2-40B4-BE49-F238E27FC236}">
                <a16:creationId xmlns:a16="http://schemas.microsoft.com/office/drawing/2014/main" id="{77AEF8F7-C5D3-96A2-C6C2-C7B1096813A7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5"/>
            </p:custDataLst>
          </p:nvPr>
        </p:nvSpPr>
        <p:spPr bwMode="gray">
          <a:xfrm>
            <a:off x="10972624" y="4163741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chemeClr val="bg1"/>
                </a:solidFill>
                <a:latin typeface="Arial" panose="020B0604020202020204" pitchFamily="34" charset="0"/>
              </a:rPr>
              <a:t>✓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3375DCA-5CC6-6765-6F30-9F0BA1DF14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5203912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4E7F24A-7165-D8DF-6291-5E845F90EC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4870384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charset="0"/>
              </a:rPr>
              <a:t>Title</a:t>
            </a:r>
          </a:p>
        </p:txBody>
      </p:sp>
      <p:cxnSp>
        <p:nvCxnSpPr>
          <p:cNvPr id="35" name="Shape4_20220715_093113">
            <a:extLst>
              <a:ext uri="{FF2B5EF4-FFF2-40B4-BE49-F238E27FC236}">
                <a16:creationId xmlns:a16="http://schemas.microsoft.com/office/drawing/2014/main" id="{020F09B8-2F7B-68AA-4E83-2DCDFD75CBCB}"/>
              </a:ext>
            </a:extLst>
          </p:cNvPr>
          <p:cNvCxnSpPr>
            <a:cxnSpLocks/>
            <a:endCxn id="38" idx="2"/>
          </p:cNvCxnSpPr>
          <p:nvPr/>
        </p:nvCxnSpPr>
        <p:spPr>
          <a:xfrm>
            <a:off x="1112155" y="5162978"/>
            <a:ext cx="9701249" cy="1496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80306A34-5831-AFCB-1C6A-441E3DAC7950}"/>
              </a:ext>
            </a:extLst>
          </p:cNvPr>
          <p:cNvSpPr/>
          <p:nvPr/>
        </p:nvSpPr>
        <p:spPr>
          <a:xfrm rot="5400000" flipV="1">
            <a:off x="515922" y="5070678"/>
            <a:ext cx="871501" cy="18461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sz="2400" dirty="0" err="1">
              <a:solidFill>
                <a:srgbClr val="000000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CFBF904-85EC-1257-88F4-A0703D390E02}"/>
              </a:ext>
            </a:extLst>
          </p:cNvPr>
          <p:cNvSpPr/>
          <p:nvPr/>
        </p:nvSpPr>
        <p:spPr>
          <a:xfrm>
            <a:off x="793808" y="5005118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dirty="0">
                <a:solidFill>
                  <a:schemeClr val="tx1">
                    <a:lumMod val="100000"/>
                  </a:schemeClr>
                </a:solidFill>
              </a:rPr>
              <a:t>5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553B411-13AB-FB7F-2891-2737F22452E3}"/>
              </a:ext>
            </a:extLst>
          </p:cNvPr>
          <p:cNvSpPr/>
          <p:nvPr/>
        </p:nvSpPr>
        <p:spPr>
          <a:xfrm>
            <a:off x="10813404" y="4872080"/>
            <a:ext cx="584789" cy="584788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39" name="WordArt 5">
            <a:extLst>
              <a:ext uri="{FF2B5EF4-FFF2-40B4-BE49-F238E27FC236}">
                <a16:creationId xmlns:a16="http://schemas.microsoft.com/office/drawing/2014/main" id="{636178E9-D825-6886-5884-A2224A33CB68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6"/>
            </p:custDataLst>
          </p:nvPr>
        </p:nvSpPr>
        <p:spPr bwMode="gray">
          <a:xfrm>
            <a:off x="10972624" y="5027506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rgbClr val="FFFFFF"/>
                </a:solidFill>
                <a:latin typeface="Arial" panose="020B0604020202020204" pitchFamily="34" charset="0"/>
              </a:rPr>
              <a:t>✓</a:t>
            </a:r>
          </a:p>
        </p:txBody>
      </p:sp>
    </p:spTree>
    <p:extLst>
      <p:ext uri="{BB962C8B-B14F-4D97-AF65-F5344CB8AC3E}">
        <p14:creationId xmlns:p14="http://schemas.microsoft.com/office/powerpoint/2010/main" val="183049464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B1688B-2B02-95C4-BF76-6146F6EEA2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FDA3B500-605F-F315-F048-7585B22CCF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A3B500-605F-F315-F048-7585B22CCF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307562-8F7E-1C3F-90E0-1D2AE7FD4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3D7506F-2DB2-9092-4341-184A0E09C68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1_20211123_123008">
            <a:extLst>
              <a:ext uri="{FF2B5EF4-FFF2-40B4-BE49-F238E27FC236}">
                <a16:creationId xmlns:a16="http://schemas.microsoft.com/office/drawing/2014/main" id="{429FEAFE-62B4-7BB7-776F-40B3386F33FD}"/>
              </a:ext>
            </a:extLst>
          </p:cNvPr>
          <p:cNvSpPr txBox="1">
            <a:spLocks/>
          </p:cNvSpPr>
          <p:nvPr/>
        </p:nvSpPr>
        <p:spPr>
          <a:xfrm>
            <a:off x="1384662" y="1648535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ECA86E5-2849-A1BC-3D5B-272AB9B9A0D1}"/>
              </a:ext>
            </a:extLst>
          </p:cNvPr>
          <p:cNvSpPr/>
          <p:nvPr/>
        </p:nvSpPr>
        <p:spPr>
          <a:xfrm>
            <a:off x="685501" y="1475371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Shape1_20221011_163854">
            <a:extLst>
              <a:ext uri="{FF2B5EF4-FFF2-40B4-BE49-F238E27FC236}">
                <a16:creationId xmlns:a16="http://schemas.microsoft.com/office/drawing/2014/main" id="{36EBA408-00A0-676F-887C-4FFBEE432CD5}"/>
              </a:ext>
            </a:extLst>
          </p:cNvPr>
          <p:cNvSpPr/>
          <p:nvPr/>
        </p:nvSpPr>
        <p:spPr>
          <a:xfrm>
            <a:off x="626323" y="1404993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7" name="Freeform 16">
            <a:extLst>
              <a:ext uri="{FF2B5EF4-FFF2-40B4-BE49-F238E27FC236}">
                <a16:creationId xmlns:a16="http://schemas.microsoft.com/office/drawing/2014/main" id="{1F1A2EC1-75F0-5004-A5FF-B3953CF88B7F}"/>
              </a:ext>
            </a:extLst>
          </p:cNvPr>
          <p:cNvSpPr>
            <a:spLocks/>
          </p:cNvSpPr>
          <p:nvPr/>
        </p:nvSpPr>
        <p:spPr bwMode="auto">
          <a:xfrm>
            <a:off x="680598" y="1468368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8" name="Shape0_20211123_123008">
            <a:extLst>
              <a:ext uri="{FF2B5EF4-FFF2-40B4-BE49-F238E27FC236}">
                <a16:creationId xmlns:a16="http://schemas.microsoft.com/office/drawing/2014/main" id="{C6801CA9-49DA-419A-59AB-5EB76A51D7C4}"/>
              </a:ext>
            </a:extLst>
          </p:cNvPr>
          <p:cNvSpPr txBox="1">
            <a:spLocks/>
          </p:cNvSpPr>
          <p:nvPr/>
        </p:nvSpPr>
        <p:spPr>
          <a:xfrm>
            <a:off x="1384662" y="2833360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5F94838-718C-2F01-B50E-146C2B984455}"/>
              </a:ext>
            </a:extLst>
          </p:cNvPr>
          <p:cNvSpPr/>
          <p:nvPr/>
        </p:nvSpPr>
        <p:spPr>
          <a:xfrm>
            <a:off x="685501" y="2660199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7688ABE1-5791-5550-697B-AF215B448D8B}"/>
              </a:ext>
            </a:extLst>
          </p:cNvPr>
          <p:cNvSpPr/>
          <p:nvPr/>
        </p:nvSpPr>
        <p:spPr>
          <a:xfrm>
            <a:off x="626323" y="2589820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1" name="Freeform 16">
            <a:extLst>
              <a:ext uri="{FF2B5EF4-FFF2-40B4-BE49-F238E27FC236}">
                <a16:creationId xmlns:a16="http://schemas.microsoft.com/office/drawing/2014/main" id="{F4BC5229-FE81-C01C-1D8C-A280E90F46AB}"/>
              </a:ext>
            </a:extLst>
          </p:cNvPr>
          <p:cNvSpPr>
            <a:spLocks/>
          </p:cNvSpPr>
          <p:nvPr/>
        </p:nvSpPr>
        <p:spPr bwMode="auto">
          <a:xfrm>
            <a:off x="680598" y="2653193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2" name="Shape2_20211123_123008">
            <a:extLst>
              <a:ext uri="{FF2B5EF4-FFF2-40B4-BE49-F238E27FC236}">
                <a16:creationId xmlns:a16="http://schemas.microsoft.com/office/drawing/2014/main" id="{C763C049-E335-6E03-5904-465DEE1F4D39}"/>
              </a:ext>
            </a:extLst>
          </p:cNvPr>
          <p:cNvSpPr txBox="1">
            <a:spLocks/>
          </p:cNvSpPr>
          <p:nvPr/>
        </p:nvSpPr>
        <p:spPr>
          <a:xfrm>
            <a:off x="1384662" y="4018186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CA20D2E-9E73-9085-6538-F7DD4A544136}"/>
              </a:ext>
            </a:extLst>
          </p:cNvPr>
          <p:cNvSpPr/>
          <p:nvPr/>
        </p:nvSpPr>
        <p:spPr>
          <a:xfrm>
            <a:off x="685501" y="3845023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" name="Block Arc 13">
            <a:extLst>
              <a:ext uri="{FF2B5EF4-FFF2-40B4-BE49-F238E27FC236}">
                <a16:creationId xmlns:a16="http://schemas.microsoft.com/office/drawing/2014/main" id="{04D60F8E-6C35-5AB6-CEBD-B3B5504D3297}"/>
              </a:ext>
            </a:extLst>
          </p:cNvPr>
          <p:cNvSpPr/>
          <p:nvPr/>
        </p:nvSpPr>
        <p:spPr>
          <a:xfrm>
            <a:off x="626323" y="3774643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5" name="Freeform 16">
            <a:extLst>
              <a:ext uri="{FF2B5EF4-FFF2-40B4-BE49-F238E27FC236}">
                <a16:creationId xmlns:a16="http://schemas.microsoft.com/office/drawing/2014/main" id="{D05C08A5-8F42-F431-02B0-5651D89663B5}"/>
              </a:ext>
            </a:extLst>
          </p:cNvPr>
          <p:cNvSpPr>
            <a:spLocks/>
          </p:cNvSpPr>
          <p:nvPr/>
        </p:nvSpPr>
        <p:spPr bwMode="auto">
          <a:xfrm>
            <a:off x="680598" y="3838021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6" name="Shape3_20211123_123008">
            <a:extLst>
              <a:ext uri="{FF2B5EF4-FFF2-40B4-BE49-F238E27FC236}">
                <a16:creationId xmlns:a16="http://schemas.microsoft.com/office/drawing/2014/main" id="{F76C3929-1210-61AA-621A-7D9DA830F0FD}"/>
              </a:ext>
            </a:extLst>
          </p:cNvPr>
          <p:cNvSpPr txBox="1">
            <a:spLocks/>
          </p:cNvSpPr>
          <p:nvPr/>
        </p:nvSpPr>
        <p:spPr>
          <a:xfrm>
            <a:off x="1384662" y="5203012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9054B68-52C2-F789-60D8-8C87568DA599}"/>
              </a:ext>
            </a:extLst>
          </p:cNvPr>
          <p:cNvSpPr/>
          <p:nvPr/>
        </p:nvSpPr>
        <p:spPr>
          <a:xfrm>
            <a:off x="685501" y="5029845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8" name="Block Arc 17">
            <a:extLst>
              <a:ext uri="{FF2B5EF4-FFF2-40B4-BE49-F238E27FC236}">
                <a16:creationId xmlns:a16="http://schemas.microsoft.com/office/drawing/2014/main" id="{08886826-2831-1B15-3ABF-263A59FF604F}"/>
              </a:ext>
            </a:extLst>
          </p:cNvPr>
          <p:cNvSpPr/>
          <p:nvPr/>
        </p:nvSpPr>
        <p:spPr>
          <a:xfrm>
            <a:off x="626323" y="4959466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B0622051-167D-861F-98FE-390CFBC7548F}"/>
              </a:ext>
            </a:extLst>
          </p:cNvPr>
          <p:cNvSpPr>
            <a:spLocks/>
          </p:cNvSpPr>
          <p:nvPr/>
        </p:nvSpPr>
        <p:spPr bwMode="auto">
          <a:xfrm>
            <a:off x="680598" y="5022843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4</a:t>
            </a:r>
          </a:p>
        </p:txBody>
      </p:sp>
      <p:cxnSp>
        <p:nvCxnSpPr>
          <p:cNvPr id="20" name="Shape0_20221011_163854">
            <a:extLst>
              <a:ext uri="{FF2B5EF4-FFF2-40B4-BE49-F238E27FC236}">
                <a16:creationId xmlns:a16="http://schemas.microsoft.com/office/drawing/2014/main" id="{56A19E63-B2DE-3772-CDE1-A3973C7B4B0F}"/>
              </a:ext>
            </a:extLst>
          </p:cNvPr>
          <p:cNvCxnSpPr>
            <a:cxnSpLocks/>
          </p:cNvCxnSpPr>
          <p:nvPr/>
        </p:nvCxnSpPr>
        <p:spPr>
          <a:xfrm>
            <a:off x="1239081" y="1508913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1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2A4DD77-77D4-1C47-9390-50A0C16D5428}"/>
              </a:ext>
            </a:extLst>
          </p:cNvPr>
          <p:cNvCxnSpPr>
            <a:cxnSpLocks/>
          </p:cNvCxnSpPr>
          <p:nvPr/>
        </p:nvCxnSpPr>
        <p:spPr>
          <a:xfrm>
            <a:off x="1239081" y="2693738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2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8D04776-1870-D0E9-FCD2-F33C0DFDA558}"/>
              </a:ext>
            </a:extLst>
          </p:cNvPr>
          <p:cNvCxnSpPr>
            <a:cxnSpLocks/>
          </p:cNvCxnSpPr>
          <p:nvPr/>
        </p:nvCxnSpPr>
        <p:spPr>
          <a:xfrm>
            <a:off x="1239081" y="3878564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3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DC06690-E29E-6695-3375-E7DCDFA75575}"/>
              </a:ext>
            </a:extLst>
          </p:cNvPr>
          <p:cNvCxnSpPr>
            <a:cxnSpLocks/>
          </p:cNvCxnSpPr>
          <p:nvPr/>
        </p:nvCxnSpPr>
        <p:spPr>
          <a:xfrm>
            <a:off x="1239081" y="5063388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4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907ED8F-C9ED-BCD0-7F1A-F7606B4E6D4F}"/>
              </a:ext>
            </a:extLst>
          </p:cNvPr>
          <p:cNvGrpSpPr/>
          <p:nvPr/>
        </p:nvGrpSpPr>
        <p:grpSpPr>
          <a:xfrm>
            <a:off x="8052931" y="2082560"/>
            <a:ext cx="2980830" cy="2980829"/>
            <a:chOff x="8477305" y="2232205"/>
            <a:chExt cx="3102080" cy="3102078"/>
          </a:xfrm>
        </p:grpSpPr>
        <p:sp>
          <p:nvSpPr>
            <p:cNvPr id="25" name="Arc 24">
              <a:extLst>
                <a:ext uri="{FF2B5EF4-FFF2-40B4-BE49-F238E27FC236}">
                  <a16:creationId xmlns:a16="http://schemas.microsoft.com/office/drawing/2014/main" id="{B6A2F75C-832D-C3AC-2212-D5272ECFD8F0}"/>
                </a:ext>
              </a:extLst>
            </p:cNvPr>
            <p:cNvSpPr/>
            <p:nvPr/>
          </p:nvSpPr>
          <p:spPr>
            <a:xfrm>
              <a:off x="8477305" y="2232205"/>
              <a:ext cx="3102077" cy="3102078"/>
            </a:xfrm>
            <a:prstGeom prst="arc">
              <a:avLst>
                <a:gd name="adj1" fmla="val 12236924"/>
                <a:gd name="adj2" fmla="val 20091912"/>
              </a:avLst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26" name="Arc 25">
              <a:extLst>
                <a:ext uri="{FF2B5EF4-FFF2-40B4-BE49-F238E27FC236}">
                  <a16:creationId xmlns:a16="http://schemas.microsoft.com/office/drawing/2014/main" id="{3C785DAB-A972-3720-D67E-4F7E4DD9F0B9}"/>
                </a:ext>
              </a:extLst>
            </p:cNvPr>
            <p:cNvSpPr/>
            <p:nvPr/>
          </p:nvSpPr>
          <p:spPr>
            <a:xfrm>
              <a:off x="8477306" y="2232205"/>
              <a:ext cx="3102079" cy="3102078"/>
            </a:xfrm>
            <a:prstGeom prst="arc">
              <a:avLst>
                <a:gd name="adj1" fmla="val 20947669"/>
                <a:gd name="adj2" fmla="val 4168876"/>
              </a:avLst>
            </a:prstGeom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27" name="Arc 26">
              <a:extLst>
                <a:ext uri="{FF2B5EF4-FFF2-40B4-BE49-F238E27FC236}">
                  <a16:creationId xmlns:a16="http://schemas.microsoft.com/office/drawing/2014/main" id="{6681E065-378F-92B4-C4C8-B8822B1758F8}"/>
                </a:ext>
              </a:extLst>
            </p:cNvPr>
            <p:cNvSpPr/>
            <p:nvPr/>
          </p:nvSpPr>
          <p:spPr>
            <a:xfrm>
              <a:off x="8477305" y="2232205"/>
              <a:ext cx="3102077" cy="3102078"/>
            </a:xfrm>
            <a:prstGeom prst="arc">
              <a:avLst>
                <a:gd name="adj1" fmla="val 4740219"/>
                <a:gd name="adj2" fmla="val 11688552"/>
              </a:avLst>
            </a:prstGeom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29" name="Shape8_20220502_101224">
              <a:extLst>
                <a:ext uri="{FF2B5EF4-FFF2-40B4-BE49-F238E27FC236}">
                  <a16:creationId xmlns:a16="http://schemas.microsoft.com/office/drawing/2014/main" id="{7A5830D4-91AE-A74C-CED4-F7013D27CC36}"/>
                </a:ext>
              </a:extLst>
            </p:cNvPr>
            <p:cNvSpPr/>
            <p:nvPr/>
          </p:nvSpPr>
          <p:spPr>
            <a:xfrm>
              <a:off x="9199551" y="2566156"/>
              <a:ext cx="1607766" cy="2288314"/>
            </a:xfrm>
            <a:custGeom>
              <a:avLst/>
              <a:gdLst>
                <a:gd name="connsiteX0" fmla="*/ 2227326 w 2286476"/>
                <a:gd name="connsiteY0" fmla="*/ 331565 h 3254311"/>
                <a:gd name="connsiteX1" fmla="*/ 1766888 w 2286476"/>
                <a:gd name="connsiteY1" fmla="*/ 331565 h 3254311"/>
                <a:gd name="connsiteX2" fmla="*/ 1766888 w 2286476"/>
                <a:gd name="connsiteY2" fmla="*/ 235553 h 3254311"/>
                <a:gd name="connsiteX3" fmla="*/ 1700498 w 2286476"/>
                <a:gd name="connsiteY3" fmla="*/ 169069 h 3254311"/>
                <a:gd name="connsiteX4" fmla="*/ 1369409 w 2286476"/>
                <a:gd name="connsiteY4" fmla="*/ 168974 h 3254311"/>
                <a:gd name="connsiteX5" fmla="*/ 1305782 w 2286476"/>
                <a:gd name="connsiteY5" fmla="*/ 121158 h 3254311"/>
                <a:gd name="connsiteX6" fmla="*/ 1143286 w 2286476"/>
                <a:gd name="connsiteY6" fmla="*/ 0 h 3254311"/>
                <a:gd name="connsiteX7" fmla="*/ 980789 w 2286476"/>
                <a:gd name="connsiteY7" fmla="*/ 121063 h 3254311"/>
                <a:gd name="connsiteX8" fmla="*/ 917162 w 2286476"/>
                <a:gd name="connsiteY8" fmla="*/ 168878 h 3254311"/>
                <a:gd name="connsiteX9" fmla="*/ 586169 w 2286476"/>
                <a:gd name="connsiteY9" fmla="*/ 168783 h 3254311"/>
                <a:gd name="connsiteX10" fmla="*/ 519684 w 2286476"/>
                <a:gd name="connsiteY10" fmla="*/ 235268 h 3254311"/>
                <a:gd name="connsiteX11" fmla="*/ 519684 w 2286476"/>
                <a:gd name="connsiteY11" fmla="*/ 331565 h 3254311"/>
                <a:gd name="connsiteX12" fmla="*/ 59150 w 2286476"/>
                <a:gd name="connsiteY12" fmla="*/ 331565 h 3254311"/>
                <a:gd name="connsiteX13" fmla="*/ 0 w 2286476"/>
                <a:gd name="connsiteY13" fmla="*/ 390715 h 3254311"/>
                <a:gd name="connsiteX14" fmla="*/ 0 w 2286476"/>
                <a:gd name="connsiteY14" fmla="*/ 3195161 h 3254311"/>
                <a:gd name="connsiteX15" fmla="*/ 59150 w 2286476"/>
                <a:gd name="connsiteY15" fmla="*/ 3254312 h 3254311"/>
                <a:gd name="connsiteX16" fmla="*/ 2227326 w 2286476"/>
                <a:gd name="connsiteY16" fmla="*/ 3254312 h 3254311"/>
                <a:gd name="connsiteX17" fmla="*/ 2286476 w 2286476"/>
                <a:gd name="connsiteY17" fmla="*/ 3195161 h 3254311"/>
                <a:gd name="connsiteX18" fmla="*/ 2286476 w 2286476"/>
                <a:gd name="connsiteY18" fmla="*/ 390715 h 3254311"/>
                <a:gd name="connsiteX19" fmla="*/ 2227326 w 2286476"/>
                <a:gd name="connsiteY19" fmla="*/ 331565 h 3254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86476" h="3254311">
                  <a:moveTo>
                    <a:pt x="2227326" y="331565"/>
                  </a:moveTo>
                  <a:lnTo>
                    <a:pt x="1766888" y="331565"/>
                  </a:lnTo>
                  <a:lnTo>
                    <a:pt x="1766888" y="235553"/>
                  </a:lnTo>
                  <a:cubicBezTo>
                    <a:pt x="1766888" y="198882"/>
                    <a:pt x="1737170" y="169069"/>
                    <a:pt x="1700498" y="169069"/>
                  </a:cubicBezTo>
                  <a:lnTo>
                    <a:pt x="1369409" y="168974"/>
                  </a:lnTo>
                  <a:cubicBezTo>
                    <a:pt x="1339882" y="168974"/>
                    <a:pt x="1314164" y="149447"/>
                    <a:pt x="1305782" y="121158"/>
                  </a:cubicBezTo>
                  <a:cubicBezTo>
                    <a:pt x="1284923" y="51149"/>
                    <a:pt x="1220153" y="0"/>
                    <a:pt x="1143286" y="0"/>
                  </a:cubicBezTo>
                  <a:cubicBezTo>
                    <a:pt x="1066514" y="0"/>
                    <a:pt x="1001649" y="50959"/>
                    <a:pt x="980789" y="121063"/>
                  </a:cubicBezTo>
                  <a:cubicBezTo>
                    <a:pt x="972407" y="149352"/>
                    <a:pt x="946595" y="168878"/>
                    <a:pt x="917162" y="168878"/>
                  </a:cubicBezTo>
                  <a:lnTo>
                    <a:pt x="586169" y="168783"/>
                  </a:lnTo>
                  <a:cubicBezTo>
                    <a:pt x="549497" y="168783"/>
                    <a:pt x="519684" y="198501"/>
                    <a:pt x="519684" y="235268"/>
                  </a:cubicBezTo>
                  <a:lnTo>
                    <a:pt x="519684" y="331565"/>
                  </a:lnTo>
                  <a:lnTo>
                    <a:pt x="59150" y="331565"/>
                  </a:lnTo>
                  <a:cubicBezTo>
                    <a:pt x="26480" y="331565"/>
                    <a:pt x="0" y="358045"/>
                    <a:pt x="0" y="390715"/>
                  </a:cubicBezTo>
                  <a:lnTo>
                    <a:pt x="0" y="3195161"/>
                  </a:lnTo>
                  <a:cubicBezTo>
                    <a:pt x="0" y="3227832"/>
                    <a:pt x="26480" y="3254312"/>
                    <a:pt x="59150" y="3254312"/>
                  </a:cubicBezTo>
                  <a:lnTo>
                    <a:pt x="2227326" y="3254312"/>
                  </a:lnTo>
                  <a:cubicBezTo>
                    <a:pt x="2259997" y="3254312"/>
                    <a:pt x="2286476" y="3227832"/>
                    <a:pt x="2286476" y="3195161"/>
                  </a:cubicBezTo>
                  <a:lnTo>
                    <a:pt x="2286476" y="390715"/>
                  </a:lnTo>
                  <a:cubicBezTo>
                    <a:pt x="2286476" y="358140"/>
                    <a:pt x="2259997" y="331565"/>
                    <a:pt x="2227326" y="331565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0" name="Shape9_20220502_101224">
              <a:extLst>
                <a:ext uri="{FF2B5EF4-FFF2-40B4-BE49-F238E27FC236}">
                  <a16:creationId xmlns:a16="http://schemas.microsoft.com/office/drawing/2014/main" id="{9E64971E-4EB5-5C07-FD04-F2F64CC3F864}"/>
                </a:ext>
              </a:extLst>
            </p:cNvPr>
            <p:cNvSpPr/>
            <p:nvPr/>
          </p:nvSpPr>
          <p:spPr>
            <a:xfrm>
              <a:off x="9163378" y="2763135"/>
              <a:ext cx="1607766" cy="2055170"/>
            </a:xfrm>
            <a:custGeom>
              <a:avLst/>
              <a:gdLst>
                <a:gd name="connsiteX0" fmla="*/ 2286476 w 2286476"/>
                <a:gd name="connsiteY0" fmla="*/ 2863596 h 2922746"/>
                <a:gd name="connsiteX1" fmla="*/ 2227326 w 2286476"/>
                <a:gd name="connsiteY1" fmla="*/ 2922746 h 2922746"/>
                <a:gd name="connsiteX2" fmla="*/ 59055 w 2286476"/>
                <a:gd name="connsiteY2" fmla="*/ 2922746 h 2922746"/>
                <a:gd name="connsiteX3" fmla="*/ 0 w 2286476"/>
                <a:gd name="connsiteY3" fmla="*/ 2863596 h 2922746"/>
                <a:gd name="connsiteX4" fmla="*/ 0 w 2286476"/>
                <a:gd name="connsiteY4" fmla="*/ 59150 h 2922746"/>
                <a:gd name="connsiteX5" fmla="*/ 59055 w 2286476"/>
                <a:gd name="connsiteY5" fmla="*/ 0 h 2922746"/>
                <a:gd name="connsiteX6" fmla="*/ 2227326 w 2286476"/>
                <a:gd name="connsiteY6" fmla="*/ 0 h 2922746"/>
                <a:gd name="connsiteX7" fmla="*/ 2286476 w 2286476"/>
                <a:gd name="connsiteY7" fmla="*/ 59150 h 2922746"/>
                <a:gd name="connsiteX8" fmla="*/ 2286476 w 2286476"/>
                <a:gd name="connsiteY8" fmla="*/ 2863596 h 2922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6476" h="2922746">
                  <a:moveTo>
                    <a:pt x="2286476" y="2863596"/>
                  </a:moveTo>
                  <a:cubicBezTo>
                    <a:pt x="2286476" y="2896267"/>
                    <a:pt x="2259997" y="2922746"/>
                    <a:pt x="2227326" y="2922746"/>
                  </a:cubicBezTo>
                  <a:lnTo>
                    <a:pt x="59055" y="2922746"/>
                  </a:lnTo>
                  <a:cubicBezTo>
                    <a:pt x="26384" y="2922746"/>
                    <a:pt x="0" y="2896267"/>
                    <a:pt x="0" y="2863596"/>
                  </a:cubicBezTo>
                  <a:lnTo>
                    <a:pt x="0" y="59150"/>
                  </a:lnTo>
                  <a:cubicBezTo>
                    <a:pt x="0" y="26479"/>
                    <a:pt x="26480" y="0"/>
                    <a:pt x="59055" y="0"/>
                  </a:cubicBezTo>
                  <a:lnTo>
                    <a:pt x="2227326" y="0"/>
                  </a:lnTo>
                  <a:cubicBezTo>
                    <a:pt x="2259997" y="0"/>
                    <a:pt x="2286476" y="26479"/>
                    <a:pt x="2286476" y="59150"/>
                  </a:cubicBezTo>
                  <a:lnTo>
                    <a:pt x="2286476" y="28635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1" name="Shape10_20220502_101224">
              <a:extLst>
                <a:ext uri="{FF2B5EF4-FFF2-40B4-BE49-F238E27FC236}">
                  <a16:creationId xmlns:a16="http://schemas.microsoft.com/office/drawing/2014/main" id="{2CFB25C1-E6A3-0B5C-B49C-81B9F5F4A86D}"/>
                </a:ext>
              </a:extLst>
            </p:cNvPr>
            <p:cNvSpPr/>
            <p:nvPr/>
          </p:nvSpPr>
          <p:spPr>
            <a:xfrm>
              <a:off x="9246498" y="2846320"/>
              <a:ext cx="1441462" cy="1888734"/>
            </a:xfrm>
            <a:custGeom>
              <a:avLst/>
              <a:gdLst>
                <a:gd name="connsiteX0" fmla="*/ 0 w 2049970"/>
                <a:gd name="connsiteY0" fmla="*/ 0 h 2686050"/>
                <a:gd name="connsiteX1" fmla="*/ 2049971 w 2049970"/>
                <a:gd name="connsiteY1" fmla="*/ 0 h 2686050"/>
                <a:gd name="connsiteX2" fmla="*/ 2049971 w 2049970"/>
                <a:gd name="connsiteY2" fmla="*/ 2686050 h 2686050"/>
                <a:gd name="connsiteX3" fmla="*/ 0 w 2049970"/>
                <a:gd name="connsiteY3" fmla="*/ 2686050 h 268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9970" h="2686050">
                  <a:moveTo>
                    <a:pt x="0" y="0"/>
                  </a:moveTo>
                  <a:lnTo>
                    <a:pt x="2049971" y="0"/>
                  </a:lnTo>
                  <a:lnTo>
                    <a:pt x="2049971" y="2686050"/>
                  </a:lnTo>
                  <a:lnTo>
                    <a:pt x="0" y="26860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2" name="Shape0_20220502_101254">
              <a:extLst>
                <a:ext uri="{FF2B5EF4-FFF2-40B4-BE49-F238E27FC236}">
                  <a16:creationId xmlns:a16="http://schemas.microsoft.com/office/drawing/2014/main" id="{9897F031-4894-9C9D-EB0A-7BD2283E00D5}"/>
                </a:ext>
              </a:extLst>
            </p:cNvPr>
            <p:cNvSpPr/>
            <p:nvPr/>
          </p:nvSpPr>
          <p:spPr>
            <a:xfrm>
              <a:off x="9528804" y="2529989"/>
              <a:ext cx="877055" cy="386588"/>
            </a:xfrm>
            <a:custGeom>
              <a:avLst/>
              <a:gdLst>
                <a:gd name="connsiteX0" fmla="*/ 849725 w 1247298"/>
                <a:gd name="connsiteY0" fmla="*/ 168974 h 549783"/>
                <a:gd name="connsiteX1" fmla="*/ 786098 w 1247298"/>
                <a:gd name="connsiteY1" fmla="*/ 121158 h 549783"/>
                <a:gd name="connsiteX2" fmla="*/ 623602 w 1247298"/>
                <a:gd name="connsiteY2" fmla="*/ 0 h 549783"/>
                <a:gd name="connsiteX3" fmla="*/ 461105 w 1247298"/>
                <a:gd name="connsiteY3" fmla="*/ 121063 h 549783"/>
                <a:gd name="connsiteX4" fmla="*/ 397478 w 1247298"/>
                <a:gd name="connsiteY4" fmla="*/ 168878 h 549783"/>
                <a:gd name="connsiteX5" fmla="*/ 66484 w 1247298"/>
                <a:gd name="connsiteY5" fmla="*/ 168783 h 549783"/>
                <a:gd name="connsiteX6" fmla="*/ 0 w 1247298"/>
                <a:gd name="connsiteY6" fmla="*/ 235268 h 549783"/>
                <a:gd name="connsiteX7" fmla="*/ 0 w 1247298"/>
                <a:gd name="connsiteY7" fmla="*/ 483108 h 549783"/>
                <a:gd name="connsiteX8" fmla="*/ 66484 w 1247298"/>
                <a:gd name="connsiteY8" fmla="*/ 549593 h 549783"/>
                <a:gd name="connsiteX9" fmla="*/ 1180814 w 1247298"/>
                <a:gd name="connsiteY9" fmla="*/ 549783 h 549783"/>
                <a:gd name="connsiteX10" fmla="*/ 1247299 w 1247298"/>
                <a:gd name="connsiteY10" fmla="*/ 483299 h 549783"/>
                <a:gd name="connsiteX11" fmla="*/ 1247299 w 1247298"/>
                <a:gd name="connsiteY11" fmla="*/ 235458 h 549783"/>
                <a:gd name="connsiteX12" fmla="*/ 1180909 w 1247298"/>
                <a:gd name="connsiteY12" fmla="*/ 168974 h 549783"/>
                <a:gd name="connsiteX13" fmla="*/ 849725 w 1247298"/>
                <a:gd name="connsiteY13" fmla="*/ 168974 h 549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47298" h="549783">
                  <a:moveTo>
                    <a:pt x="849725" y="168974"/>
                  </a:moveTo>
                  <a:cubicBezTo>
                    <a:pt x="820198" y="168974"/>
                    <a:pt x="794480" y="149447"/>
                    <a:pt x="786098" y="121158"/>
                  </a:cubicBezTo>
                  <a:cubicBezTo>
                    <a:pt x="765238" y="51054"/>
                    <a:pt x="700373" y="0"/>
                    <a:pt x="623602" y="0"/>
                  </a:cubicBezTo>
                  <a:cubicBezTo>
                    <a:pt x="546830" y="0"/>
                    <a:pt x="481965" y="50959"/>
                    <a:pt x="461105" y="121063"/>
                  </a:cubicBezTo>
                  <a:cubicBezTo>
                    <a:pt x="452723" y="149352"/>
                    <a:pt x="426910" y="168878"/>
                    <a:pt x="397478" y="168878"/>
                  </a:cubicBezTo>
                  <a:lnTo>
                    <a:pt x="66484" y="168783"/>
                  </a:lnTo>
                  <a:cubicBezTo>
                    <a:pt x="29813" y="168783"/>
                    <a:pt x="0" y="198501"/>
                    <a:pt x="0" y="235268"/>
                  </a:cubicBezTo>
                  <a:lnTo>
                    <a:pt x="0" y="483108"/>
                  </a:lnTo>
                  <a:cubicBezTo>
                    <a:pt x="0" y="519779"/>
                    <a:pt x="29718" y="549593"/>
                    <a:pt x="66484" y="549593"/>
                  </a:cubicBezTo>
                  <a:lnTo>
                    <a:pt x="1180814" y="549783"/>
                  </a:lnTo>
                  <a:cubicBezTo>
                    <a:pt x="1217486" y="549783"/>
                    <a:pt x="1247299" y="520065"/>
                    <a:pt x="1247299" y="483299"/>
                  </a:cubicBezTo>
                  <a:lnTo>
                    <a:pt x="1247299" y="235458"/>
                  </a:lnTo>
                  <a:cubicBezTo>
                    <a:pt x="1247299" y="198787"/>
                    <a:pt x="1217581" y="168974"/>
                    <a:pt x="1180909" y="168974"/>
                  </a:cubicBezTo>
                  <a:lnTo>
                    <a:pt x="849725" y="168974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3" name="Shape12_20220502_101224">
              <a:extLst>
                <a:ext uri="{FF2B5EF4-FFF2-40B4-BE49-F238E27FC236}">
                  <a16:creationId xmlns:a16="http://schemas.microsoft.com/office/drawing/2014/main" id="{691D335E-7992-84A9-98A5-F94335FE4D06}"/>
                </a:ext>
              </a:extLst>
            </p:cNvPr>
            <p:cNvSpPr/>
            <p:nvPr/>
          </p:nvSpPr>
          <p:spPr>
            <a:xfrm>
              <a:off x="9915591" y="2600918"/>
              <a:ext cx="103410" cy="103478"/>
            </a:xfrm>
            <a:custGeom>
              <a:avLst/>
              <a:gdLst>
                <a:gd name="connsiteX0" fmla="*/ 147066 w 147066"/>
                <a:gd name="connsiteY0" fmla="*/ 73628 h 147161"/>
                <a:gd name="connsiteX1" fmla="*/ 73533 w 147066"/>
                <a:gd name="connsiteY1" fmla="*/ 147161 h 147161"/>
                <a:gd name="connsiteX2" fmla="*/ 0 w 147066"/>
                <a:gd name="connsiteY2" fmla="*/ 73533 h 147161"/>
                <a:gd name="connsiteX3" fmla="*/ 73628 w 147066"/>
                <a:gd name="connsiteY3" fmla="*/ 0 h 147161"/>
                <a:gd name="connsiteX4" fmla="*/ 147066 w 147066"/>
                <a:gd name="connsiteY4" fmla="*/ 73628 h 14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066" h="147161">
                  <a:moveTo>
                    <a:pt x="147066" y="73628"/>
                  </a:moveTo>
                  <a:cubicBezTo>
                    <a:pt x="147066" y="114300"/>
                    <a:pt x="114110" y="147161"/>
                    <a:pt x="73533" y="147161"/>
                  </a:cubicBezTo>
                  <a:cubicBezTo>
                    <a:pt x="32956" y="147161"/>
                    <a:pt x="0" y="114205"/>
                    <a:pt x="0" y="73533"/>
                  </a:cubicBezTo>
                  <a:cubicBezTo>
                    <a:pt x="0" y="32957"/>
                    <a:pt x="33052" y="0"/>
                    <a:pt x="73628" y="0"/>
                  </a:cubicBezTo>
                  <a:cubicBezTo>
                    <a:pt x="114110" y="95"/>
                    <a:pt x="147066" y="32957"/>
                    <a:pt x="147066" y="73628"/>
                  </a:cubicBezTo>
                  <a:close/>
                </a:path>
              </a:pathLst>
            </a:custGeom>
            <a:solidFill>
              <a:srgbClr val="BA7C00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4" name="Shape13_20220502_101224">
              <a:extLst>
                <a:ext uri="{FF2B5EF4-FFF2-40B4-BE49-F238E27FC236}">
                  <a16:creationId xmlns:a16="http://schemas.microsoft.com/office/drawing/2014/main" id="{D8BF4C4D-E894-D739-5F6E-A7F4855E33BB}"/>
                </a:ext>
              </a:extLst>
            </p:cNvPr>
            <p:cNvSpPr/>
            <p:nvPr/>
          </p:nvSpPr>
          <p:spPr>
            <a:xfrm>
              <a:off x="9528736" y="2845785"/>
              <a:ext cx="876988" cy="70862"/>
            </a:xfrm>
            <a:custGeom>
              <a:avLst/>
              <a:gdLst>
                <a:gd name="connsiteX0" fmla="*/ 0 w 1247203"/>
                <a:gd name="connsiteY0" fmla="*/ 0 h 100774"/>
                <a:gd name="connsiteX1" fmla="*/ 1247204 w 1247203"/>
                <a:gd name="connsiteY1" fmla="*/ 0 h 100774"/>
                <a:gd name="connsiteX2" fmla="*/ 1247204 w 1247203"/>
                <a:gd name="connsiteY2" fmla="*/ 100775 h 100774"/>
                <a:gd name="connsiteX3" fmla="*/ 0 w 1247203"/>
                <a:gd name="connsiteY3" fmla="*/ 100775 h 10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203" h="100774">
                  <a:moveTo>
                    <a:pt x="0" y="0"/>
                  </a:moveTo>
                  <a:lnTo>
                    <a:pt x="1247204" y="0"/>
                  </a:lnTo>
                  <a:lnTo>
                    <a:pt x="1247204" y="100775"/>
                  </a:lnTo>
                  <a:lnTo>
                    <a:pt x="0" y="10077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5" name="Shape14_20220502_101224">
              <a:extLst>
                <a:ext uri="{FF2B5EF4-FFF2-40B4-BE49-F238E27FC236}">
                  <a16:creationId xmlns:a16="http://schemas.microsoft.com/office/drawing/2014/main" id="{5D52A973-B388-645E-0CB6-52F805AC7E3D}"/>
                </a:ext>
              </a:extLst>
            </p:cNvPr>
            <p:cNvSpPr/>
            <p:nvPr/>
          </p:nvSpPr>
          <p:spPr>
            <a:xfrm>
              <a:off x="9859936" y="3054749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6" name="Shape15_20220502_101224">
              <a:extLst>
                <a:ext uri="{FF2B5EF4-FFF2-40B4-BE49-F238E27FC236}">
                  <a16:creationId xmlns:a16="http://schemas.microsoft.com/office/drawing/2014/main" id="{AAF75F05-DAAB-5B60-30A4-007E3B9DDC7F}"/>
                </a:ext>
              </a:extLst>
            </p:cNvPr>
            <p:cNvSpPr/>
            <p:nvPr/>
          </p:nvSpPr>
          <p:spPr>
            <a:xfrm>
              <a:off x="9859936" y="3157023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7" name="Shape16_20220502_101224">
              <a:extLst>
                <a:ext uri="{FF2B5EF4-FFF2-40B4-BE49-F238E27FC236}">
                  <a16:creationId xmlns:a16="http://schemas.microsoft.com/office/drawing/2014/main" id="{6A7DD3DD-26C7-1133-F451-E1545EF2FB4B}"/>
                </a:ext>
              </a:extLst>
            </p:cNvPr>
            <p:cNvSpPr/>
            <p:nvPr/>
          </p:nvSpPr>
          <p:spPr>
            <a:xfrm>
              <a:off x="9859936" y="325654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8" name="Shape17_20220502_101224">
              <a:extLst>
                <a:ext uri="{FF2B5EF4-FFF2-40B4-BE49-F238E27FC236}">
                  <a16:creationId xmlns:a16="http://schemas.microsoft.com/office/drawing/2014/main" id="{0C7823F2-E657-ECCA-7186-D68A1EED7F5A}"/>
                </a:ext>
              </a:extLst>
            </p:cNvPr>
            <p:cNvSpPr/>
            <p:nvPr/>
          </p:nvSpPr>
          <p:spPr>
            <a:xfrm>
              <a:off x="9859936" y="3356077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9" name="Shape18_20220502_101224">
              <a:extLst>
                <a:ext uri="{FF2B5EF4-FFF2-40B4-BE49-F238E27FC236}">
                  <a16:creationId xmlns:a16="http://schemas.microsoft.com/office/drawing/2014/main" id="{DDBFE6F7-BC62-57D5-B94A-3FA880E98C65}"/>
                </a:ext>
              </a:extLst>
            </p:cNvPr>
            <p:cNvSpPr/>
            <p:nvPr/>
          </p:nvSpPr>
          <p:spPr>
            <a:xfrm>
              <a:off x="9403357" y="3054749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816 h 485870"/>
                <a:gd name="connsiteX12" fmla="*/ 60484 w 485870"/>
                <a:gd name="connsiteY12" fmla="*/ 60484 h 485870"/>
                <a:gd name="connsiteX13" fmla="*/ 53816 w 485870"/>
                <a:gd name="connsiteY13" fmla="*/ 76581 h 485870"/>
                <a:gd name="connsiteX14" fmla="*/ 53816 w 485870"/>
                <a:gd name="connsiteY14" fmla="*/ 409289 h 485870"/>
                <a:gd name="connsiteX15" fmla="*/ 76676 w 485870"/>
                <a:gd name="connsiteY15" fmla="*/ 432149 h 485870"/>
                <a:gd name="connsiteX16" fmla="*/ 409289 w 485870"/>
                <a:gd name="connsiteY16" fmla="*/ 432149 h 485870"/>
                <a:gd name="connsiteX17" fmla="*/ 432149 w 485870"/>
                <a:gd name="connsiteY17" fmla="*/ 409289 h 485870"/>
                <a:gd name="connsiteX18" fmla="*/ 432149 w 485870"/>
                <a:gd name="connsiteY18" fmla="*/ 76581 h 485870"/>
                <a:gd name="connsiteX19" fmla="*/ 409289 w 485870"/>
                <a:gd name="connsiteY19" fmla="*/ 53721 h 485870"/>
                <a:gd name="connsiteX20" fmla="*/ 409289 w 485870"/>
                <a:gd name="connsiteY20" fmla="*/ 53721 h 485870"/>
                <a:gd name="connsiteX21" fmla="*/ 76581 w 485870"/>
                <a:gd name="connsiteY21" fmla="*/ 53816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816"/>
                  </a:moveTo>
                  <a:cubicBezTo>
                    <a:pt x="70485" y="53816"/>
                    <a:pt x="64770" y="56198"/>
                    <a:pt x="60484" y="60484"/>
                  </a:cubicBezTo>
                  <a:cubicBezTo>
                    <a:pt x="56197" y="64770"/>
                    <a:pt x="53816" y="70580"/>
                    <a:pt x="53816" y="76581"/>
                  </a:cubicBezTo>
                  <a:lnTo>
                    <a:pt x="53816" y="409289"/>
                  </a:lnTo>
                  <a:cubicBezTo>
                    <a:pt x="53816" y="421862"/>
                    <a:pt x="64103" y="432149"/>
                    <a:pt x="76676" y="432149"/>
                  </a:cubicBezTo>
                  <a:lnTo>
                    <a:pt x="409289" y="432149"/>
                  </a:lnTo>
                  <a:cubicBezTo>
                    <a:pt x="421862" y="432149"/>
                    <a:pt x="432149" y="421862"/>
                    <a:pt x="432149" y="409289"/>
                  </a:cubicBezTo>
                  <a:lnTo>
                    <a:pt x="432149" y="76581"/>
                  </a:lnTo>
                  <a:cubicBezTo>
                    <a:pt x="432149" y="64008"/>
                    <a:pt x="421957" y="53721"/>
                    <a:pt x="409289" y="53721"/>
                  </a:cubicBezTo>
                  <a:lnTo>
                    <a:pt x="409289" y="53721"/>
                  </a:lnTo>
                  <a:lnTo>
                    <a:pt x="76581" y="5381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0" name="Shape19_20220502_101224">
              <a:extLst>
                <a:ext uri="{FF2B5EF4-FFF2-40B4-BE49-F238E27FC236}">
                  <a16:creationId xmlns:a16="http://schemas.microsoft.com/office/drawing/2014/main" id="{3021456A-0A3C-A8E9-DC3F-CAA9493AD1AE}"/>
                </a:ext>
              </a:extLst>
            </p:cNvPr>
            <p:cNvSpPr/>
            <p:nvPr/>
          </p:nvSpPr>
          <p:spPr>
            <a:xfrm>
              <a:off x="9460420" y="3140815"/>
              <a:ext cx="227585" cy="173200"/>
            </a:xfrm>
            <a:custGeom>
              <a:avLst/>
              <a:gdLst>
                <a:gd name="connsiteX0" fmla="*/ 136303 w 323659"/>
                <a:gd name="connsiteY0" fmla="*/ 246317 h 246316"/>
                <a:gd name="connsiteX1" fmla="*/ 0 w 323659"/>
                <a:gd name="connsiteY1" fmla="*/ 115824 h 246316"/>
                <a:gd name="connsiteX2" fmla="*/ 50959 w 323659"/>
                <a:gd name="connsiteY2" fmla="*/ 62579 h 246316"/>
                <a:gd name="connsiteX3" fmla="*/ 134112 w 323659"/>
                <a:gd name="connsiteY3" fmla="*/ 142113 h 246316"/>
                <a:gd name="connsiteX4" fmla="*/ 270415 w 323659"/>
                <a:gd name="connsiteY4" fmla="*/ 0 h 246316"/>
                <a:gd name="connsiteX5" fmla="*/ 323660 w 323659"/>
                <a:gd name="connsiteY5" fmla="*/ 50959 h 246316"/>
                <a:gd name="connsiteX6" fmla="*/ 136303 w 323659"/>
                <a:gd name="connsiteY6" fmla="*/ 246317 h 246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659" h="246316">
                  <a:moveTo>
                    <a:pt x="136303" y="246317"/>
                  </a:moveTo>
                  <a:lnTo>
                    <a:pt x="0" y="115824"/>
                  </a:lnTo>
                  <a:lnTo>
                    <a:pt x="50959" y="62579"/>
                  </a:lnTo>
                  <a:lnTo>
                    <a:pt x="134112" y="142113"/>
                  </a:lnTo>
                  <a:lnTo>
                    <a:pt x="270415" y="0"/>
                  </a:lnTo>
                  <a:lnTo>
                    <a:pt x="323660" y="50959"/>
                  </a:lnTo>
                  <a:lnTo>
                    <a:pt x="136303" y="2463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1" name="Shape20_20220502_101224">
              <a:extLst>
                <a:ext uri="{FF2B5EF4-FFF2-40B4-BE49-F238E27FC236}">
                  <a16:creationId xmlns:a16="http://schemas.microsoft.com/office/drawing/2014/main" id="{78DD8D57-ADAA-78E4-872D-ADAE41F3CAA1}"/>
                </a:ext>
              </a:extLst>
            </p:cNvPr>
            <p:cNvSpPr/>
            <p:nvPr/>
          </p:nvSpPr>
          <p:spPr>
            <a:xfrm>
              <a:off x="9859936" y="3454934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2" name="Shape21_20220502_101224">
              <a:extLst>
                <a:ext uri="{FF2B5EF4-FFF2-40B4-BE49-F238E27FC236}">
                  <a16:creationId xmlns:a16="http://schemas.microsoft.com/office/drawing/2014/main" id="{EDD5A25C-9C44-28E7-BC3D-549F62422828}"/>
                </a:ext>
              </a:extLst>
            </p:cNvPr>
            <p:cNvSpPr/>
            <p:nvPr/>
          </p:nvSpPr>
          <p:spPr>
            <a:xfrm>
              <a:off x="9859936" y="355713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3" name="Shape22_20220502_101224">
              <a:extLst>
                <a:ext uri="{FF2B5EF4-FFF2-40B4-BE49-F238E27FC236}">
                  <a16:creationId xmlns:a16="http://schemas.microsoft.com/office/drawing/2014/main" id="{D273D2A5-40E3-FA76-468F-3BE6DCBAAB61}"/>
                </a:ext>
              </a:extLst>
            </p:cNvPr>
            <p:cNvSpPr/>
            <p:nvPr/>
          </p:nvSpPr>
          <p:spPr>
            <a:xfrm>
              <a:off x="9859936" y="3656667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4" name="Shape23_20220502_101224">
              <a:extLst>
                <a:ext uri="{FF2B5EF4-FFF2-40B4-BE49-F238E27FC236}">
                  <a16:creationId xmlns:a16="http://schemas.microsoft.com/office/drawing/2014/main" id="{E7707F5B-4616-290E-6A07-277A0F4EBA27}"/>
                </a:ext>
              </a:extLst>
            </p:cNvPr>
            <p:cNvSpPr/>
            <p:nvPr/>
          </p:nvSpPr>
          <p:spPr>
            <a:xfrm>
              <a:off x="9859936" y="3756192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5" name="Shape24_20220502_101224">
              <a:extLst>
                <a:ext uri="{FF2B5EF4-FFF2-40B4-BE49-F238E27FC236}">
                  <a16:creationId xmlns:a16="http://schemas.microsoft.com/office/drawing/2014/main" id="{8E8BBF94-A41B-9880-19FB-659338336E28}"/>
                </a:ext>
              </a:extLst>
            </p:cNvPr>
            <p:cNvSpPr/>
            <p:nvPr/>
          </p:nvSpPr>
          <p:spPr>
            <a:xfrm>
              <a:off x="9403357" y="3454934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8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8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6" name="Shape25_20220502_101224">
              <a:extLst>
                <a:ext uri="{FF2B5EF4-FFF2-40B4-BE49-F238E27FC236}">
                  <a16:creationId xmlns:a16="http://schemas.microsoft.com/office/drawing/2014/main" id="{F31CC86A-292E-062B-17D9-45F6AEAAEC06}"/>
                </a:ext>
              </a:extLst>
            </p:cNvPr>
            <p:cNvSpPr/>
            <p:nvPr/>
          </p:nvSpPr>
          <p:spPr>
            <a:xfrm>
              <a:off x="9460420" y="3540865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5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5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7" name="Shape26_20220502_101224">
              <a:extLst>
                <a:ext uri="{FF2B5EF4-FFF2-40B4-BE49-F238E27FC236}">
                  <a16:creationId xmlns:a16="http://schemas.microsoft.com/office/drawing/2014/main" id="{E1A093F7-0058-A48A-4797-0B97D0EB21DE}"/>
                </a:ext>
              </a:extLst>
            </p:cNvPr>
            <p:cNvSpPr/>
            <p:nvPr/>
          </p:nvSpPr>
          <p:spPr>
            <a:xfrm>
              <a:off x="9859936" y="3855051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8" name="Shape27_20220502_101224">
              <a:extLst>
                <a:ext uri="{FF2B5EF4-FFF2-40B4-BE49-F238E27FC236}">
                  <a16:creationId xmlns:a16="http://schemas.microsoft.com/office/drawing/2014/main" id="{564115A8-CBFB-A7C3-9254-929D01AB8447}"/>
                </a:ext>
              </a:extLst>
            </p:cNvPr>
            <p:cNvSpPr/>
            <p:nvPr/>
          </p:nvSpPr>
          <p:spPr>
            <a:xfrm>
              <a:off x="9859936" y="3957326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9" name="Shape28_20220502_101224">
              <a:extLst>
                <a:ext uri="{FF2B5EF4-FFF2-40B4-BE49-F238E27FC236}">
                  <a16:creationId xmlns:a16="http://schemas.microsoft.com/office/drawing/2014/main" id="{3AD5E118-FC99-3F5A-DDF6-47D59C1E0C15}"/>
                </a:ext>
              </a:extLst>
            </p:cNvPr>
            <p:cNvSpPr/>
            <p:nvPr/>
          </p:nvSpPr>
          <p:spPr>
            <a:xfrm>
              <a:off x="9859936" y="4056785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0" name="Shape29_20220502_101224">
              <a:extLst>
                <a:ext uri="{FF2B5EF4-FFF2-40B4-BE49-F238E27FC236}">
                  <a16:creationId xmlns:a16="http://schemas.microsoft.com/office/drawing/2014/main" id="{9F99FDE3-CF3C-1090-2C7D-6B28D1984095}"/>
                </a:ext>
              </a:extLst>
            </p:cNvPr>
            <p:cNvSpPr/>
            <p:nvPr/>
          </p:nvSpPr>
          <p:spPr>
            <a:xfrm>
              <a:off x="9859936" y="4156310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1" name="Shape30_20220502_101224">
              <a:extLst>
                <a:ext uri="{FF2B5EF4-FFF2-40B4-BE49-F238E27FC236}">
                  <a16:creationId xmlns:a16="http://schemas.microsoft.com/office/drawing/2014/main" id="{0A452D9E-9C64-020A-64DF-CCD06510F2A7}"/>
                </a:ext>
              </a:extLst>
            </p:cNvPr>
            <p:cNvSpPr/>
            <p:nvPr/>
          </p:nvSpPr>
          <p:spPr>
            <a:xfrm>
              <a:off x="9403357" y="3855051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8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8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2" name="Shape31_20220502_101224">
              <a:extLst>
                <a:ext uri="{FF2B5EF4-FFF2-40B4-BE49-F238E27FC236}">
                  <a16:creationId xmlns:a16="http://schemas.microsoft.com/office/drawing/2014/main" id="{3F65EFD6-1C8F-DEB5-A3DF-4AE5D5C5276B}"/>
                </a:ext>
              </a:extLst>
            </p:cNvPr>
            <p:cNvSpPr/>
            <p:nvPr/>
          </p:nvSpPr>
          <p:spPr>
            <a:xfrm>
              <a:off x="9460420" y="3941047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5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5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3" name="Shape32_20220502_101224">
              <a:extLst>
                <a:ext uri="{FF2B5EF4-FFF2-40B4-BE49-F238E27FC236}">
                  <a16:creationId xmlns:a16="http://schemas.microsoft.com/office/drawing/2014/main" id="{D9725AE4-AB93-1A19-E7CE-057B25186F3E}"/>
                </a:ext>
              </a:extLst>
            </p:cNvPr>
            <p:cNvSpPr/>
            <p:nvPr/>
          </p:nvSpPr>
          <p:spPr>
            <a:xfrm>
              <a:off x="9859936" y="4255168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4" name="Shape33_20220502_101224">
              <a:extLst>
                <a:ext uri="{FF2B5EF4-FFF2-40B4-BE49-F238E27FC236}">
                  <a16:creationId xmlns:a16="http://schemas.microsoft.com/office/drawing/2014/main" id="{01E6E1A4-E8F2-ECB4-032E-C145DED657B3}"/>
                </a:ext>
              </a:extLst>
            </p:cNvPr>
            <p:cNvSpPr/>
            <p:nvPr/>
          </p:nvSpPr>
          <p:spPr>
            <a:xfrm>
              <a:off x="9859936" y="4357442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6" name="Shape34_20220502_101224">
              <a:extLst>
                <a:ext uri="{FF2B5EF4-FFF2-40B4-BE49-F238E27FC236}">
                  <a16:creationId xmlns:a16="http://schemas.microsoft.com/office/drawing/2014/main" id="{B433E6B1-5185-FB43-20B0-2C0D257A9924}"/>
                </a:ext>
              </a:extLst>
            </p:cNvPr>
            <p:cNvSpPr/>
            <p:nvPr/>
          </p:nvSpPr>
          <p:spPr>
            <a:xfrm>
              <a:off x="9859936" y="445696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7" name="Shape35_20220502_101224">
              <a:extLst>
                <a:ext uri="{FF2B5EF4-FFF2-40B4-BE49-F238E27FC236}">
                  <a16:creationId xmlns:a16="http://schemas.microsoft.com/office/drawing/2014/main" id="{B7EADCA3-82DE-5F4F-9B73-1A0A1AAF50D3}"/>
                </a:ext>
              </a:extLst>
            </p:cNvPr>
            <p:cNvSpPr/>
            <p:nvPr/>
          </p:nvSpPr>
          <p:spPr>
            <a:xfrm>
              <a:off x="9859936" y="4556428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8" name="Shape36_20220502_101224">
              <a:extLst>
                <a:ext uri="{FF2B5EF4-FFF2-40B4-BE49-F238E27FC236}">
                  <a16:creationId xmlns:a16="http://schemas.microsoft.com/office/drawing/2014/main" id="{02D1DB78-96B6-B0AF-34FE-FB81D2289731}"/>
                </a:ext>
              </a:extLst>
            </p:cNvPr>
            <p:cNvSpPr/>
            <p:nvPr/>
          </p:nvSpPr>
          <p:spPr>
            <a:xfrm>
              <a:off x="9403357" y="4255168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9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9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9" name="Shape37_20220502_101224">
              <a:extLst>
                <a:ext uri="{FF2B5EF4-FFF2-40B4-BE49-F238E27FC236}">
                  <a16:creationId xmlns:a16="http://schemas.microsoft.com/office/drawing/2014/main" id="{1A465F2E-5731-DDD4-7FD0-979FF193299F}"/>
                </a:ext>
              </a:extLst>
            </p:cNvPr>
            <p:cNvSpPr/>
            <p:nvPr/>
          </p:nvSpPr>
          <p:spPr>
            <a:xfrm>
              <a:off x="9460419" y="4341164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4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4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60" name="Shape38_20220502_101224">
              <a:extLst>
                <a:ext uri="{FF2B5EF4-FFF2-40B4-BE49-F238E27FC236}">
                  <a16:creationId xmlns:a16="http://schemas.microsoft.com/office/drawing/2014/main" id="{079FE57B-66D1-8C10-F1C8-F60FF58907E9}"/>
                </a:ext>
              </a:extLst>
            </p:cNvPr>
            <p:cNvSpPr/>
            <p:nvPr/>
          </p:nvSpPr>
          <p:spPr>
            <a:xfrm rot="20243205">
              <a:off x="9915443" y="2600987"/>
              <a:ext cx="103543" cy="103409"/>
            </a:xfrm>
            <a:custGeom>
              <a:avLst/>
              <a:gdLst>
                <a:gd name="connsiteX0" fmla="*/ 147253 w 147253"/>
                <a:gd name="connsiteY0" fmla="*/ 73531 h 147062"/>
                <a:gd name="connsiteX1" fmla="*/ 73627 w 147253"/>
                <a:gd name="connsiteY1" fmla="*/ 147063 h 147062"/>
                <a:gd name="connsiteX2" fmla="*/ 0 w 147253"/>
                <a:gd name="connsiteY2" fmla="*/ 73531 h 147062"/>
                <a:gd name="connsiteX3" fmla="*/ 73627 w 147253"/>
                <a:gd name="connsiteY3" fmla="*/ 0 h 147062"/>
                <a:gd name="connsiteX4" fmla="*/ 147253 w 147253"/>
                <a:gd name="connsiteY4" fmla="*/ 73531 h 1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253" h="147062">
                  <a:moveTo>
                    <a:pt x="147253" y="73531"/>
                  </a:moveTo>
                  <a:cubicBezTo>
                    <a:pt x="147253" y="114142"/>
                    <a:pt x="114289" y="147063"/>
                    <a:pt x="73627" y="147063"/>
                  </a:cubicBezTo>
                  <a:cubicBezTo>
                    <a:pt x="32964" y="147063"/>
                    <a:pt x="0" y="114142"/>
                    <a:pt x="0" y="73531"/>
                  </a:cubicBezTo>
                  <a:cubicBezTo>
                    <a:pt x="0" y="32921"/>
                    <a:pt x="32964" y="0"/>
                    <a:pt x="73627" y="0"/>
                  </a:cubicBezTo>
                  <a:cubicBezTo>
                    <a:pt x="114289" y="0"/>
                    <a:pt x="147253" y="32921"/>
                    <a:pt x="147253" y="73531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086319A-2011-F414-35AE-FE3E1323F1D6}"/>
                </a:ext>
              </a:extLst>
            </p:cNvPr>
            <p:cNvGrpSpPr/>
            <p:nvPr/>
          </p:nvGrpSpPr>
          <p:grpSpPr>
            <a:xfrm>
              <a:off x="10922865" y="3113622"/>
              <a:ext cx="182578" cy="1522104"/>
              <a:chOff x="15675063" y="4403926"/>
              <a:chExt cx="266139" cy="2218722"/>
            </a:xfrm>
          </p:grpSpPr>
          <p:sp>
            <p:nvSpPr>
              <p:cNvPr id="62" name="Shape39_20220502_101224">
                <a:extLst>
                  <a:ext uri="{FF2B5EF4-FFF2-40B4-BE49-F238E27FC236}">
                    <a16:creationId xmlns:a16="http://schemas.microsoft.com/office/drawing/2014/main" id="{67B9B5B8-6F7A-C107-5941-88FACB5DE5E3}"/>
                  </a:ext>
                </a:extLst>
              </p:cNvPr>
              <p:cNvSpPr/>
              <p:nvPr/>
            </p:nvSpPr>
            <p:spPr>
              <a:xfrm>
                <a:off x="15724853" y="4453811"/>
                <a:ext cx="216349" cy="2168837"/>
              </a:xfrm>
              <a:custGeom>
                <a:avLst/>
                <a:gdLst>
                  <a:gd name="connsiteX0" fmla="*/ 187738 w 211074"/>
                  <a:gd name="connsiteY0" fmla="*/ 123825 h 2115978"/>
                  <a:gd name="connsiteX1" fmla="*/ 163735 w 211074"/>
                  <a:gd name="connsiteY1" fmla="*/ 123825 h 2115978"/>
                  <a:gd name="connsiteX2" fmla="*/ 163735 w 211074"/>
                  <a:gd name="connsiteY2" fmla="*/ 80105 h 2115978"/>
                  <a:gd name="connsiteX3" fmla="*/ 163735 w 211074"/>
                  <a:gd name="connsiteY3" fmla="*/ 27146 h 2115978"/>
                  <a:gd name="connsiteX4" fmla="*/ 136589 w 211074"/>
                  <a:gd name="connsiteY4" fmla="*/ 0 h 2115978"/>
                  <a:gd name="connsiteX5" fmla="*/ 74486 w 211074"/>
                  <a:gd name="connsiteY5" fmla="*/ 0 h 2115978"/>
                  <a:gd name="connsiteX6" fmla="*/ 47339 w 211074"/>
                  <a:gd name="connsiteY6" fmla="*/ 27146 h 2115978"/>
                  <a:gd name="connsiteX7" fmla="*/ 47339 w 211074"/>
                  <a:gd name="connsiteY7" fmla="*/ 80200 h 2115978"/>
                  <a:gd name="connsiteX8" fmla="*/ 47339 w 211074"/>
                  <a:gd name="connsiteY8" fmla="*/ 123920 h 2115978"/>
                  <a:gd name="connsiteX9" fmla="*/ 23336 w 211074"/>
                  <a:gd name="connsiteY9" fmla="*/ 123920 h 2115978"/>
                  <a:gd name="connsiteX10" fmla="*/ 0 w 211074"/>
                  <a:gd name="connsiteY10" fmla="*/ 147256 h 2115978"/>
                  <a:gd name="connsiteX11" fmla="*/ 0 w 211074"/>
                  <a:gd name="connsiteY11" fmla="*/ 205264 h 2115978"/>
                  <a:gd name="connsiteX12" fmla="*/ 0 w 211074"/>
                  <a:gd name="connsiteY12" fmla="*/ 222790 h 2115978"/>
                  <a:gd name="connsiteX13" fmla="*/ 0 w 211074"/>
                  <a:gd name="connsiteY13" fmla="*/ 1190816 h 2115978"/>
                  <a:gd name="connsiteX14" fmla="*/ 34576 w 211074"/>
                  <a:gd name="connsiteY14" fmla="*/ 1832991 h 2115978"/>
                  <a:gd name="connsiteX15" fmla="*/ 34576 w 211074"/>
                  <a:gd name="connsiteY15" fmla="*/ 1881569 h 2115978"/>
                  <a:gd name="connsiteX16" fmla="*/ 49911 w 211074"/>
                  <a:gd name="connsiteY16" fmla="*/ 1881569 h 2115978"/>
                  <a:gd name="connsiteX17" fmla="*/ 71723 w 211074"/>
                  <a:gd name="connsiteY17" fmla="*/ 2057876 h 2115978"/>
                  <a:gd name="connsiteX18" fmla="*/ 91154 w 211074"/>
                  <a:gd name="connsiteY18" fmla="*/ 2057876 h 2115978"/>
                  <a:gd name="connsiteX19" fmla="*/ 91154 w 211074"/>
                  <a:gd name="connsiteY19" fmla="*/ 2101120 h 2115978"/>
                  <a:gd name="connsiteX20" fmla="*/ 105537 w 211074"/>
                  <a:gd name="connsiteY20" fmla="*/ 2115979 h 2115978"/>
                  <a:gd name="connsiteX21" fmla="*/ 119920 w 211074"/>
                  <a:gd name="connsiteY21" fmla="*/ 2101120 h 2115978"/>
                  <a:gd name="connsiteX22" fmla="*/ 119920 w 211074"/>
                  <a:gd name="connsiteY22" fmla="*/ 2057876 h 2115978"/>
                  <a:gd name="connsiteX23" fmla="*/ 139351 w 211074"/>
                  <a:gd name="connsiteY23" fmla="*/ 2057876 h 2115978"/>
                  <a:gd name="connsiteX24" fmla="*/ 161163 w 211074"/>
                  <a:gd name="connsiteY24" fmla="*/ 1881569 h 2115978"/>
                  <a:gd name="connsiteX25" fmla="*/ 174593 w 211074"/>
                  <a:gd name="connsiteY25" fmla="*/ 1881569 h 2115978"/>
                  <a:gd name="connsiteX26" fmla="*/ 176498 w 211074"/>
                  <a:gd name="connsiteY26" fmla="*/ 1881569 h 2115978"/>
                  <a:gd name="connsiteX27" fmla="*/ 176498 w 211074"/>
                  <a:gd name="connsiteY27" fmla="*/ 1832991 h 2115978"/>
                  <a:gd name="connsiteX28" fmla="*/ 211074 w 211074"/>
                  <a:gd name="connsiteY28" fmla="*/ 1190816 h 2115978"/>
                  <a:gd name="connsiteX29" fmla="*/ 211074 w 211074"/>
                  <a:gd name="connsiteY29" fmla="*/ 1190816 h 2115978"/>
                  <a:gd name="connsiteX30" fmla="*/ 211074 w 211074"/>
                  <a:gd name="connsiteY30" fmla="*/ 1190816 h 2115978"/>
                  <a:gd name="connsiteX31" fmla="*/ 211074 w 211074"/>
                  <a:gd name="connsiteY31" fmla="*/ 1122712 h 2115978"/>
                  <a:gd name="connsiteX32" fmla="*/ 211074 w 211074"/>
                  <a:gd name="connsiteY32" fmla="*/ 222885 h 2115978"/>
                  <a:gd name="connsiteX33" fmla="*/ 211074 w 211074"/>
                  <a:gd name="connsiteY33" fmla="*/ 205359 h 2115978"/>
                  <a:gd name="connsiteX34" fmla="*/ 211074 w 211074"/>
                  <a:gd name="connsiteY34" fmla="*/ 147352 h 2115978"/>
                  <a:gd name="connsiteX35" fmla="*/ 187738 w 211074"/>
                  <a:gd name="connsiteY35" fmla="*/ 123825 h 2115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11074" h="2115978">
                    <a:moveTo>
                      <a:pt x="187738" y="123825"/>
                    </a:moveTo>
                    <a:lnTo>
                      <a:pt x="163735" y="123825"/>
                    </a:lnTo>
                    <a:lnTo>
                      <a:pt x="163735" y="80105"/>
                    </a:lnTo>
                    <a:lnTo>
                      <a:pt x="163735" y="27146"/>
                    </a:lnTo>
                    <a:cubicBezTo>
                      <a:pt x="163735" y="12192"/>
                      <a:pt x="151543" y="0"/>
                      <a:pt x="136589" y="0"/>
                    </a:cubicBezTo>
                    <a:lnTo>
                      <a:pt x="74486" y="0"/>
                    </a:lnTo>
                    <a:cubicBezTo>
                      <a:pt x="59531" y="0"/>
                      <a:pt x="47339" y="12192"/>
                      <a:pt x="47339" y="27146"/>
                    </a:cubicBezTo>
                    <a:lnTo>
                      <a:pt x="47339" y="80200"/>
                    </a:lnTo>
                    <a:lnTo>
                      <a:pt x="47339" y="123920"/>
                    </a:lnTo>
                    <a:lnTo>
                      <a:pt x="23336" y="123920"/>
                    </a:lnTo>
                    <a:cubicBezTo>
                      <a:pt x="10478" y="123920"/>
                      <a:pt x="0" y="134398"/>
                      <a:pt x="0" y="147256"/>
                    </a:cubicBezTo>
                    <a:lnTo>
                      <a:pt x="0" y="205264"/>
                    </a:lnTo>
                    <a:lnTo>
                      <a:pt x="0" y="222790"/>
                    </a:lnTo>
                    <a:lnTo>
                      <a:pt x="0" y="1190816"/>
                    </a:lnTo>
                    <a:lnTo>
                      <a:pt x="34576" y="1832991"/>
                    </a:lnTo>
                    <a:lnTo>
                      <a:pt x="34576" y="1881569"/>
                    </a:lnTo>
                    <a:lnTo>
                      <a:pt x="49911" y="1881569"/>
                    </a:lnTo>
                    <a:lnTo>
                      <a:pt x="71723" y="2057876"/>
                    </a:lnTo>
                    <a:lnTo>
                      <a:pt x="91154" y="2057876"/>
                    </a:lnTo>
                    <a:lnTo>
                      <a:pt x="91154" y="2101120"/>
                    </a:lnTo>
                    <a:cubicBezTo>
                      <a:pt x="91154" y="2109311"/>
                      <a:pt x="97631" y="2115979"/>
                      <a:pt x="105537" y="2115979"/>
                    </a:cubicBezTo>
                    <a:cubicBezTo>
                      <a:pt x="113443" y="2115979"/>
                      <a:pt x="119920" y="2109311"/>
                      <a:pt x="119920" y="2101120"/>
                    </a:cubicBezTo>
                    <a:lnTo>
                      <a:pt x="119920" y="2057876"/>
                    </a:lnTo>
                    <a:lnTo>
                      <a:pt x="139351" y="2057876"/>
                    </a:lnTo>
                    <a:lnTo>
                      <a:pt x="161163" y="1881569"/>
                    </a:lnTo>
                    <a:lnTo>
                      <a:pt x="174593" y="1881569"/>
                    </a:lnTo>
                    <a:lnTo>
                      <a:pt x="176498" y="1881569"/>
                    </a:lnTo>
                    <a:lnTo>
                      <a:pt x="176498" y="1832991"/>
                    </a:lnTo>
                    <a:lnTo>
                      <a:pt x="211074" y="1190816"/>
                    </a:lnTo>
                    <a:lnTo>
                      <a:pt x="211074" y="1190816"/>
                    </a:lnTo>
                    <a:lnTo>
                      <a:pt x="211074" y="1190816"/>
                    </a:lnTo>
                    <a:lnTo>
                      <a:pt x="211074" y="1122712"/>
                    </a:lnTo>
                    <a:lnTo>
                      <a:pt x="211074" y="222885"/>
                    </a:lnTo>
                    <a:lnTo>
                      <a:pt x="211074" y="205359"/>
                    </a:lnTo>
                    <a:lnTo>
                      <a:pt x="211074" y="147352"/>
                    </a:lnTo>
                    <a:cubicBezTo>
                      <a:pt x="211074" y="134302"/>
                      <a:pt x="200501" y="123825"/>
                      <a:pt x="187738" y="123825"/>
                    </a:cubicBezTo>
                    <a:close/>
                  </a:path>
                </a:pathLst>
              </a:custGeom>
              <a:solidFill>
                <a:srgbClr val="000000">
                  <a:alpha val="12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3" name="Shape40_20220502_101224">
                <a:extLst>
                  <a:ext uri="{FF2B5EF4-FFF2-40B4-BE49-F238E27FC236}">
                    <a16:creationId xmlns:a16="http://schemas.microsoft.com/office/drawing/2014/main" id="{C6F3A482-7BE7-3EBA-3FDE-D880D734B960}"/>
                  </a:ext>
                </a:extLst>
              </p:cNvPr>
              <p:cNvSpPr/>
              <p:nvPr/>
            </p:nvSpPr>
            <p:spPr>
              <a:xfrm>
                <a:off x="15723585" y="4403926"/>
                <a:ext cx="119303" cy="236751"/>
              </a:xfrm>
              <a:custGeom>
                <a:avLst/>
                <a:gdLst>
                  <a:gd name="connsiteX0" fmla="*/ 89249 w 116395"/>
                  <a:gd name="connsiteY0" fmla="*/ 230981 h 230981"/>
                  <a:gd name="connsiteX1" fmla="*/ 27146 w 116395"/>
                  <a:gd name="connsiteY1" fmla="*/ 230981 h 230981"/>
                  <a:gd name="connsiteX2" fmla="*/ 0 w 116395"/>
                  <a:gd name="connsiteY2" fmla="*/ 203835 h 230981"/>
                  <a:gd name="connsiteX3" fmla="*/ 0 w 116395"/>
                  <a:gd name="connsiteY3" fmla="*/ 27146 h 230981"/>
                  <a:gd name="connsiteX4" fmla="*/ 27146 w 116395"/>
                  <a:gd name="connsiteY4" fmla="*/ 0 h 230981"/>
                  <a:gd name="connsiteX5" fmla="*/ 89249 w 116395"/>
                  <a:gd name="connsiteY5" fmla="*/ 0 h 230981"/>
                  <a:gd name="connsiteX6" fmla="*/ 116396 w 116395"/>
                  <a:gd name="connsiteY6" fmla="*/ 27146 h 230981"/>
                  <a:gd name="connsiteX7" fmla="*/ 116396 w 116395"/>
                  <a:gd name="connsiteY7" fmla="*/ 203835 h 230981"/>
                  <a:gd name="connsiteX8" fmla="*/ 89249 w 116395"/>
                  <a:gd name="connsiteY8" fmla="*/ 230981 h 23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395" h="230981">
                    <a:moveTo>
                      <a:pt x="89249" y="230981"/>
                    </a:moveTo>
                    <a:lnTo>
                      <a:pt x="27146" y="230981"/>
                    </a:lnTo>
                    <a:cubicBezTo>
                      <a:pt x="12192" y="230981"/>
                      <a:pt x="0" y="218789"/>
                      <a:pt x="0" y="203835"/>
                    </a:cubicBezTo>
                    <a:lnTo>
                      <a:pt x="0" y="27146"/>
                    </a:lnTo>
                    <a:cubicBezTo>
                      <a:pt x="0" y="12192"/>
                      <a:pt x="12192" y="0"/>
                      <a:pt x="27146" y="0"/>
                    </a:cubicBezTo>
                    <a:lnTo>
                      <a:pt x="89249" y="0"/>
                    </a:lnTo>
                    <a:cubicBezTo>
                      <a:pt x="104203" y="0"/>
                      <a:pt x="116396" y="12192"/>
                      <a:pt x="116396" y="27146"/>
                    </a:cubicBezTo>
                    <a:lnTo>
                      <a:pt x="116396" y="203835"/>
                    </a:lnTo>
                    <a:cubicBezTo>
                      <a:pt x="116300" y="218694"/>
                      <a:pt x="104108" y="230981"/>
                      <a:pt x="89249" y="23098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4" name="Shape41_20220502_101224">
                <a:extLst>
                  <a:ext uri="{FF2B5EF4-FFF2-40B4-BE49-F238E27FC236}">
                    <a16:creationId xmlns:a16="http://schemas.microsoft.com/office/drawing/2014/main" id="{4690AA3C-3F3C-9E6C-B2EA-1D735DC90042}"/>
                  </a:ext>
                </a:extLst>
              </p:cNvPr>
              <p:cNvSpPr/>
              <p:nvPr/>
            </p:nvSpPr>
            <p:spPr>
              <a:xfrm>
                <a:off x="15675063" y="4530942"/>
                <a:ext cx="216251" cy="125257"/>
              </a:xfrm>
              <a:custGeom>
                <a:avLst/>
                <a:gdLst>
                  <a:gd name="connsiteX0" fmla="*/ 187642 w 210979"/>
                  <a:gd name="connsiteY0" fmla="*/ 122206 h 122205"/>
                  <a:gd name="connsiteX1" fmla="*/ 23336 w 210979"/>
                  <a:gd name="connsiteY1" fmla="*/ 122206 h 122205"/>
                  <a:gd name="connsiteX2" fmla="*/ 0 w 210979"/>
                  <a:gd name="connsiteY2" fmla="*/ 98869 h 122205"/>
                  <a:gd name="connsiteX3" fmla="*/ 0 w 210979"/>
                  <a:gd name="connsiteY3" fmla="*/ 23336 h 122205"/>
                  <a:gd name="connsiteX4" fmla="*/ 23336 w 210979"/>
                  <a:gd name="connsiteY4" fmla="*/ 0 h 122205"/>
                  <a:gd name="connsiteX5" fmla="*/ 187642 w 210979"/>
                  <a:gd name="connsiteY5" fmla="*/ 0 h 122205"/>
                  <a:gd name="connsiteX6" fmla="*/ 210979 w 210979"/>
                  <a:gd name="connsiteY6" fmla="*/ 23336 h 122205"/>
                  <a:gd name="connsiteX7" fmla="*/ 210979 w 210979"/>
                  <a:gd name="connsiteY7" fmla="*/ 98869 h 122205"/>
                  <a:gd name="connsiteX8" fmla="*/ 187642 w 210979"/>
                  <a:gd name="connsiteY8" fmla="*/ 122206 h 122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0979" h="122205">
                    <a:moveTo>
                      <a:pt x="187642" y="122206"/>
                    </a:moveTo>
                    <a:lnTo>
                      <a:pt x="23336" y="122206"/>
                    </a:lnTo>
                    <a:cubicBezTo>
                      <a:pt x="10477" y="122206"/>
                      <a:pt x="0" y="111728"/>
                      <a:pt x="0" y="98869"/>
                    </a:cubicBezTo>
                    <a:lnTo>
                      <a:pt x="0" y="23336"/>
                    </a:lnTo>
                    <a:cubicBezTo>
                      <a:pt x="0" y="10477"/>
                      <a:pt x="10477" y="0"/>
                      <a:pt x="23336" y="0"/>
                    </a:cubicBezTo>
                    <a:lnTo>
                      <a:pt x="187642" y="0"/>
                    </a:lnTo>
                    <a:cubicBezTo>
                      <a:pt x="200501" y="0"/>
                      <a:pt x="210979" y="10477"/>
                      <a:pt x="210979" y="23336"/>
                    </a:cubicBezTo>
                    <a:lnTo>
                      <a:pt x="210979" y="98869"/>
                    </a:lnTo>
                    <a:cubicBezTo>
                      <a:pt x="211074" y="111728"/>
                      <a:pt x="200501" y="122206"/>
                      <a:pt x="187642" y="12220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5" name="Shape0_20220502_101239">
                <a:extLst>
                  <a:ext uri="{FF2B5EF4-FFF2-40B4-BE49-F238E27FC236}">
                    <a16:creationId xmlns:a16="http://schemas.microsoft.com/office/drawing/2014/main" id="{B8EAA28F-77C1-7D94-CE44-EBE8059EE31A}"/>
                  </a:ext>
                </a:extLst>
              </p:cNvPr>
              <p:cNvSpPr/>
              <p:nvPr/>
            </p:nvSpPr>
            <p:spPr>
              <a:xfrm>
                <a:off x="15675063" y="4614317"/>
                <a:ext cx="216347" cy="1668389"/>
              </a:xfrm>
              <a:custGeom>
                <a:avLst/>
                <a:gdLst>
                  <a:gd name="connsiteX0" fmla="*/ 105537 w 211073"/>
                  <a:gd name="connsiteY0" fmla="*/ 0 h 1627727"/>
                  <a:gd name="connsiteX1" fmla="*/ 105537 w 211073"/>
                  <a:gd name="connsiteY1" fmla="*/ 0 h 1627727"/>
                  <a:gd name="connsiteX2" fmla="*/ 0 w 211073"/>
                  <a:gd name="connsiteY2" fmla="*/ 0 h 1627727"/>
                  <a:gd name="connsiteX3" fmla="*/ 0 w 211073"/>
                  <a:gd name="connsiteY3" fmla="*/ 985552 h 1627727"/>
                  <a:gd name="connsiteX4" fmla="*/ 34576 w 211073"/>
                  <a:gd name="connsiteY4" fmla="*/ 1627727 h 1627727"/>
                  <a:gd name="connsiteX5" fmla="*/ 105537 w 211073"/>
                  <a:gd name="connsiteY5" fmla="*/ 1627727 h 1627727"/>
                  <a:gd name="connsiteX6" fmla="*/ 105537 w 211073"/>
                  <a:gd name="connsiteY6" fmla="*/ 1627727 h 1627727"/>
                  <a:gd name="connsiteX7" fmla="*/ 176498 w 211073"/>
                  <a:gd name="connsiteY7" fmla="*/ 1627727 h 1627727"/>
                  <a:gd name="connsiteX8" fmla="*/ 211074 w 211073"/>
                  <a:gd name="connsiteY8" fmla="*/ 985552 h 1627727"/>
                  <a:gd name="connsiteX9" fmla="*/ 211074 w 211073"/>
                  <a:gd name="connsiteY9" fmla="*/ 0 h 1627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1073" h="1627727">
                    <a:moveTo>
                      <a:pt x="105537" y="0"/>
                    </a:moveTo>
                    <a:lnTo>
                      <a:pt x="105537" y="0"/>
                    </a:lnTo>
                    <a:lnTo>
                      <a:pt x="0" y="0"/>
                    </a:lnTo>
                    <a:lnTo>
                      <a:pt x="0" y="985552"/>
                    </a:lnTo>
                    <a:lnTo>
                      <a:pt x="34576" y="1627727"/>
                    </a:lnTo>
                    <a:lnTo>
                      <a:pt x="105537" y="1627727"/>
                    </a:lnTo>
                    <a:lnTo>
                      <a:pt x="105537" y="1627727"/>
                    </a:lnTo>
                    <a:lnTo>
                      <a:pt x="176498" y="1627727"/>
                    </a:lnTo>
                    <a:lnTo>
                      <a:pt x="211074" y="985552"/>
                    </a:lnTo>
                    <a:lnTo>
                      <a:pt x="211074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6" name="Shape0_20220502_101227">
                <a:extLst>
                  <a:ext uri="{FF2B5EF4-FFF2-40B4-BE49-F238E27FC236}">
                    <a16:creationId xmlns:a16="http://schemas.microsoft.com/office/drawing/2014/main" id="{A25D706F-A10E-44D6-871F-1B852C3A781B}"/>
                  </a:ext>
                </a:extLst>
              </p:cNvPr>
              <p:cNvSpPr/>
              <p:nvPr/>
            </p:nvSpPr>
            <p:spPr>
              <a:xfrm>
                <a:off x="15792024" y="4614317"/>
                <a:ext cx="99387" cy="1668389"/>
              </a:xfrm>
              <a:custGeom>
                <a:avLst/>
                <a:gdLst>
                  <a:gd name="connsiteX0" fmla="*/ 34576 w 96964"/>
                  <a:gd name="connsiteY0" fmla="*/ 0 h 1627727"/>
                  <a:gd name="connsiteX1" fmla="*/ 34576 w 96964"/>
                  <a:gd name="connsiteY1" fmla="*/ 985552 h 1627727"/>
                  <a:gd name="connsiteX2" fmla="*/ 0 w 96964"/>
                  <a:gd name="connsiteY2" fmla="*/ 1627727 h 1627727"/>
                  <a:gd name="connsiteX3" fmla="*/ 62389 w 96964"/>
                  <a:gd name="connsiteY3" fmla="*/ 1627727 h 1627727"/>
                  <a:gd name="connsiteX4" fmla="*/ 96964 w 96964"/>
                  <a:gd name="connsiteY4" fmla="*/ 985552 h 1627727"/>
                  <a:gd name="connsiteX5" fmla="*/ 96964 w 96964"/>
                  <a:gd name="connsiteY5" fmla="*/ 0 h 1627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6964" h="1627727">
                    <a:moveTo>
                      <a:pt x="34576" y="0"/>
                    </a:moveTo>
                    <a:lnTo>
                      <a:pt x="34576" y="985552"/>
                    </a:lnTo>
                    <a:lnTo>
                      <a:pt x="0" y="1627727"/>
                    </a:lnTo>
                    <a:lnTo>
                      <a:pt x="62389" y="1627727"/>
                    </a:lnTo>
                    <a:lnTo>
                      <a:pt x="96964" y="985552"/>
                    </a:lnTo>
                    <a:lnTo>
                      <a:pt x="96964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7" name="Shape1_20220502_101243">
                <a:extLst>
                  <a:ext uri="{FF2B5EF4-FFF2-40B4-BE49-F238E27FC236}">
                    <a16:creationId xmlns:a16="http://schemas.microsoft.com/office/drawing/2014/main" id="{20F751FD-745C-A084-492D-1CF2B76EA16A}"/>
                  </a:ext>
                </a:extLst>
              </p:cNvPr>
              <p:cNvSpPr/>
              <p:nvPr/>
            </p:nvSpPr>
            <p:spPr>
              <a:xfrm>
                <a:off x="15707282" y="6212802"/>
                <a:ext cx="151813" cy="69902"/>
              </a:xfrm>
              <a:custGeom>
                <a:avLst/>
                <a:gdLst>
                  <a:gd name="connsiteX0" fmla="*/ 0 w 148113"/>
                  <a:gd name="connsiteY0" fmla="*/ 0 h 68198"/>
                  <a:gd name="connsiteX1" fmla="*/ 3429 w 148113"/>
                  <a:gd name="connsiteY1" fmla="*/ 68199 h 68198"/>
                  <a:gd name="connsiteX2" fmla="*/ 74104 w 148113"/>
                  <a:gd name="connsiteY2" fmla="*/ 68199 h 68198"/>
                  <a:gd name="connsiteX3" fmla="*/ 74104 w 148113"/>
                  <a:gd name="connsiteY3" fmla="*/ 68199 h 68198"/>
                  <a:gd name="connsiteX4" fmla="*/ 145066 w 148113"/>
                  <a:gd name="connsiteY4" fmla="*/ 68199 h 68198"/>
                  <a:gd name="connsiteX5" fmla="*/ 148114 w 148113"/>
                  <a:gd name="connsiteY5" fmla="*/ 0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113" h="68198">
                    <a:moveTo>
                      <a:pt x="0" y="0"/>
                    </a:moveTo>
                    <a:lnTo>
                      <a:pt x="3429" y="68199"/>
                    </a:lnTo>
                    <a:lnTo>
                      <a:pt x="74104" y="68199"/>
                    </a:lnTo>
                    <a:lnTo>
                      <a:pt x="74104" y="68199"/>
                    </a:lnTo>
                    <a:lnTo>
                      <a:pt x="145066" y="68199"/>
                    </a:lnTo>
                    <a:lnTo>
                      <a:pt x="148114" y="0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8" name="Shape44_20220502_101224">
                <a:extLst>
                  <a:ext uri="{FF2B5EF4-FFF2-40B4-BE49-F238E27FC236}">
                    <a16:creationId xmlns:a16="http://schemas.microsoft.com/office/drawing/2014/main" id="{DB71A894-87BD-EC27-F12B-52D2AF6E9B8B}"/>
                  </a:ext>
                </a:extLst>
              </p:cNvPr>
              <p:cNvSpPr/>
              <p:nvPr/>
            </p:nvSpPr>
            <p:spPr>
              <a:xfrm>
                <a:off x="15768495" y="6420751"/>
                <a:ext cx="29484" cy="152009"/>
              </a:xfrm>
              <a:custGeom>
                <a:avLst/>
                <a:gdLst>
                  <a:gd name="connsiteX0" fmla="*/ 14383 w 28765"/>
                  <a:gd name="connsiteY0" fmla="*/ 148304 h 148304"/>
                  <a:gd name="connsiteX1" fmla="*/ 0 w 28765"/>
                  <a:gd name="connsiteY1" fmla="*/ 133445 h 148304"/>
                  <a:gd name="connsiteX2" fmla="*/ 0 w 28765"/>
                  <a:gd name="connsiteY2" fmla="*/ 14859 h 148304"/>
                  <a:gd name="connsiteX3" fmla="*/ 14383 w 28765"/>
                  <a:gd name="connsiteY3" fmla="*/ 0 h 148304"/>
                  <a:gd name="connsiteX4" fmla="*/ 28766 w 28765"/>
                  <a:gd name="connsiteY4" fmla="*/ 14859 h 148304"/>
                  <a:gd name="connsiteX5" fmla="*/ 28766 w 28765"/>
                  <a:gd name="connsiteY5" fmla="*/ 133445 h 148304"/>
                  <a:gd name="connsiteX6" fmla="*/ 14383 w 28765"/>
                  <a:gd name="connsiteY6" fmla="*/ 148304 h 14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65" h="148304">
                    <a:moveTo>
                      <a:pt x="14383" y="148304"/>
                    </a:moveTo>
                    <a:cubicBezTo>
                      <a:pt x="6477" y="148304"/>
                      <a:pt x="0" y="141637"/>
                      <a:pt x="0" y="133445"/>
                    </a:cubicBezTo>
                    <a:lnTo>
                      <a:pt x="0" y="14859"/>
                    </a:lnTo>
                    <a:cubicBezTo>
                      <a:pt x="0" y="6668"/>
                      <a:pt x="6477" y="0"/>
                      <a:pt x="14383" y="0"/>
                    </a:cubicBezTo>
                    <a:cubicBezTo>
                      <a:pt x="22288" y="0"/>
                      <a:pt x="28766" y="6668"/>
                      <a:pt x="28766" y="14859"/>
                    </a:cubicBezTo>
                    <a:lnTo>
                      <a:pt x="28766" y="133445"/>
                    </a:lnTo>
                    <a:cubicBezTo>
                      <a:pt x="28766" y="141637"/>
                      <a:pt x="22288" y="148304"/>
                      <a:pt x="14383" y="148304"/>
                    </a:cubicBezTo>
                    <a:close/>
                  </a:path>
                </a:pathLst>
              </a:custGeom>
              <a:solidFill>
                <a:srgbClr val="353D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9" name="Shape2_20220502_101243">
                <a:extLst>
                  <a:ext uri="{FF2B5EF4-FFF2-40B4-BE49-F238E27FC236}">
                    <a16:creationId xmlns:a16="http://schemas.microsoft.com/office/drawing/2014/main" id="{C219ED63-1FA1-8262-6CB3-6324D14DDE20}"/>
                  </a:ext>
                </a:extLst>
              </p:cNvPr>
              <p:cNvSpPr/>
              <p:nvPr/>
            </p:nvSpPr>
            <p:spPr>
              <a:xfrm>
                <a:off x="15675063" y="5554586"/>
                <a:ext cx="216349" cy="69902"/>
              </a:xfrm>
              <a:custGeom>
                <a:avLst/>
                <a:gdLst>
                  <a:gd name="connsiteX0" fmla="*/ 0 w 211074"/>
                  <a:gd name="connsiteY0" fmla="*/ 0 h 68198"/>
                  <a:gd name="connsiteX1" fmla="*/ 211074 w 211074"/>
                  <a:gd name="connsiteY1" fmla="*/ 0 h 68198"/>
                  <a:gd name="connsiteX2" fmla="*/ 211074 w 211074"/>
                  <a:gd name="connsiteY2" fmla="*/ 68199 h 68198"/>
                  <a:gd name="connsiteX3" fmla="*/ 0 w 211074"/>
                  <a:gd name="connsiteY3" fmla="*/ 68199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1074" h="68198">
                    <a:moveTo>
                      <a:pt x="0" y="0"/>
                    </a:moveTo>
                    <a:lnTo>
                      <a:pt x="211074" y="0"/>
                    </a:lnTo>
                    <a:lnTo>
                      <a:pt x="211074" y="68199"/>
                    </a:lnTo>
                    <a:lnTo>
                      <a:pt x="0" y="6819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0" name="Shape46_20220502_101224">
                <a:extLst>
                  <a:ext uri="{FF2B5EF4-FFF2-40B4-BE49-F238E27FC236}">
                    <a16:creationId xmlns:a16="http://schemas.microsoft.com/office/drawing/2014/main" id="{3FFAB09C-12C4-D313-14FA-C910B5CC5EEA}"/>
                  </a:ext>
                </a:extLst>
              </p:cNvPr>
              <p:cNvSpPr/>
              <p:nvPr/>
            </p:nvSpPr>
            <p:spPr>
              <a:xfrm>
                <a:off x="15710503" y="6282705"/>
                <a:ext cx="145470" cy="49792"/>
              </a:xfrm>
              <a:custGeom>
                <a:avLst/>
                <a:gdLst>
                  <a:gd name="connsiteX0" fmla="*/ 140018 w 141922"/>
                  <a:gd name="connsiteY0" fmla="*/ 0 h 48577"/>
                  <a:gd name="connsiteX1" fmla="*/ 107347 w 141922"/>
                  <a:gd name="connsiteY1" fmla="*/ 0 h 48577"/>
                  <a:gd name="connsiteX2" fmla="*/ 0 w 141922"/>
                  <a:gd name="connsiteY2" fmla="*/ 0 h 48577"/>
                  <a:gd name="connsiteX3" fmla="*/ 0 w 141922"/>
                  <a:gd name="connsiteY3" fmla="*/ 48578 h 48577"/>
                  <a:gd name="connsiteX4" fmla="*/ 107347 w 141922"/>
                  <a:gd name="connsiteY4" fmla="*/ 48578 h 48577"/>
                  <a:gd name="connsiteX5" fmla="*/ 140018 w 141922"/>
                  <a:gd name="connsiteY5" fmla="*/ 48578 h 48577"/>
                  <a:gd name="connsiteX6" fmla="*/ 141923 w 141922"/>
                  <a:gd name="connsiteY6" fmla="*/ 48578 h 48577"/>
                  <a:gd name="connsiteX7" fmla="*/ 141923 w 141922"/>
                  <a:gd name="connsiteY7" fmla="*/ 0 h 48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1922" h="48577">
                    <a:moveTo>
                      <a:pt x="140018" y="0"/>
                    </a:moveTo>
                    <a:lnTo>
                      <a:pt x="107347" y="0"/>
                    </a:lnTo>
                    <a:lnTo>
                      <a:pt x="0" y="0"/>
                    </a:lnTo>
                    <a:lnTo>
                      <a:pt x="0" y="48578"/>
                    </a:lnTo>
                    <a:lnTo>
                      <a:pt x="107347" y="48578"/>
                    </a:lnTo>
                    <a:lnTo>
                      <a:pt x="140018" y="48578"/>
                    </a:lnTo>
                    <a:lnTo>
                      <a:pt x="141923" y="48578"/>
                    </a:lnTo>
                    <a:lnTo>
                      <a:pt x="141923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1" name="Shape1_20220502_101239">
                <a:extLst>
                  <a:ext uri="{FF2B5EF4-FFF2-40B4-BE49-F238E27FC236}">
                    <a16:creationId xmlns:a16="http://schemas.microsoft.com/office/drawing/2014/main" id="{D1006105-4FE8-C21A-D6EA-A07448408E31}"/>
                  </a:ext>
                </a:extLst>
              </p:cNvPr>
              <p:cNvSpPr/>
              <p:nvPr/>
            </p:nvSpPr>
            <p:spPr>
              <a:xfrm>
                <a:off x="15726223" y="6332496"/>
                <a:ext cx="114031" cy="180710"/>
              </a:xfrm>
              <a:custGeom>
                <a:avLst/>
                <a:gdLst>
                  <a:gd name="connsiteX0" fmla="*/ 0 w 111251"/>
                  <a:gd name="connsiteY0" fmla="*/ 0 h 176307"/>
                  <a:gd name="connsiteX1" fmla="*/ 21812 w 111251"/>
                  <a:gd name="connsiteY1" fmla="*/ 176308 h 176307"/>
                  <a:gd name="connsiteX2" fmla="*/ 89440 w 111251"/>
                  <a:gd name="connsiteY2" fmla="*/ 176308 h 176307"/>
                  <a:gd name="connsiteX3" fmla="*/ 111252 w 111251"/>
                  <a:gd name="connsiteY3" fmla="*/ 0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251" h="176307">
                    <a:moveTo>
                      <a:pt x="0" y="0"/>
                    </a:moveTo>
                    <a:lnTo>
                      <a:pt x="21812" y="176308"/>
                    </a:lnTo>
                    <a:lnTo>
                      <a:pt x="89440" y="176308"/>
                    </a:lnTo>
                    <a:lnTo>
                      <a:pt x="111252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2" name="Shape0_20220502_101249">
                <a:extLst>
                  <a:ext uri="{FF2B5EF4-FFF2-40B4-BE49-F238E27FC236}">
                    <a16:creationId xmlns:a16="http://schemas.microsoft.com/office/drawing/2014/main" id="{75BCC78D-6BE7-DB4D-1C9F-5EE6E2BC006F}"/>
                  </a:ext>
                </a:extLst>
              </p:cNvPr>
              <p:cNvSpPr/>
              <p:nvPr/>
            </p:nvSpPr>
            <p:spPr>
              <a:xfrm>
                <a:off x="15827465" y="5554586"/>
                <a:ext cx="63947" cy="69805"/>
              </a:xfrm>
              <a:custGeom>
                <a:avLst/>
                <a:gdLst>
                  <a:gd name="connsiteX0" fmla="*/ 0 w 62388"/>
                  <a:gd name="connsiteY0" fmla="*/ 0 h 68103"/>
                  <a:gd name="connsiteX1" fmla="*/ 62389 w 62388"/>
                  <a:gd name="connsiteY1" fmla="*/ 0 h 68103"/>
                  <a:gd name="connsiteX2" fmla="*/ 62389 w 62388"/>
                  <a:gd name="connsiteY2" fmla="*/ 68104 h 68103"/>
                  <a:gd name="connsiteX3" fmla="*/ 0 w 62388"/>
                  <a:gd name="connsiteY3" fmla="*/ 68104 h 68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388" h="68103">
                    <a:moveTo>
                      <a:pt x="0" y="0"/>
                    </a:moveTo>
                    <a:lnTo>
                      <a:pt x="62389" y="0"/>
                    </a:lnTo>
                    <a:lnTo>
                      <a:pt x="62389" y="68104"/>
                    </a:lnTo>
                    <a:lnTo>
                      <a:pt x="0" y="68104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3" name="Shape1_20220502_101249">
                <a:extLst>
                  <a:ext uri="{FF2B5EF4-FFF2-40B4-BE49-F238E27FC236}">
                    <a16:creationId xmlns:a16="http://schemas.microsoft.com/office/drawing/2014/main" id="{C902B28A-8E28-CCAB-7A03-8A9DF4AFD642}"/>
                  </a:ext>
                </a:extLst>
              </p:cNvPr>
              <p:cNvSpPr/>
              <p:nvPr/>
            </p:nvSpPr>
            <p:spPr>
              <a:xfrm>
                <a:off x="15795245" y="6212802"/>
                <a:ext cx="63848" cy="69902"/>
              </a:xfrm>
              <a:custGeom>
                <a:avLst/>
                <a:gdLst>
                  <a:gd name="connsiteX0" fmla="*/ 0 w 62293"/>
                  <a:gd name="connsiteY0" fmla="*/ 0 h 68198"/>
                  <a:gd name="connsiteX1" fmla="*/ 0 w 62293"/>
                  <a:gd name="connsiteY1" fmla="*/ 68199 h 68198"/>
                  <a:gd name="connsiteX2" fmla="*/ 59246 w 62293"/>
                  <a:gd name="connsiteY2" fmla="*/ 68199 h 68198"/>
                  <a:gd name="connsiteX3" fmla="*/ 62293 w 62293"/>
                  <a:gd name="connsiteY3" fmla="*/ 0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293" h="68198">
                    <a:moveTo>
                      <a:pt x="0" y="0"/>
                    </a:moveTo>
                    <a:lnTo>
                      <a:pt x="0" y="68199"/>
                    </a:lnTo>
                    <a:lnTo>
                      <a:pt x="59246" y="68199"/>
                    </a:lnTo>
                    <a:lnTo>
                      <a:pt x="62293" y="0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4" name="Shape50_20220502_101224">
                <a:extLst>
                  <a:ext uri="{FF2B5EF4-FFF2-40B4-BE49-F238E27FC236}">
                    <a16:creationId xmlns:a16="http://schemas.microsoft.com/office/drawing/2014/main" id="{D583C652-8AD7-9D67-CC80-52BB054F8100}"/>
                  </a:ext>
                </a:extLst>
              </p:cNvPr>
              <p:cNvSpPr/>
              <p:nvPr/>
            </p:nvSpPr>
            <p:spPr>
              <a:xfrm>
                <a:off x="15723585" y="4486129"/>
                <a:ext cx="119207" cy="44811"/>
              </a:xfrm>
              <a:custGeom>
                <a:avLst/>
                <a:gdLst>
                  <a:gd name="connsiteX0" fmla="*/ 0 w 116300"/>
                  <a:gd name="connsiteY0" fmla="*/ 0 h 43719"/>
                  <a:gd name="connsiteX1" fmla="*/ 116300 w 116300"/>
                  <a:gd name="connsiteY1" fmla="*/ 0 h 43719"/>
                  <a:gd name="connsiteX2" fmla="*/ 116300 w 116300"/>
                  <a:gd name="connsiteY2" fmla="*/ 43720 h 43719"/>
                  <a:gd name="connsiteX3" fmla="*/ 0 w 116300"/>
                  <a:gd name="connsiteY3" fmla="*/ 43720 h 43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6300" h="43719">
                    <a:moveTo>
                      <a:pt x="0" y="0"/>
                    </a:moveTo>
                    <a:lnTo>
                      <a:pt x="116300" y="0"/>
                    </a:lnTo>
                    <a:lnTo>
                      <a:pt x="116300" y="43720"/>
                    </a:lnTo>
                    <a:lnTo>
                      <a:pt x="0" y="4372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5" name="Shape51_20220502_101224">
                <a:extLst>
                  <a:ext uri="{FF2B5EF4-FFF2-40B4-BE49-F238E27FC236}">
                    <a16:creationId xmlns:a16="http://schemas.microsoft.com/office/drawing/2014/main" id="{30338024-758F-C58B-6699-CBC10E898E71}"/>
                  </a:ext>
                </a:extLst>
              </p:cNvPr>
              <p:cNvSpPr/>
              <p:nvPr/>
            </p:nvSpPr>
            <p:spPr>
              <a:xfrm>
                <a:off x="15747799" y="4727176"/>
                <a:ext cx="75955" cy="536863"/>
              </a:xfrm>
              <a:custGeom>
                <a:avLst/>
                <a:gdLst>
                  <a:gd name="connsiteX0" fmla="*/ 67628 w 74104"/>
                  <a:gd name="connsiteY0" fmla="*/ 523780 h 523779"/>
                  <a:gd name="connsiteX1" fmla="*/ 6477 w 74104"/>
                  <a:gd name="connsiteY1" fmla="*/ 523780 h 523779"/>
                  <a:gd name="connsiteX2" fmla="*/ 0 w 74104"/>
                  <a:gd name="connsiteY2" fmla="*/ 517303 h 523779"/>
                  <a:gd name="connsiteX3" fmla="*/ 0 w 74104"/>
                  <a:gd name="connsiteY3" fmla="*/ 6477 h 523779"/>
                  <a:gd name="connsiteX4" fmla="*/ 6477 w 74104"/>
                  <a:gd name="connsiteY4" fmla="*/ 0 h 523779"/>
                  <a:gd name="connsiteX5" fmla="*/ 67628 w 74104"/>
                  <a:gd name="connsiteY5" fmla="*/ 0 h 523779"/>
                  <a:gd name="connsiteX6" fmla="*/ 74104 w 74104"/>
                  <a:gd name="connsiteY6" fmla="*/ 6477 h 523779"/>
                  <a:gd name="connsiteX7" fmla="*/ 74104 w 74104"/>
                  <a:gd name="connsiteY7" fmla="*/ 517303 h 523779"/>
                  <a:gd name="connsiteX8" fmla="*/ 67628 w 74104"/>
                  <a:gd name="connsiteY8" fmla="*/ 523780 h 523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104" h="523779">
                    <a:moveTo>
                      <a:pt x="67628" y="523780"/>
                    </a:moveTo>
                    <a:lnTo>
                      <a:pt x="6477" y="523780"/>
                    </a:lnTo>
                    <a:cubicBezTo>
                      <a:pt x="2953" y="523780"/>
                      <a:pt x="0" y="520922"/>
                      <a:pt x="0" y="517303"/>
                    </a:cubicBezTo>
                    <a:lnTo>
                      <a:pt x="0" y="6477"/>
                    </a:lnTo>
                    <a:cubicBezTo>
                      <a:pt x="0" y="2953"/>
                      <a:pt x="2858" y="0"/>
                      <a:pt x="6477" y="0"/>
                    </a:cubicBezTo>
                    <a:lnTo>
                      <a:pt x="67628" y="0"/>
                    </a:lnTo>
                    <a:cubicBezTo>
                      <a:pt x="71152" y="0"/>
                      <a:pt x="74104" y="2858"/>
                      <a:pt x="74104" y="6477"/>
                    </a:cubicBezTo>
                    <a:lnTo>
                      <a:pt x="74104" y="517303"/>
                    </a:lnTo>
                    <a:cubicBezTo>
                      <a:pt x="74104" y="520922"/>
                      <a:pt x="71247" y="523780"/>
                      <a:pt x="67628" y="523780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6" name="Shape52_20220502_101224">
                <a:extLst>
                  <a:ext uri="{FF2B5EF4-FFF2-40B4-BE49-F238E27FC236}">
                    <a16:creationId xmlns:a16="http://schemas.microsoft.com/office/drawing/2014/main" id="{68ECD7E5-709A-C481-30E7-6F8D69116F93}"/>
                  </a:ext>
                </a:extLst>
              </p:cNvPr>
              <p:cNvSpPr/>
              <p:nvPr/>
            </p:nvSpPr>
            <p:spPr>
              <a:xfrm>
                <a:off x="15747894" y="5337555"/>
                <a:ext cx="75857" cy="62385"/>
              </a:xfrm>
              <a:custGeom>
                <a:avLst/>
                <a:gdLst>
                  <a:gd name="connsiteX0" fmla="*/ 48387 w 74009"/>
                  <a:gd name="connsiteY0" fmla="*/ 26384 h 60864"/>
                  <a:gd name="connsiteX1" fmla="*/ 25622 w 74009"/>
                  <a:gd name="connsiteY1" fmla="*/ 26384 h 60864"/>
                  <a:gd name="connsiteX2" fmla="*/ 0 w 74009"/>
                  <a:gd name="connsiteY2" fmla="*/ 0 h 60864"/>
                  <a:gd name="connsiteX3" fmla="*/ 0 w 74009"/>
                  <a:gd name="connsiteY3" fmla="*/ 34480 h 60864"/>
                  <a:gd name="connsiteX4" fmla="*/ 25622 w 74009"/>
                  <a:gd name="connsiteY4" fmla="*/ 60865 h 60864"/>
                  <a:gd name="connsiteX5" fmla="*/ 48387 w 74009"/>
                  <a:gd name="connsiteY5" fmla="*/ 60865 h 60864"/>
                  <a:gd name="connsiteX6" fmla="*/ 74009 w 74009"/>
                  <a:gd name="connsiteY6" fmla="*/ 34480 h 60864"/>
                  <a:gd name="connsiteX7" fmla="*/ 74009 w 74009"/>
                  <a:gd name="connsiteY7" fmla="*/ 0 h 60864"/>
                  <a:gd name="connsiteX8" fmla="*/ 48387 w 74009"/>
                  <a:gd name="connsiteY8" fmla="*/ 26384 h 60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0864">
                    <a:moveTo>
                      <a:pt x="48387" y="26384"/>
                    </a:moveTo>
                    <a:lnTo>
                      <a:pt x="25622" y="26384"/>
                    </a:lnTo>
                    <a:cubicBezTo>
                      <a:pt x="11430" y="26384"/>
                      <a:pt x="0" y="14573"/>
                      <a:pt x="0" y="0"/>
                    </a:cubicBezTo>
                    <a:lnTo>
                      <a:pt x="0" y="34480"/>
                    </a:lnTo>
                    <a:cubicBezTo>
                      <a:pt x="0" y="49054"/>
                      <a:pt x="11525" y="60865"/>
                      <a:pt x="25622" y="60865"/>
                    </a:cubicBezTo>
                    <a:lnTo>
                      <a:pt x="48387" y="60865"/>
                    </a:lnTo>
                    <a:cubicBezTo>
                      <a:pt x="62579" y="60865"/>
                      <a:pt x="74009" y="49054"/>
                      <a:pt x="74009" y="34480"/>
                    </a:cubicBezTo>
                    <a:lnTo>
                      <a:pt x="74009" y="0"/>
                    </a:lnTo>
                    <a:cubicBezTo>
                      <a:pt x="74009" y="14573"/>
                      <a:pt x="62579" y="26384"/>
                      <a:pt x="48387" y="26384"/>
                    </a:cubicBez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7" name="Shape0_20220502_101243">
                <a:extLst>
                  <a:ext uri="{FF2B5EF4-FFF2-40B4-BE49-F238E27FC236}">
                    <a16:creationId xmlns:a16="http://schemas.microsoft.com/office/drawing/2014/main" id="{666661C1-FBAF-657F-105B-816ED0DD05D0}"/>
                  </a:ext>
                </a:extLst>
              </p:cNvPr>
              <p:cNvSpPr/>
              <p:nvPr/>
            </p:nvSpPr>
            <p:spPr>
              <a:xfrm>
                <a:off x="15747894" y="4727371"/>
                <a:ext cx="75859" cy="640156"/>
              </a:xfrm>
              <a:custGeom>
                <a:avLst/>
                <a:gdLst>
                  <a:gd name="connsiteX0" fmla="*/ 48006 w 74009"/>
                  <a:gd name="connsiteY0" fmla="*/ 624554 h 624554"/>
                  <a:gd name="connsiteX1" fmla="*/ 26003 w 74009"/>
                  <a:gd name="connsiteY1" fmla="*/ 624554 h 624554"/>
                  <a:gd name="connsiteX2" fmla="*/ 0 w 74009"/>
                  <a:gd name="connsiteY2" fmla="*/ 598551 h 624554"/>
                  <a:gd name="connsiteX3" fmla="*/ 0 w 74009"/>
                  <a:gd name="connsiteY3" fmla="*/ 26003 h 624554"/>
                  <a:gd name="connsiteX4" fmla="*/ 26003 w 74009"/>
                  <a:gd name="connsiteY4" fmla="*/ 0 h 624554"/>
                  <a:gd name="connsiteX5" fmla="*/ 48006 w 74009"/>
                  <a:gd name="connsiteY5" fmla="*/ 0 h 624554"/>
                  <a:gd name="connsiteX6" fmla="*/ 74009 w 74009"/>
                  <a:gd name="connsiteY6" fmla="*/ 26003 h 624554"/>
                  <a:gd name="connsiteX7" fmla="*/ 74009 w 74009"/>
                  <a:gd name="connsiteY7" fmla="*/ 598551 h 624554"/>
                  <a:gd name="connsiteX8" fmla="*/ 48006 w 74009"/>
                  <a:gd name="connsiteY8" fmla="*/ 624554 h 62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24554">
                    <a:moveTo>
                      <a:pt x="48006" y="624554"/>
                    </a:moveTo>
                    <a:lnTo>
                      <a:pt x="26003" y="624554"/>
                    </a:lnTo>
                    <a:cubicBezTo>
                      <a:pt x="11621" y="624554"/>
                      <a:pt x="0" y="612934"/>
                      <a:pt x="0" y="598551"/>
                    </a:cubicBezTo>
                    <a:lnTo>
                      <a:pt x="0" y="26003"/>
                    </a:lnTo>
                    <a:cubicBezTo>
                      <a:pt x="0" y="11621"/>
                      <a:pt x="11621" y="0"/>
                      <a:pt x="26003" y="0"/>
                    </a:cubicBezTo>
                    <a:lnTo>
                      <a:pt x="48006" y="0"/>
                    </a:lnTo>
                    <a:cubicBezTo>
                      <a:pt x="62389" y="0"/>
                      <a:pt x="74009" y="11621"/>
                      <a:pt x="74009" y="26003"/>
                    </a:cubicBezTo>
                    <a:lnTo>
                      <a:pt x="74009" y="598551"/>
                    </a:lnTo>
                    <a:cubicBezTo>
                      <a:pt x="74009" y="612839"/>
                      <a:pt x="62389" y="624554"/>
                      <a:pt x="48006" y="624554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8" name="Shape2_20220502_101249">
                <a:extLst>
                  <a:ext uri="{FF2B5EF4-FFF2-40B4-BE49-F238E27FC236}">
                    <a16:creationId xmlns:a16="http://schemas.microsoft.com/office/drawing/2014/main" id="{71CCADB6-9B35-C557-F338-A8AF5CE69FD6}"/>
                  </a:ext>
                </a:extLst>
              </p:cNvPr>
              <p:cNvSpPr/>
              <p:nvPr/>
            </p:nvSpPr>
            <p:spPr>
              <a:xfrm>
                <a:off x="15747894" y="5305142"/>
                <a:ext cx="75857" cy="62385"/>
              </a:xfrm>
              <a:custGeom>
                <a:avLst/>
                <a:gdLst>
                  <a:gd name="connsiteX0" fmla="*/ 48387 w 74009"/>
                  <a:gd name="connsiteY0" fmla="*/ 26384 h 60864"/>
                  <a:gd name="connsiteX1" fmla="*/ 25622 w 74009"/>
                  <a:gd name="connsiteY1" fmla="*/ 26384 h 60864"/>
                  <a:gd name="connsiteX2" fmla="*/ 0 w 74009"/>
                  <a:gd name="connsiteY2" fmla="*/ 0 h 60864"/>
                  <a:gd name="connsiteX3" fmla="*/ 0 w 74009"/>
                  <a:gd name="connsiteY3" fmla="*/ 34481 h 60864"/>
                  <a:gd name="connsiteX4" fmla="*/ 25622 w 74009"/>
                  <a:gd name="connsiteY4" fmla="*/ 60865 h 60864"/>
                  <a:gd name="connsiteX5" fmla="*/ 48387 w 74009"/>
                  <a:gd name="connsiteY5" fmla="*/ 60865 h 60864"/>
                  <a:gd name="connsiteX6" fmla="*/ 74009 w 74009"/>
                  <a:gd name="connsiteY6" fmla="*/ 34481 h 60864"/>
                  <a:gd name="connsiteX7" fmla="*/ 74009 w 74009"/>
                  <a:gd name="connsiteY7" fmla="*/ 0 h 60864"/>
                  <a:gd name="connsiteX8" fmla="*/ 48387 w 74009"/>
                  <a:gd name="connsiteY8" fmla="*/ 26384 h 60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0864">
                    <a:moveTo>
                      <a:pt x="48387" y="26384"/>
                    </a:moveTo>
                    <a:lnTo>
                      <a:pt x="25622" y="26384"/>
                    </a:lnTo>
                    <a:cubicBezTo>
                      <a:pt x="11430" y="26384"/>
                      <a:pt x="0" y="14573"/>
                      <a:pt x="0" y="0"/>
                    </a:cubicBezTo>
                    <a:lnTo>
                      <a:pt x="0" y="34481"/>
                    </a:lnTo>
                    <a:cubicBezTo>
                      <a:pt x="0" y="49054"/>
                      <a:pt x="11525" y="60865"/>
                      <a:pt x="25622" y="60865"/>
                    </a:cubicBezTo>
                    <a:lnTo>
                      <a:pt x="48387" y="60865"/>
                    </a:lnTo>
                    <a:cubicBezTo>
                      <a:pt x="62579" y="60865"/>
                      <a:pt x="74009" y="49054"/>
                      <a:pt x="74009" y="34481"/>
                    </a:cubicBezTo>
                    <a:lnTo>
                      <a:pt x="74009" y="0"/>
                    </a:lnTo>
                    <a:cubicBezTo>
                      <a:pt x="74009" y="14573"/>
                      <a:pt x="62579" y="26384"/>
                      <a:pt x="48387" y="26384"/>
                    </a:cubicBez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9545927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A4F39-390C-FADA-A674-3F1E1018F6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4285EE3-EC8A-8EA3-F9F5-184F1D61E3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285EE3-EC8A-8EA3-F9F5-184F1D61E3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26B506-4924-802E-78FE-4891086BB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4EF9FFF-6D86-C728-9EAB-D9321F37A9D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509858-4E41-0E18-1C6B-8EC8B680CAB3}"/>
              </a:ext>
            </a:extLst>
          </p:cNvPr>
          <p:cNvSpPr/>
          <p:nvPr/>
        </p:nvSpPr>
        <p:spPr>
          <a:xfrm rot="5400000">
            <a:off x="2886168" y="-179240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23D1A72-836D-6617-FFA2-67F292343FE3}"/>
              </a:ext>
            </a:extLst>
          </p:cNvPr>
          <p:cNvSpPr/>
          <p:nvPr/>
        </p:nvSpPr>
        <p:spPr>
          <a:xfrm>
            <a:off x="707603" y="1342764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rgbClr val="195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F25C772-4DBE-08A1-7918-AE2427C3ECE3}"/>
              </a:ext>
            </a:extLst>
          </p:cNvPr>
          <p:cNvSpPr txBox="1"/>
          <p:nvPr/>
        </p:nvSpPr>
        <p:spPr>
          <a:xfrm>
            <a:off x="896851" y="162643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7" name="Shape1_20211215_103712">
            <a:extLst>
              <a:ext uri="{FF2B5EF4-FFF2-40B4-BE49-F238E27FC236}">
                <a16:creationId xmlns:a16="http://schemas.microsoft.com/office/drawing/2014/main" id="{2F260FF9-566F-038C-DBD1-FA79F564554F}"/>
              </a:ext>
            </a:extLst>
          </p:cNvPr>
          <p:cNvSpPr txBox="1"/>
          <p:nvPr/>
        </p:nvSpPr>
        <p:spPr>
          <a:xfrm>
            <a:off x="1980835" y="1453643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8" name="Shape0_20211215_103712">
            <a:extLst>
              <a:ext uri="{FF2B5EF4-FFF2-40B4-BE49-F238E27FC236}">
                <a16:creationId xmlns:a16="http://schemas.microsoft.com/office/drawing/2014/main" id="{1E24400B-7615-04EE-FD18-CA31B1A008A2}"/>
              </a:ext>
            </a:extLst>
          </p:cNvPr>
          <p:cNvSpPr txBox="1"/>
          <p:nvPr/>
        </p:nvSpPr>
        <p:spPr>
          <a:xfrm>
            <a:off x="1980835" y="1742555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4050C7-E181-2176-8857-BD75022A07FB}"/>
              </a:ext>
            </a:extLst>
          </p:cNvPr>
          <p:cNvSpPr/>
          <p:nvPr/>
        </p:nvSpPr>
        <p:spPr>
          <a:xfrm rot="5400000">
            <a:off x="8723181" y="-179240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8323CEC-F58C-C5AD-7379-F326355A1ED3}"/>
              </a:ext>
            </a:extLst>
          </p:cNvPr>
          <p:cNvSpPr/>
          <p:nvPr/>
        </p:nvSpPr>
        <p:spPr>
          <a:xfrm>
            <a:off x="6544617" y="1342764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6350">
            <a:solidFill>
              <a:srgbClr val="0B8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CD30D2-B908-1B57-C5E7-656297556C70}"/>
              </a:ext>
            </a:extLst>
          </p:cNvPr>
          <p:cNvSpPr txBox="1"/>
          <p:nvPr/>
        </p:nvSpPr>
        <p:spPr>
          <a:xfrm>
            <a:off x="6733867" y="162643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2" name="Shape2_20211215_103712">
            <a:extLst>
              <a:ext uri="{FF2B5EF4-FFF2-40B4-BE49-F238E27FC236}">
                <a16:creationId xmlns:a16="http://schemas.microsoft.com/office/drawing/2014/main" id="{79C5CB80-5994-BB32-ABD9-8966D0F6BE5A}"/>
              </a:ext>
            </a:extLst>
          </p:cNvPr>
          <p:cNvSpPr txBox="1"/>
          <p:nvPr/>
        </p:nvSpPr>
        <p:spPr>
          <a:xfrm>
            <a:off x="7817852" y="1453643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13" name="Shape3_20211215_103712">
            <a:extLst>
              <a:ext uri="{FF2B5EF4-FFF2-40B4-BE49-F238E27FC236}">
                <a16:creationId xmlns:a16="http://schemas.microsoft.com/office/drawing/2014/main" id="{592AE7E5-E47C-0A0A-C93C-CC593FB25854}"/>
              </a:ext>
            </a:extLst>
          </p:cNvPr>
          <p:cNvSpPr txBox="1"/>
          <p:nvPr/>
        </p:nvSpPr>
        <p:spPr>
          <a:xfrm>
            <a:off x="7817852" y="1742555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4" name="Shape0_20220526_143018">
            <a:extLst>
              <a:ext uri="{FF2B5EF4-FFF2-40B4-BE49-F238E27FC236}">
                <a16:creationId xmlns:a16="http://schemas.microsoft.com/office/drawing/2014/main" id="{C9CE0DDD-1D68-5CB5-0952-69A26639761B}"/>
              </a:ext>
            </a:extLst>
          </p:cNvPr>
          <p:cNvSpPr/>
          <p:nvPr/>
        </p:nvSpPr>
        <p:spPr>
          <a:xfrm>
            <a:off x="4740396" y="1698710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5" name="Shape1_20220526_143018">
            <a:extLst>
              <a:ext uri="{FF2B5EF4-FFF2-40B4-BE49-F238E27FC236}">
                <a16:creationId xmlns:a16="http://schemas.microsoft.com/office/drawing/2014/main" id="{BCDDB334-7299-B3ED-1BC2-56105AD64EB2}"/>
              </a:ext>
            </a:extLst>
          </p:cNvPr>
          <p:cNvSpPr/>
          <p:nvPr/>
        </p:nvSpPr>
        <p:spPr>
          <a:xfrm>
            <a:off x="10598939" y="1698710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6" name="Shape2_20210614_103039">
            <a:extLst>
              <a:ext uri="{FF2B5EF4-FFF2-40B4-BE49-F238E27FC236}">
                <a16:creationId xmlns:a16="http://schemas.microsoft.com/office/drawing/2014/main" id="{D8670086-3927-4BB6-FFE9-E4C705F65EEE}"/>
              </a:ext>
            </a:extLst>
          </p:cNvPr>
          <p:cNvSpPr/>
          <p:nvPr/>
        </p:nvSpPr>
        <p:spPr>
          <a:xfrm>
            <a:off x="4809353" y="1793938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17" name="Shape4_20210614_103039">
            <a:extLst>
              <a:ext uri="{FF2B5EF4-FFF2-40B4-BE49-F238E27FC236}">
                <a16:creationId xmlns:a16="http://schemas.microsoft.com/office/drawing/2014/main" id="{9C65FE7E-393F-8E3C-11C9-E743DB43EC16}"/>
              </a:ext>
            </a:extLst>
          </p:cNvPr>
          <p:cNvSpPr/>
          <p:nvPr/>
        </p:nvSpPr>
        <p:spPr>
          <a:xfrm>
            <a:off x="10663331" y="1794255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18" name="Shape2_20220526_143018">
            <a:extLst>
              <a:ext uri="{FF2B5EF4-FFF2-40B4-BE49-F238E27FC236}">
                <a16:creationId xmlns:a16="http://schemas.microsoft.com/office/drawing/2014/main" id="{FD1FC723-5872-1007-24C6-98AE4A420256}"/>
              </a:ext>
            </a:extLst>
          </p:cNvPr>
          <p:cNvSpPr/>
          <p:nvPr/>
        </p:nvSpPr>
        <p:spPr>
          <a:xfrm rot="5400000">
            <a:off x="2886168" y="3086699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9" name="Shape3_20220526_143018">
            <a:extLst>
              <a:ext uri="{FF2B5EF4-FFF2-40B4-BE49-F238E27FC236}">
                <a16:creationId xmlns:a16="http://schemas.microsoft.com/office/drawing/2014/main" id="{646816DE-D334-B6AA-5235-9C60C297F2FB}"/>
              </a:ext>
            </a:extLst>
          </p:cNvPr>
          <p:cNvSpPr/>
          <p:nvPr/>
        </p:nvSpPr>
        <p:spPr>
          <a:xfrm>
            <a:off x="707603" y="4608703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1DC8192-8EE9-A704-FF83-F4E401FA76CE}"/>
              </a:ext>
            </a:extLst>
          </p:cNvPr>
          <p:cNvSpPr txBox="1"/>
          <p:nvPr/>
        </p:nvSpPr>
        <p:spPr>
          <a:xfrm>
            <a:off x="896851" y="489237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21" name="Shape4_20211215_103712">
            <a:extLst>
              <a:ext uri="{FF2B5EF4-FFF2-40B4-BE49-F238E27FC236}">
                <a16:creationId xmlns:a16="http://schemas.microsoft.com/office/drawing/2014/main" id="{848C2491-4868-22FA-9600-56E710CB91E2}"/>
              </a:ext>
            </a:extLst>
          </p:cNvPr>
          <p:cNvSpPr txBox="1"/>
          <p:nvPr/>
        </p:nvSpPr>
        <p:spPr>
          <a:xfrm>
            <a:off x="1980835" y="471958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22" name="Shape5_20211215_103712">
            <a:extLst>
              <a:ext uri="{FF2B5EF4-FFF2-40B4-BE49-F238E27FC236}">
                <a16:creationId xmlns:a16="http://schemas.microsoft.com/office/drawing/2014/main" id="{8EF15D9B-EA79-41AB-24CF-2795625AB4AE}"/>
              </a:ext>
            </a:extLst>
          </p:cNvPr>
          <p:cNvSpPr txBox="1"/>
          <p:nvPr/>
        </p:nvSpPr>
        <p:spPr>
          <a:xfrm>
            <a:off x="1980835" y="500849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F85554-F4B3-BD18-BD10-05EEA2C986A8}"/>
              </a:ext>
            </a:extLst>
          </p:cNvPr>
          <p:cNvSpPr/>
          <p:nvPr/>
        </p:nvSpPr>
        <p:spPr>
          <a:xfrm rot="5400000">
            <a:off x="8723181" y="3086699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4A46AC-F52B-DA6E-7F43-594D00727F91}"/>
              </a:ext>
            </a:extLst>
          </p:cNvPr>
          <p:cNvSpPr/>
          <p:nvPr/>
        </p:nvSpPr>
        <p:spPr>
          <a:xfrm>
            <a:off x="6544617" y="4608703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6350">
            <a:solidFill>
              <a:srgbClr val="B2E0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52B7AE5-D93E-1DAC-4142-F103432F046E}"/>
              </a:ext>
            </a:extLst>
          </p:cNvPr>
          <p:cNvSpPr txBox="1"/>
          <p:nvPr/>
        </p:nvSpPr>
        <p:spPr>
          <a:xfrm>
            <a:off x="6733867" y="489237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rgbClr val="000000"/>
                </a:solidFill>
              </a:rPr>
              <a:t>06</a:t>
            </a:r>
          </a:p>
        </p:txBody>
      </p:sp>
      <p:sp>
        <p:nvSpPr>
          <p:cNvPr id="26" name="Shape6_20211215_103712">
            <a:extLst>
              <a:ext uri="{FF2B5EF4-FFF2-40B4-BE49-F238E27FC236}">
                <a16:creationId xmlns:a16="http://schemas.microsoft.com/office/drawing/2014/main" id="{67D7B0C0-FC17-F995-AB95-9B129C835EB5}"/>
              </a:ext>
            </a:extLst>
          </p:cNvPr>
          <p:cNvSpPr txBox="1"/>
          <p:nvPr/>
        </p:nvSpPr>
        <p:spPr>
          <a:xfrm>
            <a:off x="7817852" y="471958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>
                <a:solidFill>
                  <a:srgbClr val="000000"/>
                </a:solidFill>
              </a:rPr>
              <a:t>Title</a:t>
            </a:r>
          </a:p>
        </p:txBody>
      </p:sp>
      <p:sp>
        <p:nvSpPr>
          <p:cNvPr id="27" name="Shape7_20211215_103712">
            <a:extLst>
              <a:ext uri="{FF2B5EF4-FFF2-40B4-BE49-F238E27FC236}">
                <a16:creationId xmlns:a16="http://schemas.microsoft.com/office/drawing/2014/main" id="{EA1B35CB-2D65-CF0E-E3C0-0EFCC1527232}"/>
              </a:ext>
            </a:extLst>
          </p:cNvPr>
          <p:cNvSpPr txBox="1"/>
          <p:nvPr/>
        </p:nvSpPr>
        <p:spPr>
          <a:xfrm>
            <a:off x="7817852" y="500849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8" name="Shape4_20220526_143018">
            <a:extLst>
              <a:ext uri="{FF2B5EF4-FFF2-40B4-BE49-F238E27FC236}">
                <a16:creationId xmlns:a16="http://schemas.microsoft.com/office/drawing/2014/main" id="{D265EEC7-5D4D-AA14-950A-257F051EAEA0}"/>
              </a:ext>
            </a:extLst>
          </p:cNvPr>
          <p:cNvSpPr/>
          <p:nvPr/>
        </p:nvSpPr>
        <p:spPr>
          <a:xfrm>
            <a:off x="4740396" y="496464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9" name="Shape5_20220526_143018">
            <a:extLst>
              <a:ext uri="{FF2B5EF4-FFF2-40B4-BE49-F238E27FC236}">
                <a16:creationId xmlns:a16="http://schemas.microsoft.com/office/drawing/2014/main" id="{5354440A-20C0-47A0-4823-DC008CEF3745}"/>
              </a:ext>
            </a:extLst>
          </p:cNvPr>
          <p:cNvSpPr/>
          <p:nvPr/>
        </p:nvSpPr>
        <p:spPr>
          <a:xfrm>
            <a:off x="10598939" y="496464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0" name="Shape3_20210614_103039">
            <a:extLst>
              <a:ext uri="{FF2B5EF4-FFF2-40B4-BE49-F238E27FC236}">
                <a16:creationId xmlns:a16="http://schemas.microsoft.com/office/drawing/2014/main" id="{BE6B0DE7-75C0-4F86-F12F-1C3B39EBCE3A}"/>
              </a:ext>
            </a:extLst>
          </p:cNvPr>
          <p:cNvSpPr/>
          <p:nvPr/>
        </p:nvSpPr>
        <p:spPr>
          <a:xfrm>
            <a:off x="4809353" y="5059874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31" name="Shape5_20210614_103039">
            <a:extLst>
              <a:ext uri="{FF2B5EF4-FFF2-40B4-BE49-F238E27FC236}">
                <a16:creationId xmlns:a16="http://schemas.microsoft.com/office/drawing/2014/main" id="{B20E70DE-AD99-2CA2-1239-E771006F3502}"/>
              </a:ext>
            </a:extLst>
          </p:cNvPr>
          <p:cNvSpPr/>
          <p:nvPr/>
        </p:nvSpPr>
        <p:spPr>
          <a:xfrm>
            <a:off x="10663331" y="5061919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C7144C0-02EB-06F3-6CAA-9114D8F16F69}"/>
              </a:ext>
            </a:extLst>
          </p:cNvPr>
          <p:cNvSpPr/>
          <p:nvPr/>
        </p:nvSpPr>
        <p:spPr>
          <a:xfrm rot="5400000">
            <a:off x="2886168" y="1453731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A7B82A3-B837-08E8-346B-3592C802DDE4}"/>
              </a:ext>
            </a:extLst>
          </p:cNvPr>
          <p:cNvSpPr/>
          <p:nvPr/>
        </p:nvSpPr>
        <p:spPr>
          <a:xfrm>
            <a:off x="707603" y="2975732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320495F-C4CD-F88B-B7EA-137EB9C46A94}"/>
              </a:ext>
            </a:extLst>
          </p:cNvPr>
          <p:cNvSpPr txBox="1"/>
          <p:nvPr/>
        </p:nvSpPr>
        <p:spPr>
          <a:xfrm>
            <a:off x="896851" y="325940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35" name="Shape8_20211215_103712">
            <a:extLst>
              <a:ext uri="{FF2B5EF4-FFF2-40B4-BE49-F238E27FC236}">
                <a16:creationId xmlns:a16="http://schemas.microsoft.com/office/drawing/2014/main" id="{63081BCA-D277-13BB-B322-0BE2ADDD0D26}"/>
              </a:ext>
            </a:extLst>
          </p:cNvPr>
          <p:cNvSpPr txBox="1"/>
          <p:nvPr/>
        </p:nvSpPr>
        <p:spPr>
          <a:xfrm>
            <a:off x="1980835" y="3086610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36" name="Shape9_20211215_103712">
            <a:extLst>
              <a:ext uri="{FF2B5EF4-FFF2-40B4-BE49-F238E27FC236}">
                <a16:creationId xmlns:a16="http://schemas.microsoft.com/office/drawing/2014/main" id="{5DB89B63-D228-9DA3-ABB5-0E808D4B5F9B}"/>
              </a:ext>
            </a:extLst>
          </p:cNvPr>
          <p:cNvSpPr txBox="1"/>
          <p:nvPr/>
        </p:nvSpPr>
        <p:spPr>
          <a:xfrm>
            <a:off x="1980835" y="3375521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2814CDA-C71B-6871-A0A4-AA759620645C}"/>
              </a:ext>
            </a:extLst>
          </p:cNvPr>
          <p:cNvSpPr/>
          <p:nvPr/>
        </p:nvSpPr>
        <p:spPr>
          <a:xfrm rot="5400000">
            <a:off x="8723181" y="1453731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8" name="Shape1_20210614_103039">
            <a:extLst>
              <a:ext uri="{FF2B5EF4-FFF2-40B4-BE49-F238E27FC236}">
                <a16:creationId xmlns:a16="http://schemas.microsoft.com/office/drawing/2014/main" id="{07FCC2A9-6C47-5E5C-4CE0-E57826BB5F2E}"/>
              </a:ext>
            </a:extLst>
          </p:cNvPr>
          <p:cNvSpPr/>
          <p:nvPr/>
        </p:nvSpPr>
        <p:spPr>
          <a:xfrm>
            <a:off x="6544617" y="2975732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CABED7B-916B-4A95-0F30-75C5049C8C21}"/>
              </a:ext>
            </a:extLst>
          </p:cNvPr>
          <p:cNvSpPr txBox="1"/>
          <p:nvPr/>
        </p:nvSpPr>
        <p:spPr>
          <a:xfrm>
            <a:off x="6733867" y="325940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40" name="Shape10_20211215_103712">
            <a:extLst>
              <a:ext uri="{FF2B5EF4-FFF2-40B4-BE49-F238E27FC236}">
                <a16:creationId xmlns:a16="http://schemas.microsoft.com/office/drawing/2014/main" id="{EEF0E727-AB75-9940-F757-BD9AD788A5C6}"/>
              </a:ext>
            </a:extLst>
          </p:cNvPr>
          <p:cNvSpPr txBox="1"/>
          <p:nvPr/>
        </p:nvSpPr>
        <p:spPr>
          <a:xfrm>
            <a:off x="7817852" y="3086610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41" name="Shape11_20211215_103712">
            <a:extLst>
              <a:ext uri="{FF2B5EF4-FFF2-40B4-BE49-F238E27FC236}">
                <a16:creationId xmlns:a16="http://schemas.microsoft.com/office/drawing/2014/main" id="{CA7ABC0C-8CA7-A1C0-BFA5-EC505AB0EDEE}"/>
              </a:ext>
            </a:extLst>
          </p:cNvPr>
          <p:cNvSpPr txBox="1"/>
          <p:nvPr/>
        </p:nvSpPr>
        <p:spPr>
          <a:xfrm>
            <a:off x="7817852" y="3375521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42" name="Shape6_20220526_143018">
            <a:extLst>
              <a:ext uri="{FF2B5EF4-FFF2-40B4-BE49-F238E27FC236}">
                <a16:creationId xmlns:a16="http://schemas.microsoft.com/office/drawing/2014/main" id="{0710136D-5098-1DD1-AC0D-93203A85C6BA}"/>
              </a:ext>
            </a:extLst>
          </p:cNvPr>
          <p:cNvSpPr/>
          <p:nvPr/>
        </p:nvSpPr>
        <p:spPr>
          <a:xfrm>
            <a:off x="4740396" y="333167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3" name="Shape7_20220526_143018">
            <a:extLst>
              <a:ext uri="{FF2B5EF4-FFF2-40B4-BE49-F238E27FC236}">
                <a16:creationId xmlns:a16="http://schemas.microsoft.com/office/drawing/2014/main" id="{7C77983B-13EA-E539-A8DF-7F875A6EC55F}"/>
              </a:ext>
            </a:extLst>
          </p:cNvPr>
          <p:cNvSpPr/>
          <p:nvPr/>
        </p:nvSpPr>
        <p:spPr>
          <a:xfrm>
            <a:off x="10598939" y="333167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4" name="Shape0_20210614_103039">
            <a:extLst>
              <a:ext uri="{FF2B5EF4-FFF2-40B4-BE49-F238E27FC236}">
                <a16:creationId xmlns:a16="http://schemas.microsoft.com/office/drawing/2014/main" id="{157121D2-C781-9E7E-633A-BA6BAC9BB6A8}"/>
              </a:ext>
            </a:extLst>
          </p:cNvPr>
          <p:cNvSpPr/>
          <p:nvPr/>
        </p:nvSpPr>
        <p:spPr>
          <a:xfrm>
            <a:off x="4809353" y="3426902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45" name="Shape0_20210614_103047">
            <a:extLst>
              <a:ext uri="{FF2B5EF4-FFF2-40B4-BE49-F238E27FC236}">
                <a16:creationId xmlns:a16="http://schemas.microsoft.com/office/drawing/2014/main" id="{90C8AF0A-0B65-3B61-F35D-AEFC19CD505A}"/>
              </a:ext>
            </a:extLst>
          </p:cNvPr>
          <p:cNvSpPr/>
          <p:nvPr/>
        </p:nvSpPr>
        <p:spPr>
          <a:xfrm>
            <a:off x="10647162" y="3376523"/>
            <a:ext cx="259055" cy="263136"/>
          </a:xfrm>
          <a:prstGeom prst="mathMultiply">
            <a:avLst>
              <a:gd name="adj1" fmla="val 18520"/>
            </a:avLst>
          </a:prstGeom>
          <a:solidFill>
            <a:srgbClr val="DA1E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27903431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6A3AC-397B-5730-54E0-75A8B62377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74655FE-4A57-9DB0-9382-575465327E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4655FE-4A57-9DB0-9382-575465327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156766-DEA5-422E-5714-F24CA0F5C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A30FD61-FB37-989F-D0AF-5DC837F0B90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1_20211020_181843">
            <a:extLst>
              <a:ext uri="{FF2B5EF4-FFF2-40B4-BE49-F238E27FC236}">
                <a16:creationId xmlns:a16="http://schemas.microsoft.com/office/drawing/2014/main" id="{8759D7D5-9DBD-7FA3-EC13-E67A49EA18D4}"/>
              </a:ext>
            </a:extLst>
          </p:cNvPr>
          <p:cNvSpPr/>
          <p:nvPr/>
        </p:nvSpPr>
        <p:spPr>
          <a:xfrm>
            <a:off x="675603" y="1814281"/>
            <a:ext cx="1701132" cy="3286992"/>
          </a:xfrm>
          <a:custGeom>
            <a:avLst/>
            <a:gdLst>
              <a:gd name="connsiteX0" fmla="*/ 5805 w 1259143"/>
              <a:gd name="connsiteY0" fmla="*/ 0 h 2506678"/>
              <a:gd name="connsiteX1" fmla="*/ 1259143 w 1259143"/>
              <a:gd name="connsiteY1" fmla="*/ 1253339 h 2506678"/>
              <a:gd name="connsiteX2" fmla="*/ 5805 w 1259143"/>
              <a:gd name="connsiteY2" fmla="*/ 2506678 h 2506678"/>
              <a:gd name="connsiteX3" fmla="*/ 0 w 1259143"/>
              <a:gd name="connsiteY3" fmla="*/ 2506385 h 2506678"/>
              <a:gd name="connsiteX4" fmla="*/ 0 w 1259143"/>
              <a:gd name="connsiteY4" fmla="*/ 293 h 2506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9143" h="2506678">
                <a:moveTo>
                  <a:pt x="5805" y="0"/>
                </a:moveTo>
                <a:cubicBezTo>
                  <a:pt x="698004" y="0"/>
                  <a:pt x="1259143" y="561139"/>
                  <a:pt x="1259143" y="1253339"/>
                </a:cubicBezTo>
                <a:cubicBezTo>
                  <a:pt x="1259143" y="1945539"/>
                  <a:pt x="698004" y="2506678"/>
                  <a:pt x="5805" y="2506678"/>
                </a:cubicBezTo>
                <a:lnTo>
                  <a:pt x="0" y="2506385"/>
                </a:lnTo>
                <a:lnTo>
                  <a:pt x="0" y="293"/>
                </a:lnTo>
                <a:close/>
              </a:path>
            </a:pathLst>
          </a:custGeom>
          <a:solidFill>
            <a:srgbClr val="FFFFFF"/>
          </a:solidFill>
          <a:ln w="25400" cap="flat" cmpd="sng" algn="ctr">
            <a:solidFill>
              <a:srgbClr val="195167"/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84C9875-B8F2-F255-B7A7-964B16D19004}"/>
              </a:ext>
            </a:extLst>
          </p:cNvPr>
          <p:cNvSpPr/>
          <p:nvPr/>
        </p:nvSpPr>
        <p:spPr>
          <a:xfrm>
            <a:off x="675606" y="1887723"/>
            <a:ext cx="1625119" cy="3140110"/>
          </a:xfrm>
          <a:custGeom>
            <a:avLst/>
            <a:gdLst>
              <a:gd name="connsiteX0" fmla="*/ 5805 w 1259143"/>
              <a:gd name="connsiteY0" fmla="*/ 0 h 2506678"/>
              <a:gd name="connsiteX1" fmla="*/ 1259143 w 1259143"/>
              <a:gd name="connsiteY1" fmla="*/ 1253339 h 2506678"/>
              <a:gd name="connsiteX2" fmla="*/ 5805 w 1259143"/>
              <a:gd name="connsiteY2" fmla="*/ 2506678 h 2506678"/>
              <a:gd name="connsiteX3" fmla="*/ 0 w 1259143"/>
              <a:gd name="connsiteY3" fmla="*/ 2506385 h 2506678"/>
              <a:gd name="connsiteX4" fmla="*/ 0 w 1259143"/>
              <a:gd name="connsiteY4" fmla="*/ 293 h 2506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9143" h="2506678">
                <a:moveTo>
                  <a:pt x="5805" y="0"/>
                </a:moveTo>
                <a:cubicBezTo>
                  <a:pt x="698004" y="0"/>
                  <a:pt x="1259143" y="561139"/>
                  <a:pt x="1259143" y="1253339"/>
                </a:cubicBezTo>
                <a:cubicBezTo>
                  <a:pt x="1259143" y="1945539"/>
                  <a:pt x="698004" y="2506678"/>
                  <a:pt x="5805" y="2506678"/>
                </a:cubicBezTo>
                <a:lnTo>
                  <a:pt x="0" y="2506385"/>
                </a:lnTo>
                <a:lnTo>
                  <a:pt x="0" y="293"/>
                </a:ln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4B44AB5-A902-959F-1B71-188B3ACFD5DB}"/>
              </a:ext>
            </a:extLst>
          </p:cNvPr>
          <p:cNvSpPr/>
          <p:nvPr/>
        </p:nvSpPr>
        <p:spPr>
          <a:xfrm>
            <a:off x="1270560" y="1590821"/>
            <a:ext cx="115671" cy="11227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cxnSp>
        <p:nvCxnSpPr>
          <p:cNvPr id="7" name="Shape1_20220517_163352">
            <a:extLst>
              <a:ext uri="{FF2B5EF4-FFF2-40B4-BE49-F238E27FC236}">
                <a16:creationId xmlns:a16="http://schemas.microsoft.com/office/drawing/2014/main" id="{27077A94-BBE1-565C-6D14-9705463F470E}"/>
              </a:ext>
            </a:extLst>
          </p:cNvPr>
          <p:cNvCxnSpPr>
            <a:cxnSpLocks/>
            <a:stCxn id="6" idx="6"/>
            <a:endCxn id="8" idx="2"/>
          </p:cNvCxnSpPr>
          <p:nvPr/>
        </p:nvCxnSpPr>
        <p:spPr>
          <a:xfrm>
            <a:off x="1386230" y="1646957"/>
            <a:ext cx="1482983" cy="0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sp>
        <p:nvSpPr>
          <p:cNvPr id="8" name="Shape2_20220517_163352">
            <a:extLst>
              <a:ext uri="{FF2B5EF4-FFF2-40B4-BE49-F238E27FC236}">
                <a16:creationId xmlns:a16="http://schemas.microsoft.com/office/drawing/2014/main" id="{CEE229C7-94E9-AE5B-D85F-AA7433CE2C6D}"/>
              </a:ext>
            </a:extLst>
          </p:cNvPr>
          <p:cNvSpPr>
            <a:spLocks noChangeAspect="1"/>
          </p:cNvSpPr>
          <p:nvPr/>
        </p:nvSpPr>
        <p:spPr>
          <a:xfrm>
            <a:off x="2869213" y="1401302"/>
            <a:ext cx="492809" cy="491309"/>
          </a:xfrm>
          <a:prstGeom prst="ellips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9" name="Shape1_20211020_182018">
            <a:extLst>
              <a:ext uri="{FF2B5EF4-FFF2-40B4-BE49-F238E27FC236}">
                <a16:creationId xmlns:a16="http://schemas.microsoft.com/office/drawing/2014/main" id="{26530910-EA32-6D78-937A-AC9CE1D99F63}"/>
              </a:ext>
            </a:extLst>
          </p:cNvPr>
          <p:cNvSpPr/>
          <p:nvPr/>
        </p:nvSpPr>
        <p:spPr>
          <a:xfrm>
            <a:off x="2942714" y="1474056"/>
            <a:ext cx="345800" cy="3458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F1201028-63D0-D64E-45F7-D482EE94CD8C}"/>
              </a:ext>
            </a:extLst>
          </p:cNvPr>
          <p:cNvSpPr>
            <a:spLocks/>
          </p:cNvSpPr>
          <p:nvPr/>
        </p:nvSpPr>
        <p:spPr bwMode="auto">
          <a:xfrm>
            <a:off x="2991064" y="1532351"/>
            <a:ext cx="249103" cy="229211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5125" tIns="62563" rIns="125125" bIns="6256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/>
          </a:p>
        </p:txBody>
      </p:sp>
      <p:sp>
        <p:nvSpPr>
          <p:cNvPr id="11" name="Shape0_20211215_104047">
            <a:extLst>
              <a:ext uri="{FF2B5EF4-FFF2-40B4-BE49-F238E27FC236}">
                <a16:creationId xmlns:a16="http://schemas.microsoft.com/office/drawing/2014/main" id="{79269156-2A4E-321B-0885-819B8C78C9F5}"/>
              </a:ext>
            </a:extLst>
          </p:cNvPr>
          <p:cNvSpPr>
            <a:spLocks/>
          </p:cNvSpPr>
          <p:nvPr/>
        </p:nvSpPr>
        <p:spPr>
          <a:xfrm>
            <a:off x="3506634" y="1523846"/>
            <a:ext cx="7971446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730" lvl="1" defTabSz="2666516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4BE9EBD-5879-3962-7956-D94CC2742017}"/>
              </a:ext>
            </a:extLst>
          </p:cNvPr>
          <p:cNvSpPr/>
          <p:nvPr/>
        </p:nvSpPr>
        <p:spPr>
          <a:xfrm>
            <a:off x="2521351" y="2778849"/>
            <a:ext cx="115671" cy="11227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cxnSp>
        <p:nvCxnSpPr>
          <p:cNvPr id="13" name="Shape3_20220517_163352">
            <a:extLst>
              <a:ext uri="{FF2B5EF4-FFF2-40B4-BE49-F238E27FC236}">
                <a16:creationId xmlns:a16="http://schemas.microsoft.com/office/drawing/2014/main" id="{1BE88B83-2D0A-4F11-F5DB-032E6028F41A}"/>
              </a:ext>
            </a:extLst>
          </p:cNvPr>
          <p:cNvCxnSpPr>
            <a:cxnSpLocks/>
            <a:stCxn id="12" idx="6"/>
            <a:endCxn id="14" idx="2"/>
          </p:cNvCxnSpPr>
          <p:nvPr/>
        </p:nvCxnSpPr>
        <p:spPr>
          <a:xfrm>
            <a:off x="2637021" y="2834984"/>
            <a:ext cx="232187" cy="2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sp>
        <p:nvSpPr>
          <p:cNvPr id="14" name="Shape4_20220517_163352">
            <a:extLst>
              <a:ext uri="{FF2B5EF4-FFF2-40B4-BE49-F238E27FC236}">
                <a16:creationId xmlns:a16="http://schemas.microsoft.com/office/drawing/2014/main" id="{5488A2FF-5F85-983D-A17D-44935D925317}"/>
              </a:ext>
            </a:extLst>
          </p:cNvPr>
          <p:cNvSpPr>
            <a:spLocks noChangeAspect="1"/>
          </p:cNvSpPr>
          <p:nvPr/>
        </p:nvSpPr>
        <p:spPr>
          <a:xfrm>
            <a:off x="2869209" y="2589331"/>
            <a:ext cx="492809" cy="491309"/>
          </a:xfrm>
          <a:prstGeom prst="ellips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15" name="Shape2_20211020_182018">
            <a:extLst>
              <a:ext uri="{FF2B5EF4-FFF2-40B4-BE49-F238E27FC236}">
                <a16:creationId xmlns:a16="http://schemas.microsoft.com/office/drawing/2014/main" id="{AE392260-B0A9-2C72-C8D2-50AE508FC669}"/>
              </a:ext>
            </a:extLst>
          </p:cNvPr>
          <p:cNvSpPr/>
          <p:nvPr/>
        </p:nvSpPr>
        <p:spPr>
          <a:xfrm>
            <a:off x="2942714" y="2662080"/>
            <a:ext cx="345800" cy="3458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A518261B-62EF-B92A-8B92-C085ABF8BAC4}"/>
              </a:ext>
            </a:extLst>
          </p:cNvPr>
          <p:cNvSpPr>
            <a:spLocks/>
          </p:cNvSpPr>
          <p:nvPr/>
        </p:nvSpPr>
        <p:spPr bwMode="auto">
          <a:xfrm>
            <a:off x="2991064" y="2720376"/>
            <a:ext cx="249103" cy="229211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5125" tIns="62563" rIns="125125" bIns="6256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/>
          </a:p>
        </p:txBody>
      </p:sp>
      <p:sp>
        <p:nvSpPr>
          <p:cNvPr id="17" name="Shape1_20211215_104047">
            <a:extLst>
              <a:ext uri="{FF2B5EF4-FFF2-40B4-BE49-F238E27FC236}">
                <a16:creationId xmlns:a16="http://schemas.microsoft.com/office/drawing/2014/main" id="{474E536A-22F9-A3C9-DD8E-AECADD469B0F}"/>
              </a:ext>
            </a:extLst>
          </p:cNvPr>
          <p:cNvSpPr>
            <a:spLocks/>
          </p:cNvSpPr>
          <p:nvPr/>
        </p:nvSpPr>
        <p:spPr>
          <a:xfrm>
            <a:off x="3506634" y="2711873"/>
            <a:ext cx="7971446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730" lvl="1" defTabSz="2666516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6BF3C57-1543-C6CB-181E-2FFB1F662E3D}"/>
              </a:ext>
            </a:extLst>
          </p:cNvPr>
          <p:cNvSpPr/>
          <p:nvPr/>
        </p:nvSpPr>
        <p:spPr>
          <a:xfrm>
            <a:off x="2546438" y="3966875"/>
            <a:ext cx="115671" cy="11227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cxnSp>
        <p:nvCxnSpPr>
          <p:cNvPr id="19" name="Shape7_20220517_163352">
            <a:extLst>
              <a:ext uri="{FF2B5EF4-FFF2-40B4-BE49-F238E27FC236}">
                <a16:creationId xmlns:a16="http://schemas.microsoft.com/office/drawing/2014/main" id="{D9C187FB-FE73-0852-7AD4-19FE8F9BDF9E}"/>
              </a:ext>
            </a:extLst>
          </p:cNvPr>
          <p:cNvCxnSpPr>
            <a:cxnSpLocks/>
            <a:stCxn id="18" idx="6"/>
            <a:endCxn id="20" idx="2"/>
          </p:cNvCxnSpPr>
          <p:nvPr/>
        </p:nvCxnSpPr>
        <p:spPr>
          <a:xfrm>
            <a:off x="2662108" y="4023011"/>
            <a:ext cx="207100" cy="4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sp>
        <p:nvSpPr>
          <p:cNvPr id="20" name="Shape8_20220517_163352">
            <a:extLst>
              <a:ext uri="{FF2B5EF4-FFF2-40B4-BE49-F238E27FC236}">
                <a16:creationId xmlns:a16="http://schemas.microsoft.com/office/drawing/2014/main" id="{53E5AA82-3A98-DAE2-8A45-88E0868363A8}"/>
              </a:ext>
            </a:extLst>
          </p:cNvPr>
          <p:cNvSpPr>
            <a:spLocks noChangeAspect="1"/>
          </p:cNvSpPr>
          <p:nvPr/>
        </p:nvSpPr>
        <p:spPr>
          <a:xfrm>
            <a:off x="2869209" y="3777360"/>
            <a:ext cx="492809" cy="491309"/>
          </a:xfrm>
          <a:prstGeom prst="ellips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21" name="Shape4_20211020_182018">
            <a:extLst>
              <a:ext uri="{FF2B5EF4-FFF2-40B4-BE49-F238E27FC236}">
                <a16:creationId xmlns:a16="http://schemas.microsoft.com/office/drawing/2014/main" id="{BE6AEB63-ECD3-1776-80EC-FA5D801443A2}"/>
              </a:ext>
            </a:extLst>
          </p:cNvPr>
          <p:cNvSpPr/>
          <p:nvPr/>
        </p:nvSpPr>
        <p:spPr>
          <a:xfrm>
            <a:off x="2942714" y="3850108"/>
            <a:ext cx="345800" cy="3458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2B0F5BAA-0753-1E03-A683-BCFC8DBC5B8A}"/>
              </a:ext>
            </a:extLst>
          </p:cNvPr>
          <p:cNvSpPr>
            <a:spLocks/>
          </p:cNvSpPr>
          <p:nvPr/>
        </p:nvSpPr>
        <p:spPr bwMode="auto">
          <a:xfrm>
            <a:off x="2991064" y="3908403"/>
            <a:ext cx="249103" cy="229211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5125" tIns="62563" rIns="125125" bIns="6256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/>
          </a:p>
        </p:txBody>
      </p:sp>
      <p:sp>
        <p:nvSpPr>
          <p:cNvPr id="23" name="Shape3_20211215_104047">
            <a:extLst>
              <a:ext uri="{FF2B5EF4-FFF2-40B4-BE49-F238E27FC236}">
                <a16:creationId xmlns:a16="http://schemas.microsoft.com/office/drawing/2014/main" id="{902F2CC4-27D8-34AE-83D4-4B9A83F6AD4C}"/>
              </a:ext>
            </a:extLst>
          </p:cNvPr>
          <p:cNvSpPr>
            <a:spLocks/>
          </p:cNvSpPr>
          <p:nvPr/>
        </p:nvSpPr>
        <p:spPr>
          <a:xfrm>
            <a:off x="3506634" y="3899898"/>
            <a:ext cx="7971446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730" lvl="1" defTabSz="2666516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5E57C5E-C56F-E0CA-AA07-30918EC4517D}"/>
              </a:ext>
            </a:extLst>
          </p:cNvPr>
          <p:cNvSpPr/>
          <p:nvPr/>
        </p:nvSpPr>
        <p:spPr>
          <a:xfrm>
            <a:off x="1526169" y="5154902"/>
            <a:ext cx="115671" cy="11227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cxnSp>
        <p:nvCxnSpPr>
          <p:cNvPr id="25" name="Shape9_20220517_163352">
            <a:extLst>
              <a:ext uri="{FF2B5EF4-FFF2-40B4-BE49-F238E27FC236}">
                <a16:creationId xmlns:a16="http://schemas.microsoft.com/office/drawing/2014/main" id="{563D3600-BE52-9C7B-975B-3F1CE26B6B22}"/>
              </a:ext>
            </a:extLst>
          </p:cNvPr>
          <p:cNvCxnSpPr>
            <a:cxnSpLocks/>
            <a:stCxn id="24" idx="6"/>
            <a:endCxn id="26" idx="2"/>
          </p:cNvCxnSpPr>
          <p:nvPr/>
        </p:nvCxnSpPr>
        <p:spPr>
          <a:xfrm>
            <a:off x="1641839" y="5211037"/>
            <a:ext cx="1227369" cy="7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sp>
        <p:nvSpPr>
          <p:cNvPr id="26" name="Shape10_20220517_163352">
            <a:extLst>
              <a:ext uri="{FF2B5EF4-FFF2-40B4-BE49-F238E27FC236}">
                <a16:creationId xmlns:a16="http://schemas.microsoft.com/office/drawing/2014/main" id="{F43080B6-EBFC-955A-6907-C63291757C24}"/>
              </a:ext>
            </a:extLst>
          </p:cNvPr>
          <p:cNvSpPr>
            <a:spLocks noChangeAspect="1"/>
          </p:cNvSpPr>
          <p:nvPr/>
        </p:nvSpPr>
        <p:spPr>
          <a:xfrm>
            <a:off x="2869209" y="4965389"/>
            <a:ext cx="492809" cy="491309"/>
          </a:xfrm>
          <a:prstGeom prst="ellips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27" name="Shape0_20211020_182018">
            <a:extLst>
              <a:ext uri="{FF2B5EF4-FFF2-40B4-BE49-F238E27FC236}">
                <a16:creationId xmlns:a16="http://schemas.microsoft.com/office/drawing/2014/main" id="{02E1AE4A-1ACB-558E-0DF5-5FEA97E1FAC3}"/>
              </a:ext>
            </a:extLst>
          </p:cNvPr>
          <p:cNvSpPr/>
          <p:nvPr/>
        </p:nvSpPr>
        <p:spPr>
          <a:xfrm>
            <a:off x="2942714" y="5038133"/>
            <a:ext cx="345800" cy="3458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DA2B5977-AC51-5993-3CFE-DFBAAB6723D6}"/>
              </a:ext>
            </a:extLst>
          </p:cNvPr>
          <p:cNvSpPr>
            <a:spLocks/>
          </p:cNvSpPr>
          <p:nvPr/>
        </p:nvSpPr>
        <p:spPr bwMode="auto">
          <a:xfrm>
            <a:off x="2991064" y="5096431"/>
            <a:ext cx="249103" cy="229211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5125" tIns="62563" rIns="125125" bIns="6256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/>
          </a:p>
        </p:txBody>
      </p:sp>
      <p:sp>
        <p:nvSpPr>
          <p:cNvPr id="29" name="Shape4_20211215_104047">
            <a:extLst>
              <a:ext uri="{FF2B5EF4-FFF2-40B4-BE49-F238E27FC236}">
                <a16:creationId xmlns:a16="http://schemas.microsoft.com/office/drawing/2014/main" id="{F4D976C6-DE92-2A82-BCC1-016BBB42086F}"/>
              </a:ext>
            </a:extLst>
          </p:cNvPr>
          <p:cNvSpPr>
            <a:spLocks/>
          </p:cNvSpPr>
          <p:nvPr/>
        </p:nvSpPr>
        <p:spPr>
          <a:xfrm>
            <a:off x="3506634" y="5087927"/>
            <a:ext cx="7971446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730" lvl="1" defTabSz="2666516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cxnSp>
        <p:nvCxnSpPr>
          <p:cNvPr id="30" name="Shape2_20220715_102623">
            <a:extLst>
              <a:ext uri="{FF2B5EF4-FFF2-40B4-BE49-F238E27FC236}">
                <a16:creationId xmlns:a16="http://schemas.microsoft.com/office/drawing/2014/main" id="{09DB5024-B7C1-69B0-CF26-60790B6512D6}"/>
              </a:ext>
            </a:extLst>
          </p:cNvPr>
          <p:cNvCxnSpPr>
            <a:cxnSpLocks/>
          </p:cNvCxnSpPr>
          <p:nvPr/>
        </p:nvCxnSpPr>
        <p:spPr>
          <a:xfrm>
            <a:off x="3506634" y="4617029"/>
            <a:ext cx="7961969" cy="0"/>
          </a:xfrm>
          <a:prstGeom prst="line">
            <a:avLst/>
          </a:prstGeom>
          <a:noFill/>
          <a:ln w="12700" cap="flat" cmpd="sng" algn="ctr">
            <a:solidFill>
              <a:srgbClr val="C6C6C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hape3_20220715_102623">
            <a:extLst>
              <a:ext uri="{FF2B5EF4-FFF2-40B4-BE49-F238E27FC236}">
                <a16:creationId xmlns:a16="http://schemas.microsoft.com/office/drawing/2014/main" id="{74C77369-CB0E-8C82-94B4-A893E703C983}"/>
              </a:ext>
            </a:extLst>
          </p:cNvPr>
          <p:cNvCxnSpPr>
            <a:cxnSpLocks/>
          </p:cNvCxnSpPr>
          <p:nvPr/>
        </p:nvCxnSpPr>
        <p:spPr>
          <a:xfrm>
            <a:off x="3506634" y="2240971"/>
            <a:ext cx="7961969" cy="0"/>
          </a:xfrm>
          <a:prstGeom prst="line">
            <a:avLst/>
          </a:prstGeom>
          <a:noFill/>
          <a:ln w="12700" cap="flat" cmpd="sng" algn="ctr">
            <a:solidFill>
              <a:srgbClr val="C6C6C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hape4_20220715_102623">
            <a:extLst>
              <a:ext uri="{FF2B5EF4-FFF2-40B4-BE49-F238E27FC236}">
                <a16:creationId xmlns:a16="http://schemas.microsoft.com/office/drawing/2014/main" id="{0F919C52-3DC5-2258-F72C-04D41891C679}"/>
              </a:ext>
            </a:extLst>
          </p:cNvPr>
          <p:cNvCxnSpPr>
            <a:cxnSpLocks/>
          </p:cNvCxnSpPr>
          <p:nvPr/>
        </p:nvCxnSpPr>
        <p:spPr>
          <a:xfrm>
            <a:off x="3506634" y="3429000"/>
            <a:ext cx="7961969" cy="0"/>
          </a:xfrm>
          <a:prstGeom prst="line">
            <a:avLst/>
          </a:prstGeom>
          <a:noFill/>
          <a:ln w="12700" cap="flat" cmpd="sng" algn="ctr">
            <a:solidFill>
              <a:srgbClr val="C6C6C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A01E4A5-6939-6777-676F-E18F0D138B06}"/>
              </a:ext>
            </a:extLst>
          </p:cNvPr>
          <p:cNvSpPr/>
          <p:nvPr/>
        </p:nvSpPr>
        <p:spPr>
          <a:xfrm>
            <a:off x="661479" y="3319395"/>
            <a:ext cx="145334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defTabSz="625570">
              <a:defRPr/>
            </a:pPr>
            <a:r>
              <a:rPr lang="en-US" b="1" dirty="0">
                <a:solidFill>
                  <a:srgbClr val="FFFFFF"/>
                </a:solidFill>
                <a:ea typeface="ＭＳ Ｐゴシック" charset="0"/>
                <a:cs typeface="Arial" panose="020B0604020202020204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94290601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D6F3E5-C9ED-9A83-A817-EA757EB03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68B6E3E-668E-37CB-091D-C72EAEB234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8B6E3E-668E-37CB-091D-C72EAEB23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A3ED19-B71A-5810-2DA2-0C8139DC0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81DA5FB-57AC-0C76-ABAE-132CB9C030E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5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DC95014-5DBB-F16E-EFFF-7588A98693BD}"/>
              </a:ext>
            </a:extLst>
          </p:cNvPr>
          <p:cNvGrpSpPr/>
          <p:nvPr/>
        </p:nvGrpSpPr>
        <p:grpSpPr>
          <a:xfrm>
            <a:off x="5386309" y="1460429"/>
            <a:ext cx="1419383" cy="4720451"/>
            <a:chOff x="5280370" y="1645625"/>
            <a:chExt cx="1419383" cy="4164428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8230CCA-FB53-1B96-3BD7-B7FB7358D385}"/>
                </a:ext>
              </a:extLst>
            </p:cNvPr>
            <p:cNvSpPr/>
            <p:nvPr/>
          </p:nvSpPr>
          <p:spPr>
            <a:xfrm>
              <a:off x="5280370" y="1645625"/>
              <a:ext cx="555359" cy="4164428"/>
            </a:xfrm>
            <a:custGeom>
              <a:avLst/>
              <a:gdLst>
                <a:gd name="connsiteX0" fmla="*/ 0 w 714375"/>
                <a:gd name="connsiteY0" fmla="*/ 0 h 3114675"/>
                <a:gd name="connsiteX1" fmla="*/ 714375 w 714375"/>
                <a:gd name="connsiteY1" fmla="*/ 0 h 3114675"/>
                <a:gd name="connsiteX2" fmla="*/ 714375 w 714375"/>
                <a:gd name="connsiteY2" fmla="*/ 311467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4375" h="3114675">
                  <a:moveTo>
                    <a:pt x="0" y="0"/>
                  </a:moveTo>
                  <a:lnTo>
                    <a:pt x="714375" y="0"/>
                  </a:lnTo>
                  <a:lnTo>
                    <a:pt x="714375" y="3114675"/>
                  </a:lnTo>
                </a:path>
              </a:pathLst>
            </a:custGeom>
            <a:noFill/>
            <a:ln w="9525">
              <a:solidFill>
                <a:srgbClr val="1951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80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7D02F49-B502-983E-4E6A-1E4209A0C0C0}"/>
                </a:ext>
              </a:extLst>
            </p:cNvPr>
            <p:cNvSpPr/>
            <p:nvPr/>
          </p:nvSpPr>
          <p:spPr>
            <a:xfrm flipH="1">
              <a:off x="6144394" y="1645625"/>
              <a:ext cx="555359" cy="4164428"/>
            </a:xfrm>
            <a:custGeom>
              <a:avLst/>
              <a:gdLst>
                <a:gd name="connsiteX0" fmla="*/ 0 w 714375"/>
                <a:gd name="connsiteY0" fmla="*/ 0 h 3114675"/>
                <a:gd name="connsiteX1" fmla="*/ 714375 w 714375"/>
                <a:gd name="connsiteY1" fmla="*/ 0 h 3114675"/>
                <a:gd name="connsiteX2" fmla="*/ 714375 w 714375"/>
                <a:gd name="connsiteY2" fmla="*/ 311467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4375" h="3114675">
                  <a:moveTo>
                    <a:pt x="0" y="0"/>
                  </a:moveTo>
                  <a:lnTo>
                    <a:pt x="714375" y="0"/>
                  </a:lnTo>
                  <a:lnTo>
                    <a:pt x="714375" y="3114675"/>
                  </a:lnTo>
                </a:path>
              </a:pathLst>
            </a:custGeom>
            <a:noFill/>
            <a:ln w="9525">
              <a:solidFill>
                <a:srgbClr val="1951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80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56E76D76-A870-05C7-78C8-350AC373DB84}"/>
              </a:ext>
            </a:extLst>
          </p:cNvPr>
          <p:cNvSpPr>
            <a:spLocks/>
          </p:cNvSpPr>
          <p:nvPr/>
        </p:nvSpPr>
        <p:spPr>
          <a:xfrm>
            <a:off x="732263" y="1229252"/>
            <a:ext cx="5034287" cy="489754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IN" sz="1600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5F37194-C9B3-A39A-B7DF-4B6997E2F1C5}"/>
              </a:ext>
            </a:extLst>
          </p:cNvPr>
          <p:cNvSpPr>
            <a:spLocks/>
          </p:cNvSpPr>
          <p:nvPr/>
        </p:nvSpPr>
        <p:spPr>
          <a:xfrm>
            <a:off x="6425452" y="1229252"/>
            <a:ext cx="5034287" cy="489754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IN" sz="1600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9" name="Shape1_20210427_203713">
            <a:extLst>
              <a:ext uri="{FF2B5EF4-FFF2-40B4-BE49-F238E27FC236}">
                <a16:creationId xmlns:a16="http://schemas.microsoft.com/office/drawing/2014/main" id="{1D97391F-4301-8820-907F-17598136359D}"/>
              </a:ext>
            </a:extLst>
          </p:cNvPr>
          <p:cNvSpPr/>
          <p:nvPr/>
        </p:nvSpPr>
        <p:spPr>
          <a:xfrm>
            <a:off x="1440367" y="212687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0" name="Shape0_20220517_164050">
            <a:extLst>
              <a:ext uri="{FF2B5EF4-FFF2-40B4-BE49-F238E27FC236}">
                <a16:creationId xmlns:a16="http://schemas.microsoft.com/office/drawing/2014/main" id="{CBBD400E-E03F-9325-26D6-025DB772F068}"/>
              </a:ext>
            </a:extLst>
          </p:cNvPr>
          <p:cNvSpPr/>
          <p:nvPr/>
        </p:nvSpPr>
        <p:spPr>
          <a:xfrm>
            <a:off x="732261" y="1994107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rgbClr val="C6C6C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1E3F48B2-B21D-47E1-C993-65E7F4D3BF93}"/>
              </a:ext>
            </a:extLst>
          </p:cNvPr>
          <p:cNvSpPr/>
          <p:nvPr/>
        </p:nvSpPr>
        <p:spPr>
          <a:xfrm>
            <a:off x="844587" y="2140728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2" name="Shape0_20210427_203713">
            <a:extLst>
              <a:ext uri="{FF2B5EF4-FFF2-40B4-BE49-F238E27FC236}">
                <a16:creationId xmlns:a16="http://schemas.microsoft.com/office/drawing/2014/main" id="{B6B049CA-CAA2-3ECD-F4D9-093D319A23F9}"/>
              </a:ext>
            </a:extLst>
          </p:cNvPr>
          <p:cNvSpPr/>
          <p:nvPr/>
        </p:nvSpPr>
        <p:spPr>
          <a:xfrm>
            <a:off x="7129247" y="212687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3" name="Shape1_20220517_164050">
            <a:extLst>
              <a:ext uri="{FF2B5EF4-FFF2-40B4-BE49-F238E27FC236}">
                <a16:creationId xmlns:a16="http://schemas.microsoft.com/office/drawing/2014/main" id="{5ECA75D2-4854-57E1-9B41-EE93FD4E8236}"/>
              </a:ext>
            </a:extLst>
          </p:cNvPr>
          <p:cNvSpPr/>
          <p:nvPr/>
        </p:nvSpPr>
        <p:spPr>
          <a:xfrm>
            <a:off x="6425451" y="1994107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rgbClr val="C6C6C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FE20AC0C-DC3F-FBE9-9771-308FBE002D0A}"/>
              </a:ext>
            </a:extLst>
          </p:cNvPr>
          <p:cNvSpPr/>
          <p:nvPr/>
        </p:nvSpPr>
        <p:spPr>
          <a:xfrm>
            <a:off x="6537775" y="2140728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5" name="Shape4_20210427_203713">
            <a:extLst>
              <a:ext uri="{FF2B5EF4-FFF2-40B4-BE49-F238E27FC236}">
                <a16:creationId xmlns:a16="http://schemas.microsoft.com/office/drawing/2014/main" id="{C3604D46-DA28-2EB0-77BD-340749E28E19}"/>
              </a:ext>
            </a:extLst>
          </p:cNvPr>
          <p:cNvSpPr/>
          <p:nvPr/>
        </p:nvSpPr>
        <p:spPr>
          <a:xfrm>
            <a:off x="1440367" y="407980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6" name="Shape2_20220517_164050">
            <a:extLst>
              <a:ext uri="{FF2B5EF4-FFF2-40B4-BE49-F238E27FC236}">
                <a16:creationId xmlns:a16="http://schemas.microsoft.com/office/drawing/2014/main" id="{EA1DC5CF-9741-25A0-552A-C6811BB9F7CE}"/>
              </a:ext>
            </a:extLst>
          </p:cNvPr>
          <p:cNvSpPr/>
          <p:nvPr/>
        </p:nvSpPr>
        <p:spPr>
          <a:xfrm>
            <a:off x="732261" y="3947032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rgbClr val="C6C6C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791E62FF-8EE7-11E1-F7DC-1AD5A2CAC92B}"/>
              </a:ext>
            </a:extLst>
          </p:cNvPr>
          <p:cNvSpPr/>
          <p:nvPr/>
        </p:nvSpPr>
        <p:spPr>
          <a:xfrm>
            <a:off x="844587" y="4093657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8" name="Shape7_20210427_203713">
            <a:extLst>
              <a:ext uri="{FF2B5EF4-FFF2-40B4-BE49-F238E27FC236}">
                <a16:creationId xmlns:a16="http://schemas.microsoft.com/office/drawing/2014/main" id="{776F2F20-B4C3-819C-96DE-1326B237ECBE}"/>
              </a:ext>
            </a:extLst>
          </p:cNvPr>
          <p:cNvSpPr/>
          <p:nvPr/>
        </p:nvSpPr>
        <p:spPr>
          <a:xfrm>
            <a:off x="7129247" y="407980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9" name="Shape3_20220517_164050">
            <a:extLst>
              <a:ext uri="{FF2B5EF4-FFF2-40B4-BE49-F238E27FC236}">
                <a16:creationId xmlns:a16="http://schemas.microsoft.com/office/drawing/2014/main" id="{5EB103EE-DBEA-A9EB-A312-074F04EA5C17}"/>
              </a:ext>
            </a:extLst>
          </p:cNvPr>
          <p:cNvSpPr/>
          <p:nvPr/>
        </p:nvSpPr>
        <p:spPr>
          <a:xfrm>
            <a:off x="6425451" y="3947032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rgbClr val="C6C6C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6E332FF1-7B82-C818-69D1-5F4BDCBD8527}"/>
              </a:ext>
            </a:extLst>
          </p:cNvPr>
          <p:cNvSpPr/>
          <p:nvPr/>
        </p:nvSpPr>
        <p:spPr>
          <a:xfrm>
            <a:off x="6537775" y="4093657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14304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343F99-B955-A573-D480-9DD912F9A2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2B30BD7-29D8-5411-9A11-5A5697B55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B30BD7-29D8-5411-9A11-5A5697B55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C7BF250-9115-A048-71E3-E3CFECD6A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EF50AE4-1818-CC47-1664-B3027CCD97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358573672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3E1DE1-0AE2-92C3-95F7-5156E685F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474C144-01E6-753C-16FD-49A0BA7B18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74C144-01E6-753C-16FD-49A0BA7B18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98385A-E3F5-4B5A-DAEE-599C0458D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63A4D15-77A8-6596-368F-DB33D3015B8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9B02CD-1763-F196-1153-A87AAF4DE171}"/>
              </a:ext>
            </a:extLst>
          </p:cNvPr>
          <p:cNvSpPr txBox="1">
            <a:spLocks/>
          </p:cNvSpPr>
          <p:nvPr/>
        </p:nvSpPr>
        <p:spPr>
          <a:xfrm>
            <a:off x="690925" y="1824451"/>
            <a:ext cx="2421783" cy="332383"/>
          </a:xfrm>
          <a:prstGeom prst="rect">
            <a:avLst/>
          </a:prstGeom>
          <a:noFill/>
        </p:spPr>
        <p:txBody>
          <a:bodyPr vert="horz" lIns="54848" tIns="27424" rIns="54848" bIns="27424" rtlCol="0" anchor="ctr">
            <a:spAutoFit/>
          </a:bodyPr>
          <a:lstStyle/>
          <a:p>
            <a:pPr>
              <a:buSzPct val="100000"/>
            </a:pPr>
            <a:r>
              <a:rPr lang="en-US" dirty="0"/>
              <a:t>Insert Text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4D2FF4-359D-B74E-CC4D-A0AFA9DFEAD8}"/>
              </a:ext>
            </a:extLst>
          </p:cNvPr>
          <p:cNvSpPr txBox="1">
            <a:spLocks/>
          </p:cNvSpPr>
          <p:nvPr/>
        </p:nvSpPr>
        <p:spPr>
          <a:xfrm>
            <a:off x="3191120" y="1778310"/>
            <a:ext cx="1513212" cy="424667"/>
          </a:xfrm>
          <a:prstGeom prst="rect">
            <a:avLst/>
          </a:prstGeom>
          <a:noFill/>
        </p:spPr>
        <p:txBody>
          <a:bodyPr vert="horz" wrap="none" lIns="54848" tIns="27424" rIns="54848" bIns="27424" rtlCol="0" anchor="ctr">
            <a:noAutofit/>
          </a:bodyPr>
          <a:lstStyle/>
          <a:p>
            <a:pPr>
              <a:buSzPct val="100000"/>
            </a:pPr>
            <a:r>
              <a:rPr lang="en-IN" b="1">
                <a:solidFill>
                  <a:schemeClr val="accent1"/>
                </a:solidFill>
              </a:rPr>
              <a:t>Title</a:t>
            </a: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0C015588-3E01-270A-56C2-39157BABE540}"/>
              </a:ext>
            </a:extLst>
          </p:cNvPr>
          <p:cNvSpPr/>
          <p:nvPr/>
        </p:nvSpPr>
        <p:spPr>
          <a:xfrm rot="2700000">
            <a:off x="4981954" y="1419764"/>
            <a:ext cx="1141755" cy="1141760"/>
          </a:xfrm>
          <a:custGeom>
            <a:avLst/>
            <a:gdLst>
              <a:gd name="connsiteX0" fmla="*/ 59274 w 1214203"/>
              <a:gd name="connsiteY0" fmla="*/ 59274 h 1214204"/>
              <a:gd name="connsiteX1" fmla="*/ 202371 w 1214203"/>
              <a:gd name="connsiteY1" fmla="*/ 0 h 1214204"/>
              <a:gd name="connsiteX2" fmla="*/ 1011832 w 1214203"/>
              <a:gd name="connsiteY2" fmla="*/ 1 h 1214204"/>
              <a:gd name="connsiteX3" fmla="*/ 1214203 w 1214203"/>
              <a:gd name="connsiteY3" fmla="*/ 202372 h 1214204"/>
              <a:gd name="connsiteX4" fmla="*/ 1214203 w 1214203"/>
              <a:gd name="connsiteY4" fmla="*/ 1011833 h 1214204"/>
              <a:gd name="connsiteX5" fmla="*/ 1011832 w 1214203"/>
              <a:gd name="connsiteY5" fmla="*/ 1214204 h 1214204"/>
              <a:gd name="connsiteX6" fmla="*/ 202371 w 1214203"/>
              <a:gd name="connsiteY6" fmla="*/ 1214204 h 1214204"/>
              <a:gd name="connsiteX7" fmla="*/ 0 w 1214203"/>
              <a:gd name="connsiteY7" fmla="*/ 1011833 h 1214204"/>
              <a:gd name="connsiteX8" fmla="*/ 0 w 1214203"/>
              <a:gd name="connsiteY8" fmla="*/ 202371 h 1214204"/>
              <a:gd name="connsiteX9" fmla="*/ 59274 w 1214203"/>
              <a:gd name="connsiteY9" fmla="*/ 59274 h 1214204"/>
              <a:gd name="connsiteX10" fmla="*/ 121790 w 1214203"/>
              <a:gd name="connsiteY10" fmla="*/ 121791 h 1214204"/>
              <a:gd name="connsiteX11" fmla="*/ 69281 w 1214203"/>
              <a:gd name="connsiteY11" fmla="*/ 248559 h 1214204"/>
              <a:gd name="connsiteX12" fmla="*/ 69281 w 1214203"/>
              <a:gd name="connsiteY12" fmla="*/ 965646 h 1214204"/>
              <a:gd name="connsiteX13" fmla="*/ 248556 w 1214203"/>
              <a:gd name="connsiteY13" fmla="*/ 1144922 h 1214204"/>
              <a:gd name="connsiteX14" fmla="*/ 965645 w 1214203"/>
              <a:gd name="connsiteY14" fmla="*/ 1144923 h 1214204"/>
              <a:gd name="connsiteX15" fmla="*/ 1144922 w 1214203"/>
              <a:gd name="connsiteY15" fmla="*/ 965646 h 1214204"/>
              <a:gd name="connsiteX16" fmla="*/ 1144920 w 1214203"/>
              <a:gd name="connsiteY16" fmla="*/ 248558 h 1214204"/>
              <a:gd name="connsiteX17" fmla="*/ 965644 w 1214203"/>
              <a:gd name="connsiteY17" fmla="*/ 69283 h 1214204"/>
              <a:gd name="connsiteX18" fmla="*/ 248558 w 1214203"/>
              <a:gd name="connsiteY18" fmla="*/ 69283 h 1214204"/>
              <a:gd name="connsiteX19" fmla="*/ 121790 w 1214203"/>
              <a:gd name="connsiteY19" fmla="*/ 121791 h 121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4203" h="1214204">
                <a:moveTo>
                  <a:pt x="59274" y="59274"/>
                </a:moveTo>
                <a:cubicBezTo>
                  <a:pt x="95895" y="22652"/>
                  <a:pt x="146488" y="1"/>
                  <a:pt x="202371" y="0"/>
                </a:cubicBezTo>
                <a:lnTo>
                  <a:pt x="1011832" y="1"/>
                </a:lnTo>
                <a:cubicBezTo>
                  <a:pt x="1123598" y="0"/>
                  <a:pt x="1214203" y="90605"/>
                  <a:pt x="1214203" y="202372"/>
                </a:cubicBezTo>
                <a:lnTo>
                  <a:pt x="1214203" y="1011833"/>
                </a:lnTo>
                <a:cubicBezTo>
                  <a:pt x="1214202" y="1123599"/>
                  <a:pt x="1123597" y="1214204"/>
                  <a:pt x="1011832" y="1214204"/>
                </a:cubicBezTo>
                <a:lnTo>
                  <a:pt x="202371" y="1214204"/>
                </a:lnTo>
                <a:cubicBezTo>
                  <a:pt x="90605" y="1214204"/>
                  <a:pt x="0" y="1123599"/>
                  <a:pt x="0" y="1011833"/>
                </a:cubicBezTo>
                <a:lnTo>
                  <a:pt x="0" y="202371"/>
                </a:lnTo>
                <a:cubicBezTo>
                  <a:pt x="0" y="146489"/>
                  <a:pt x="22651" y="95896"/>
                  <a:pt x="59274" y="59274"/>
                </a:cubicBezTo>
                <a:close/>
                <a:moveTo>
                  <a:pt x="121790" y="121791"/>
                </a:moveTo>
                <a:cubicBezTo>
                  <a:pt x="89348" y="154234"/>
                  <a:pt x="69281" y="199054"/>
                  <a:pt x="69281" y="248559"/>
                </a:cubicBezTo>
                <a:lnTo>
                  <a:pt x="69281" y="965646"/>
                </a:lnTo>
                <a:cubicBezTo>
                  <a:pt x="69280" y="1064656"/>
                  <a:pt x="149545" y="1144923"/>
                  <a:pt x="248556" y="1144922"/>
                </a:cubicBezTo>
                <a:lnTo>
                  <a:pt x="965645" y="1144923"/>
                </a:lnTo>
                <a:cubicBezTo>
                  <a:pt x="1064656" y="1144922"/>
                  <a:pt x="1144920" y="1064657"/>
                  <a:pt x="1144922" y="965646"/>
                </a:cubicBezTo>
                <a:lnTo>
                  <a:pt x="1144920" y="248558"/>
                </a:lnTo>
                <a:cubicBezTo>
                  <a:pt x="1144920" y="149548"/>
                  <a:pt x="1064655" y="69283"/>
                  <a:pt x="965644" y="69283"/>
                </a:cubicBezTo>
                <a:lnTo>
                  <a:pt x="248558" y="69283"/>
                </a:lnTo>
                <a:cubicBezTo>
                  <a:pt x="199052" y="69283"/>
                  <a:pt x="154232" y="89347"/>
                  <a:pt x="121790" y="1217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E0CDEF27-7D73-0EC7-EB70-980F949A1638}"/>
              </a:ext>
            </a:extLst>
          </p:cNvPr>
          <p:cNvSpPr/>
          <p:nvPr/>
        </p:nvSpPr>
        <p:spPr>
          <a:xfrm rot="2700000">
            <a:off x="5139278" y="1577090"/>
            <a:ext cx="827101" cy="827106"/>
          </a:xfrm>
          <a:custGeom>
            <a:avLst/>
            <a:gdLst>
              <a:gd name="connsiteX0" fmla="*/ 42938 w 879584"/>
              <a:gd name="connsiteY0" fmla="*/ 42939 h 879585"/>
              <a:gd name="connsiteX1" fmla="*/ 146601 w 879584"/>
              <a:gd name="connsiteY1" fmla="*/ 1 h 879585"/>
              <a:gd name="connsiteX2" fmla="*/ 732983 w 879584"/>
              <a:gd name="connsiteY2" fmla="*/ 0 h 879585"/>
              <a:gd name="connsiteX3" fmla="*/ 879584 w 879584"/>
              <a:gd name="connsiteY3" fmla="*/ 146601 h 879585"/>
              <a:gd name="connsiteX4" fmla="*/ 879584 w 879584"/>
              <a:gd name="connsiteY4" fmla="*/ 732984 h 879585"/>
              <a:gd name="connsiteX5" fmla="*/ 732983 w 879584"/>
              <a:gd name="connsiteY5" fmla="*/ 879585 h 879585"/>
              <a:gd name="connsiteX6" fmla="*/ 146601 w 879584"/>
              <a:gd name="connsiteY6" fmla="*/ 879584 h 879585"/>
              <a:gd name="connsiteX7" fmla="*/ 0 w 879584"/>
              <a:gd name="connsiteY7" fmla="*/ 732983 h 879585"/>
              <a:gd name="connsiteX8" fmla="*/ 0 w 879584"/>
              <a:gd name="connsiteY8" fmla="*/ 146602 h 879585"/>
              <a:gd name="connsiteX9" fmla="*/ 42938 w 879584"/>
              <a:gd name="connsiteY9" fmla="*/ 42939 h 879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9584" h="879585">
                <a:moveTo>
                  <a:pt x="42938" y="42939"/>
                </a:moveTo>
                <a:cubicBezTo>
                  <a:pt x="69468" y="16410"/>
                  <a:pt x="106119" y="1"/>
                  <a:pt x="146601" y="1"/>
                </a:cubicBezTo>
                <a:lnTo>
                  <a:pt x="732983" y="0"/>
                </a:lnTo>
                <a:cubicBezTo>
                  <a:pt x="813950" y="1"/>
                  <a:pt x="879584" y="65636"/>
                  <a:pt x="879584" y="146601"/>
                </a:cubicBezTo>
                <a:lnTo>
                  <a:pt x="879584" y="732984"/>
                </a:lnTo>
                <a:cubicBezTo>
                  <a:pt x="879584" y="813950"/>
                  <a:pt x="813949" y="879585"/>
                  <a:pt x="732983" y="879585"/>
                </a:cubicBezTo>
                <a:lnTo>
                  <a:pt x="146601" y="879584"/>
                </a:lnTo>
                <a:cubicBezTo>
                  <a:pt x="65635" y="879583"/>
                  <a:pt x="1" y="813950"/>
                  <a:pt x="0" y="732983"/>
                </a:cubicBezTo>
                <a:lnTo>
                  <a:pt x="0" y="146602"/>
                </a:lnTo>
                <a:cubicBezTo>
                  <a:pt x="0" y="106119"/>
                  <a:pt x="16408" y="69469"/>
                  <a:pt x="42938" y="429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3970413-40A8-BBEB-D09C-7EBB103028B6}"/>
              </a:ext>
            </a:extLst>
          </p:cNvPr>
          <p:cNvCxnSpPr>
            <a:cxnSpLocks/>
          </p:cNvCxnSpPr>
          <p:nvPr/>
        </p:nvCxnSpPr>
        <p:spPr>
          <a:xfrm flipH="1">
            <a:off x="1" y="2709510"/>
            <a:ext cx="553203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6B54105-977B-76F4-205E-B3FE7BB471B7}"/>
              </a:ext>
            </a:extLst>
          </p:cNvPr>
          <p:cNvCxnSpPr>
            <a:cxnSpLocks/>
          </p:cNvCxnSpPr>
          <p:nvPr/>
        </p:nvCxnSpPr>
        <p:spPr>
          <a:xfrm flipH="1">
            <a:off x="1" y="4984731"/>
            <a:ext cx="5532034" cy="305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 18">
            <a:extLst>
              <a:ext uri="{FF2B5EF4-FFF2-40B4-BE49-F238E27FC236}">
                <a16:creationId xmlns:a16="http://schemas.microsoft.com/office/drawing/2014/main" id="{60E6F7E0-9FF6-257F-B919-FD92419DA35F}"/>
              </a:ext>
            </a:extLst>
          </p:cNvPr>
          <p:cNvSpPr/>
          <p:nvPr/>
        </p:nvSpPr>
        <p:spPr>
          <a:xfrm rot="2700000">
            <a:off x="4981954" y="3701856"/>
            <a:ext cx="1141755" cy="1141760"/>
          </a:xfrm>
          <a:custGeom>
            <a:avLst/>
            <a:gdLst>
              <a:gd name="connsiteX0" fmla="*/ 59274 w 1214203"/>
              <a:gd name="connsiteY0" fmla="*/ 59274 h 1214204"/>
              <a:gd name="connsiteX1" fmla="*/ 202371 w 1214203"/>
              <a:gd name="connsiteY1" fmla="*/ 0 h 1214204"/>
              <a:gd name="connsiteX2" fmla="*/ 1011832 w 1214203"/>
              <a:gd name="connsiteY2" fmla="*/ 1 h 1214204"/>
              <a:gd name="connsiteX3" fmla="*/ 1214203 w 1214203"/>
              <a:gd name="connsiteY3" fmla="*/ 202372 h 1214204"/>
              <a:gd name="connsiteX4" fmla="*/ 1214203 w 1214203"/>
              <a:gd name="connsiteY4" fmla="*/ 1011833 h 1214204"/>
              <a:gd name="connsiteX5" fmla="*/ 1011832 w 1214203"/>
              <a:gd name="connsiteY5" fmla="*/ 1214204 h 1214204"/>
              <a:gd name="connsiteX6" fmla="*/ 202371 w 1214203"/>
              <a:gd name="connsiteY6" fmla="*/ 1214204 h 1214204"/>
              <a:gd name="connsiteX7" fmla="*/ 0 w 1214203"/>
              <a:gd name="connsiteY7" fmla="*/ 1011833 h 1214204"/>
              <a:gd name="connsiteX8" fmla="*/ 0 w 1214203"/>
              <a:gd name="connsiteY8" fmla="*/ 202371 h 1214204"/>
              <a:gd name="connsiteX9" fmla="*/ 59274 w 1214203"/>
              <a:gd name="connsiteY9" fmla="*/ 59274 h 1214204"/>
              <a:gd name="connsiteX10" fmla="*/ 121790 w 1214203"/>
              <a:gd name="connsiteY10" fmla="*/ 121791 h 1214204"/>
              <a:gd name="connsiteX11" fmla="*/ 69281 w 1214203"/>
              <a:gd name="connsiteY11" fmla="*/ 248559 h 1214204"/>
              <a:gd name="connsiteX12" fmla="*/ 69281 w 1214203"/>
              <a:gd name="connsiteY12" fmla="*/ 965646 h 1214204"/>
              <a:gd name="connsiteX13" fmla="*/ 248556 w 1214203"/>
              <a:gd name="connsiteY13" fmla="*/ 1144922 h 1214204"/>
              <a:gd name="connsiteX14" fmla="*/ 965645 w 1214203"/>
              <a:gd name="connsiteY14" fmla="*/ 1144923 h 1214204"/>
              <a:gd name="connsiteX15" fmla="*/ 1144922 w 1214203"/>
              <a:gd name="connsiteY15" fmla="*/ 965646 h 1214204"/>
              <a:gd name="connsiteX16" fmla="*/ 1144920 w 1214203"/>
              <a:gd name="connsiteY16" fmla="*/ 248558 h 1214204"/>
              <a:gd name="connsiteX17" fmla="*/ 965644 w 1214203"/>
              <a:gd name="connsiteY17" fmla="*/ 69283 h 1214204"/>
              <a:gd name="connsiteX18" fmla="*/ 248558 w 1214203"/>
              <a:gd name="connsiteY18" fmla="*/ 69283 h 1214204"/>
              <a:gd name="connsiteX19" fmla="*/ 121790 w 1214203"/>
              <a:gd name="connsiteY19" fmla="*/ 121791 h 121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4203" h="1214204">
                <a:moveTo>
                  <a:pt x="59274" y="59274"/>
                </a:moveTo>
                <a:cubicBezTo>
                  <a:pt x="95895" y="22652"/>
                  <a:pt x="146488" y="1"/>
                  <a:pt x="202371" y="0"/>
                </a:cubicBezTo>
                <a:lnTo>
                  <a:pt x="1011832" y="1"/>
                </a:lnTo>
                <a:cubicBezTo>
                  <a:pt x="1123598" y="0"/>
                  <a:pt x="1214203" y="90605"/>
                  <a:pt x="1214203" y="202372"/>
                </a:cubicBezTo>
                <a:lnTo>
                  <a:pt x="1214203" y="1011833"/>
                </a:lnTo>
                <a:cubicBezTo>
                  <a:pt x="1214202" y="1123599"/>
                  <a:pt x="1123597" y="1214204"/>
                  <a:pt x="1011832" y="1214204"/>
                </a:cubicBezTo>
                <a:lnTo>
                  <a:pt x="202371" y="1214204"/>
                </a:lnTo>
                <a:cubicBezTo>
                  <a:pt x="90605" y="1214204"/>
                  <a:pt x="0" y="1123599"/>
                  <a:pt x="0" y="1011833"/>
                </a:cubicBezTo>
                <a:lnTo>
                  <a:pt x="0" y="202371"/>
                </a:lnTo>
                <a:cubicBezTo>
                  <a:pt x="0" y="146489"/>
                  <a:pt x="22651" y="95896"/>
                  <a:pt x="59274" y="59274"/>
                </a:cubicBezTo>
                <a:close/>
                <a:moveTo>
                  <a:pt x="121790" y="121791"/>
                </a:moveTo>
                <a:cubicBezTo>
                  <a:pt x="89348" y="154234"/>
                  <a:pt x="69281" y="199054"/>
                  <a:pt x="69281" y="248559"/>
                </a:cubicBezTo>
                <a:lnTo>
                  <a:pt x="69281" y="965646"/>
                </a:lnTo>
                <a:cubicBezTo>
                  <a:pt x="69280" y="1064656"/>
                  <a:pt x="149545" y="1144923"/>
                  <a:pt x="248556" y="1144922"/>
                </a:cubicBezTo>
                <a:lnTo>
                  <a:pt x="965645" y="1144923"/>
                </a:lnTo>
                <a:cubicBezTo>
                  <a:pt x="1064656" y="1144922"/>
                  <a:pt x="1144920" y="1064657"/>
                  <a:pt x="1144922" y="965646"/>
                </a:cubicBezTo>
                <a:lnTo>
                  <a:pt x="1144920" y="248558"/>
                </a:lnTo>
                <a:cubicBezTo>
                  <a:pt x="1144920" y="149548"/>
                  <a:pt x="1064655" y="69283"/>
                  <a:pt x="965644" y="69283"/>
                </a:cubicBezTo>
                <a:lnTo>
                  <a:pt x="248558" y="69283"/>
                </a:lnTo>
                <a:cubicBezTo>
                  <a:pt x="199052" y="69283"/>
                  <a:pt x="154232" y="89347"/>
                  <a:pt x="121790" y="12179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13" name="Freeform 19">
            <a:extLst>
              <a:ext uri="{FF2B5EF4-FFF2-40B4-BE49-F238E27FC236}">
                <a16:creationId xmlns:a16="http://schemas.microsoft.com/office/drawing/2014/main" id="{4F378FED-DB4E-7B0B-D0F2-5337BD03CAD8}"/>
              </a:ext>
            </a:extLst>
          </p:cNvPr>
          <p:cNvSpPr/>
          <p:nvPr/>
        </p:nvSpPr>
        <p:spPr>
          <a:xfrm rot="2700000">
            <a:off x="5139278" y="3859182"/>
            <a:ext cx="827101" cy="827106"/>
          </a:xfrm>
          <a:custGeom>
            <a:avLst/>
            <a:gdLst>
              <a:gd name="connsiteX0" fmla="*/ 42938 w 879584"/>
              <a:gd name="connsiteY0" fmla="*/ 42939 h 879585"/>
              <a:gd name="connsiteX1" fmla="*/ 146601 w 879584"/>
              <a:gd name="connsiteY1" fmla="*/ 1 h 879585"/>
              <a:gd name="connsiteX2" fmla="*/ 732983 w 879584"/>
              <a:gd name="connsiteY2" fmla="*/ 0 h 879585"/>
              <a:gd name="connsiteX3" fmla="*/ 879584 w 879584"/>
              <a:gd name="connsiteY3" fmla="*/ 146601 h 879585"/>
              <a:gd name="connsiteX4" fmla="*/ 879584 w 879584"/>
              <a:gd name="connsiteY4" fmla="*/ 732984 h 879585"/>
              <a:gd name="connsiteX5" fmla="*/ 732983 w 879584"/>
              <a:gd name="connsiteY5" fmla="*/ 879585 h 879585"/>
              <a:gd name="connsiteX6" fmla="*/ 146601 w 879584"/>
              <a:gd name="connsiteY6" fmla="*/ 879584 h 879585"/>
              <a:gd name="connsiteX7" fmla="*/ 0 w 879584"/>
              <a:gd name="connsiteY7" fmla="*/ 732983 h 879585"/>
              <a:gd name="connsiteX8" fmla="*/ 0 w 879584"/>
              <a:gd name="connsiteY8" fmla="*/ 146602 h 879585"/>
              <a:gd name="connsiteX9" fmla="*/ 42938 w 879584"/>
              <a:gd name="connsiteY9" fmla="*/ 42939 h 879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9584" h="879585">
                <a:moveTo>
                  <a:pt x="42938" y="42939"/>
                </a:moveTo>
                <a:cubicBezTo>
                  <a:pt x="69468" y="16410"/>
                  <a:pt x="106119" y="1"/>
                  <a:pt x="146601" y="1"/>
                </a:cubicBezTo>
                <a:lnTo>
                  <a:pt x="732983" y="0"/>
                </a:lnTo>
                <a:cubicBezTo>
                  <a:pt x="813950" y="1"/>
                  <a:pt x="879584" y="65636"/>
                  <a:pt x="879584" y="146601"/>
                </a:cubicBezTo>
                <a:lnTo>
                  <a:pt x="879584" y="732984"/>
                </a:lnTo>
                <a:cubicBezTo>
                  <a:pt x="879584" y="813950"/>
                  <a:pt x="813949" y="879585"/>
                  <a:pt x="732983" y="879585"/>
                </a:cubicBezTo>
                <a:lnTo>
                  <a:pt x="146601" y="879584"/>
                </a:lnTo>
                <a:cubicBezTo>
                  <a:pt x="65635" y="879583"/>
                  <a:pt x="1" y="813950"/>
                  <a:pt x="0" y="732983"/>
                </a:cubicBezTo>
                <a:lnTo>
                  <a:pt x="0" y="146602"/>
                </a:lnTo>
                <a:cubicBezTo>
                  <a:pt x="0" y="106119"/>
                  <a:pt x="16408" y="69469"/>
                  <a:pt x="42938" y="4293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8E1DFAC-DBB7-9B8B-D34D-AC08B7E416BE}"/>
              </a:ext>
            </a:extLst>
          </p:cNvPr>
          <p:cNvSpPr txBox="1">
            <a:spLocks/>
          </p:cNvSpPr>
          <p:nvPr/>
        </p:nvSpPr>
        <p:spPr>
          <a:xfrm>
            <a:off x="3191120" y="4083461"/>
            <a:ext cx="1513212" cy="378549"/>
          </a:xfrm>
          <a:prstGeom prst="rect">
            <a:avLst/>
          </a:prstGeom>
          <a:noFill/>
        </p:spPr>
        <p:txBody>
          <a:bodyPr vert="horz" wrap="square" lIns="54848" tIns="27424" rIns="54848" bIns="27424" rtlCol="0">
            <a:noAutofit/>
          </a:bodyPr>
          <a:lstStyle/>
          <a:p>
            <a:pPr>
              <a:buSzPct val="100000"/>
            </a:pPr>
            <a:r>
              <a:rPr lang="en-IN" b="1">
                <a:solidFill>
                  <a:schemeClr val="accent4"/>
                </a:solidFill>
              </a:rPr>
              <a:t>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4BB893-AA22-5B8B-0A32-C4B03B5043E9}"/>
              </a:ext>
            </a:extLst>
          </p:cNvPr>
          <p:cNvSpPr txBox="1">
            <a:spLocks/>
          </p:cNvSpPr>
          <p:nvPr/>
        </p:nvSpPr>
        <p:spPr>
          <a:xfrm>
            <a:off x="690925" y="4083461"/>
            <a:ext cx="2421783" cy="332383"/>
          </a:xfrm>
          <a:prstGeom prst="rect">
            <a:avLst/>
          </a:prstGeom>
          <a:noFill/>
        </p:spPr>
        <p:txBody>
          <a:bodyPr vert="horz" lIns="54848" tIns="27424" rIns="54848" bIns="27424" rtlCol="0">
            <a:spAutoFit/>
          </a:bodyPr>
          <a:lstStyle/>
          <a:p>
            <a:pPr>
              <a:buSzPct val="100000"/>
            </a:pPr>
            <a:r>
              <a:rPr lang="en-US" dirty="0"/>
              <a:t>Insert Text He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FBBFAAD-B8D3-6CAE-72C1-4C51DE425C97}"/>
              </a:ext>
            </a:extLst>
          </p:cNvPr>
          <p:cNvSpPr/>
          <p:nvPr/>
        </p:nvSpPr>
        <p:spPr>
          <a:xfrm rot="2724070">
            <a:off x="5874284" y="2405392"/>
            <a:ext cx="477109" cy="2814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17" name="Freeform 166">
            <a:extLst>
              <a:ext uri="{FF2B5EF4-FFF2-40B4-BE49-F238E27FC236}">
                <a16:creationId xmlns:a16="http://schemas.microsoft.com/office/drawing/2014/main" id="{746B1955-B7C3-573B-414E-FF2E2FC4E69F}"/>
              </a:ext>
            </a:extLst>
          </p:cNvPr>
          <p:cNvSpPr>
            <a:spLocks/>
          </p:cNvSpPr>
          <p:nvPr/>
        </p:nvSpPr>
        <p:spPr bwMode="auto">
          <a:xfrm rot="13684439">
            <a:off x="5962079" y="2324484"/>
            <a:ext cx="256501" cy="428779"/>
          </a:xfrm>
          <a:custGeom>
            <a:avLst/>
            <a:gdLst>
              <a:gd name="T0" fmla="*/ 71 w 99"/>
              <a:gd name="T1" fmla="*/ 7 h 166"/>
              <a:gd name="T2" fmla="*/ 5 w 99"/>
              <a:gd name="T3" fmla="*/ 73 h 166"/>
              <a:gd name="T4" fmla="*/ 5 w 99"/>
              <a:gd name="T5" fmla="*/ 93 h 166"/>
              <a:gd name="T6" fmla="*/ 71 w 99"/>
              <a:gd name="T7" fmla="*/ 159 h 166"/>
              <a:gd name="T8" fmla="*/ 91 w 99"/>
              <a:gd name="T9" fmla="*/ 160 h 166"/>
              <a:gd name="T10" fmla="*/ 93 w 99"/>
              <a:gd name="T11" fmla="*/ 158 h 166"/>
              <a:gd name="T12" fmla="*/ 94 w 99"/>
              <a:gd name="T13" fmla="*/ 142 h 166"/>
              <a:gd name="T14" fmla="*/ 45 w 99"/>
              <a:gd name="T15" fmla="*/ 93 h 166"/>
              <a:gd name="T16" fmla="*/ 45 w 99"/>
              <a:gd name="T17" fmla="*/ 73 h 166"/>
              <a:gd name="T18" fmla="*/ 94 w 99"/>
              <a:gd name="T19" fmla="*/ 25 h 166"/>
              <a:gd name="T20" fmla="*/ 93 w 99"/>
              <a:gd name="T21" fmla="*/ 8 h 166"/>
              <a:gd name="T22" fmla="*/ 91 w 99"/>
              <a:gd name="T23" fmla="*/ 6 h 166"/>
              <a:gd name="T24" fmla="*/ 71 w 99"/>
              <a:gd name="T25" fmla="*/ 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9" h="166">
                <a:moveTo>
                  <a:pt x="71" y="7"/>
                </a:moveTo>
                <a:cubicBezTo>
                  <a:pt x="5" y="73"/>
                  <a:pt x="5" y="73"/>
                  <a:pt x="5" y="73"/>
                </a:cubicBezTo>
                <a:cubicBezTo>
                  <a:pt x="0" y="79"/>
                  <a:pt x="0" y="88"/>
                  <a:pt x="5" y="93"/>
                </a:cubicBezTo>
                <a:cubicBezTo>
                  <a:pt x="71" y="159"/>
                  <a:pt x="71" y="159"/>
                  <a:pt x="71" y="159"/>
                </a:cubicBezTo>
                <a:cubicBezTo>
                  <a:pt x="77" y="165"/>
                  <a:pt x="85" y="166"/>
                  <a:pt x="91" y="160"/>
                </a:cubicBezTo>
                <a:cubicBezTo>
                  <a:pt x="93" y="158"/>
                  <a:pt x="93" y="158"/>
                  <a:pt x="93" y="158"/>
                </a:cubicBezTo>
                <a:cubicBezTo>
                  <a:pt x="98" y="152"/>
                  <a:pt x="99" y="146"/>
                  <a:pt x="94" y="142"/>
                </a:cubicBezTo>
                <a:cubicBezTo>
                  <a:pt x="78" y="126"/>
                  <a:pt x="62" y="109"/>
                  <a:pt x="45" y="93"/>
                </a:cubicBezTo>
                <a:cubicBezTo>
                  <a:pt x="40" y="88"/>
                  <a:pt x="40" y="79"/>
                  <a:pt x="45" y="73"/>
                </a:cubicBezTo>
                <a:cubicBezTo>
                  <a:pt x="62" y="57"/>
                  <a:pt x="78" y="41"/>
                  <a:pt x="94" y="25"/>
                </a:cubicBezTo>
                <a:cubicBezTo>
                  <a:pt x="99" y="20"/>
                  <a:pt x="98" y="14"/>
                  <a:pt x="93" y="8"/>
                </a:cubicBezTo>
                <a:cubicBezTo>
                  <a:pt x="91" y="6"/>
                  <a:pt x="91" y="6"/>
                  <a:pt x="91" y="6"/>
                </a:cubicBezTo>
                <a:cubicBezTo>
                  <a:pt x="85" y="0"/>
                  <a:pt x="77" y="1"/>
                  <a:pt x="71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endParaRPr lang="en-GB" sz="7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8F585D2-B4E8-5E4E-3916-BACB4F7AD9A0}"/>
              </a:ext>
            </a:extLst>
          </p:cNvPr>
          <p:cNvSpPr/>
          <p:nvPr/>
        </p:nvSpPr>
        <p:spPr>
          <a:xfrm rot="2724070">
            <a:off x="5874284" y="4687482"/>
            <a:ext cx="477109" cy="2814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19" name="Freeform 166">
            <a:extLst>
              <a:ext uri="{FF2B5EF4-FFF2-40B4-BE49-F238E27FC236}">
                <a16:creationId xmlns:a16="http://schemas.microsoft.com/office/drawing/2014/main" id="{D43BEFBC-9A10-B3DA-4D85-24B75D7D5F14}"/>
              </a:ext>
            </a:extLst>
          </p:cNvPr>
          <p:cNvSpPr>
            <a:spLocks/>
          </p:cNvSpPr>
          <p:nvPr/>
        </p:nvSpPr>
        <p:spPr bwMode="auto">
          <a:xfrm rot="13684439">
            <a:off x="5962079" y="4609544"/>
            <a:ext cx="256501" cy="428779"/>
          </a:xfrm>
          <a:custGeom>
            <a:avLst/>
            <a:gdLst>
              <a:gd name="T0" fmla="*/ 71 w 99"/>
              <a:gd name="T1" fmla="*/ 7 h 166"/>
              <a:gd name="T2" fmla="*/ 5 w 99"/>
              <a:gd name="T3" fmla="*/ 73 h 166"/>
              <a:gd name="T4" fmla="*/ 5 w 99"/>
              <a:gd name="T5" fmla="*/ 93 h 166"/>
              <a:gd name="T6" fmla="*/ 71 w 99"/>
              <a:gd name="T7" fmla="*/ 159 h 166"/>
              <a:gd name="T8" fmla="*/ 91 w 99"/>
              <a:gd name="T9" fmla="*/ 160 h 166"/>
              <a:gd name="T10" fmla="*/ 93 w 99"/>
              <a:gd name="T11" fmla="*/ 158 h 166"/>
              <a:gd name="T12" fmla="*/ 94 w 99"/>
              <a:gd name="T13" fmla="*/ 142 h 166"/>
              <a:gd name="T14" fmla="*/ 45 w 99"/>
              <a:gd name="T15" fmla="*/ 93 h 166"/>
              <a:gd name="T16" fmla="*/ 45 w 99"/>
              <a:gd name="T17" fmla="*/ 73 h 166"/>
              <a:gd name="T18" fmla="*/ 94 w 99"/>
              <a:gd name="T19" fmla="*/ 25 h 166"/>
              <a:gd name="T20" fmla="*/ 93 w 99"/>
              <a:gd name="T21" fmla="*/ 8 h 166"/>
              <a:gd name="T22" fmla="*/ 91 w 99"/>
              <a:gd name="T23" fmla="*/ 6 h 166"/>
              <a:gd name="T24" fmla="*/ 71 w 99"/>
              <a:gd name="T25" fmla="*/ 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9" h="166">
                <a:moveTo>
                  <a:pt x="71" y="7"/>
                </a:moveTo>
                <a:cubicBezTo>
                  <a:pt x="5" y="73"/>
                  <a:pt x="5" y="73"/>
                  <a:pt x="5" y="73"/>
                </a:cubicBezTo>
                <a:cubicBezTo>
                  <a:pt x="0" y="79"/>
                  <a:pt x="0" y="88"/>
                  <a:pt x="5" y="93"/>
                </a:cubicBezTo>
                <a:cubicBezTo>
                  <a:pt x="71" y="159"/>
                  <a:pt x="71" y="159"/>
                  <a:pt x="71" y="159"/>
                </a:cubicBezTo>
                <a:cubicBezTo>
                  <a:pt x="77" y="165"/>
                  <a:pt x="85" y="166"/>
                  <a:pt x="91" y="160"/>
                </a:cubicBezTo>
                <a:cubicBezTo>
                  <a:pt x="93" y="158"/>
                  <a:pt x="93" y="158"/>
                  <a:pt x="93" y="158"/>
                </a:cubicBezTo>
                <a:cubicBezTo>
                  <a:pt x="98" y="152"/>
                  <a:pt x="99" y="146"/>
                  <a:pt x="94" y="142"/>
                </a:cubicBezTo>
                <a:cubicBezTo>
                  <a:pt x="78" y="126"/>
                  <a:pt x="62" y="109"/>
                  <a:pt x="45" y="93"/>
                </a:cubicBezTo>
                <a:cubicBezTo>
                  <a:pt x="40" y="88"/>
                  <a:pt x="40" y="79"/>
                  <a:pt x="45" y="73"/>
                </a:cubicBezTo>
                <a:cubicBezTo>
                  <a:pt x="62" y="57"/>
                  <a:pt x="78" y="41"/>
                  <a:pt x="94" y="25"/>
                </a:cubicBezTo>
                <a:cubicBezTo>
                  <a:pt x="99" y="20"/>
                  <a:pt x="98" y="14"/>
                  <a:pt x="93" y="8"/>
                </a:cubicBezTo>
                <a:cubicBezTo>
                  <a:pt x="91" y="6"/>
                  <a:pt x="91" y="6"/>
                  <a:pt x="91" y="6"/>
                </a:cubicBezTo>
                <a:cubicBezTo>
                  <a:pt x="85" y="0"/>
                  <a:pt x="77" y="1"/>
                  <a:pt x="71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endParaRPr lang="en-GB" sz="7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DF829D-5AD0-EBBA-3B85-850BC5488E53}"/>
              </a:ext>
            </a:extLst>
          </p:cNvPr>
          <p:cNvSpPr/>
          <p:nvPr/>
        </p:nvSpPr>
        <p:spPr>
          <a:xfrm rot="8124070">
            <a:off x="5845130" y="3536279"/>
            <a:ext cx="477110" cy="2814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21" name="Freeform 166">
            <a:extLst>
              <a:ext uri="{FF2B5EF4-FFF2-40B4-BE49-F238E27FC236}">
                <a16:creationId xmlns:a16="http://schemas.microsoft.com/office/drawing/2014/main" id="{80BCCC04-7379-1679-FE0F-665FD222AB17}"/>
              </a:ext>
            </a:extLst>
          </p:cNvPr>
          <p:cNvSpPr>
            <a:spLocks/>
          </p:cNvSpPr>
          <p:nvPr/>
        </p:nvSpPr>
        <p:spPr bwMode="auto">
          <a:xfrm rot="7915561" flipH="1">
            <a:off x="5943032" y="3478816"/>
            <a:ext cx="256501" cy="428779"/>
          </a:xfrm>
          <a:custGeom>
            <a:avLst/>
            <a:gdLst>
              <a:gd name="T0" fmla="*/ 71 w 99"/>
              <a:gd name="T1" fmla="*/ 7 h 166"/>
              <a:gd name="T2" fmla="*/ 5 w 99"/>
              <a:gd name="T3" fmla="*/ 73 h 166"/>
              <a:gd name="T4" fmla="*/ 5 w 99"/>
              <a:gd name="T5" fmla="*/ 93 h 166"/>
              <a:gd name="T6" fmla="*/ 71 w 99"/>
              <a:gd name="T7" fmla="*/ 159 h 166"/>
              <a:gd name="T8" fmla="*/ 91 w 99"/>
              <a:gd name="T9" fmla="*/ 160 h 166"/>
              <a:gd name="T10" fmla="*/ 93 w 99"/>
              <a:gd name="T11" fmla="*/ 158 h 166"/>
              <a:gd name="T12" fmla="*/ 94 w 99"/>
              <a:gd name="T13" fmla="*/ 142 h 166"/>
              <a:gd name="T14" fmla="*/ 45 w 99"/>
              <a:gd name="T15" fmla="*/ 93 h 166"/>
              <a:gd name="T16" fmla="*/ 45 w 99"/>
              <a:gd name="T17" fmla="*/ 73 h 166"/>
              <a:gd name="T18" fmla="*/ 94 w 99"/>
              <a:gd name="T19" fmla="*/ 25 h 166"/>
              <a:gd name="T20" fmla="*/ 93 w 99"/>
              <a:gd name="T21" fmla="*/ 8 h 166"/>
              <a:gd name="T22" fmla="*/ 91 w 99"/>
              <a:gd name="T23" fmla="*/ 6 h 166"/>
              <a:gd name="T24" fmla="*/ 71 w 99"/>
              <a:gd name="T25" fmla="*/ 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9" h="166">
                <a:moveTo>
                  <a:pt x="71" y="7"/>
                </a:moveTo>
                <a:cubicBezTo>
                  <a:pt x="5" y="73"/>
                  <a:pt x="5" y="73"/>
                  <a:pt x="5" y="73"/>
                </a:cubicBezTo>
                <a:cubicBezTo>
                  <a:pt x="0" y="79"/>
                  <a:pt x="0" y="88"/>
                  <a:pt x="5" y="93"/>
                </a:cubicBezTo>
                <a:cubicBezTo>
                  <a:pt x="71" y="159"/>
                  <a:pt x="71" y="159"/>
                  <a:pt x="71" y="159"/>
                </a:cubicBezTo>
                <a:cubicBezTo>
                  <a:pt x="77" y="165"/>
                  <a:pt x="85" y="166"/>
                  <a:pt x="91" y="160"/>
                </a:cubicBezTo>
                <a:cubicBezTo>
                  <a:pt x="93" y="158"/>
                  <a:pt x="93" y="158"/>
                  <a:pt x="93" y="158"/>
                </a:cubicBezTo>
                <a:cubicBezTo>
                  <a:pt x="98" y="152"/>
                  <a:pt x="99" y="146"/>
                  <a:pt x="94" y="142"/>
                </a:cubicBezTo>
                <a:cubicBezTo>
                  <a:pt x="78" y="126"/>
                  <a:pt x="62" y="109"/>
                  <a:pt x="45" y="93"/>
                </a:cubicBezTo>
                <a:cubicBezTo>
                  <a:pt x="40" y="88"/>
                  <a:pt x="40" y="79"/>
                  <a:pt x="45" y="73"/>
                </a:cubicBezTo>
                <a:cubicBezTo>
                  <a:pt x="62" y="57"/>
                  <a:pt x="78" y="41"/>
                  <a:pt x="94" y="25"/>
                </a:cubicBezTo>
                <a:cubicBezTo>
                  <a:pt x="99" y="20"/>
                  <a:pt x="98" y="14"/>
                  <a:pt x="93" y="8"/>
                </a:cubicBezTo>
                <a:cubicBezTo>
                  <a:pt x="91" y="6"/>
                  <a:pt x="91" y="6"/>
                  <a:pt x="91" y="6"/>
                </a:cubicBezTo>
                <a:cubicBezTo>
                  <a:pt x="85" y="0"/>
                  <a:pt x="77" y="1"/>
                  <a:pt x="71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endParaRPr lang="en-GB" sz="700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069AB1D-787F-4119-8EC4-41C6746DD597}"/>
              </a:ext>
            </a:extLst>
          </p:cNvPr>
          <p:cNvCxnSpPr>
            <a:cxnSpLocks/>
          </p:cNvCxnSpPr>
          <p:nvPr/>
        </p:nvCxnSpPr>
        <p:spPr>
          <a:xfrm flipH="1">
            <a:off x="6659966" y="3832926"/>
            <a:ext cx="553203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5DF28583-4228-A454-2715-7D468E082FFE}"/>
              </a:ext>
            </a:extLst>
          </p:cNvPr>
          <p:cNvSpPr txBox="1">
            <a:spLocks/>
          </p:cNvSpPr>
          <p:nvPr/>
        </p:nvSpPr>
        <p:spPr>
          <a:xfrm>
            <a:off x="7452593" y="2927756"/>
            <a:ext cx="1513212" cy="378507"/>
          </a:xfrm>
          <a:prstGeom prst="rect">
            <a:avLst/>
          </a:prstGeom>
          <a:noFill/>
        </p:spPr>
        <p:txBody>
          <a:bodyPr vert="horz" wrap="none" lIns="54848" tIns="27424" rIns="54848" bIns="27424" rtlCol="0">
            <a:noAutofit/>
          </a:bodyPr>
          <a:lstStyle/>
          <a:p>
            <a:pPr>
              <a:buSzPct val="100000"/>
            </a:pPr>
            <a:r>
              <a:rPr lang="en-IN" b="1">
                <a:solidFill>
                  <a:schemeClr val="accent2"/>
                </a:solidFill>
              </a:rPr>
              <a:t>Title</a:t>
            </a:r>
            <a:endParaRPr lang="en-IN" b="1" dirty="0">
              <a:solidFill>
                <a:schemeClr val="accent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396F080-E56A-A4C2-2282-86803551DC99}"/>
              </a:ext>
            </a:extLst>
          </p:cNvPr>
          <p:cNvSpPr txBox="1">
            <a:spLocks/>
          </p:cNvSpPr>
          <p:nvPr/>
        </p:nvSpPr>
        <p:spPr>
          <a:xfrm>
            <a:off x="9275697" y="2927735"/>
            <a:ext cx="2421783" cy="332383"/>
          </a:xfrm>
          <a:prstGeom prst="rect">
            <a:avLst/>
          </a:prstGeom>
          <a:noFill/>
        </p:spPr>
        <p:txBody>
          <a:bodyPr vert="horz" lIns="54848" tIns="27424" rIns="54848" bIns="27424" rtlCol="0">
            <a:spAutoFit/>
          </a:bodyPr>
          <a:lstStyle/>
          <a:p>
            <a:pPr>
              <a:buSzPct val="100000"/>
            </a:pPr>
            <a:r>
              <a:rPr lang="en-US" dirty="0"/>
              <a:t>Insert Text Here</a:t>
            </a:r>
          </a:p>
        </p:txBody>
      </p:sp>
      <p:sp>
        <p:nvSpPr>
          <p:cNvPr id="25" name="Freeform 14">
            <a:extLst>
              <a:ext uri="{FF2B5EF4-FFF2-40B4-BE49-F238E27FC236}">
                <a16:creationId xmlns:a16="http://schemas.microsoft.com/office/drawing/2014/main" id="{2D005962-BCB8-26C6-4520-810E948955CB}"/>
              </a:ext>
            </a:extLst>
          </p:cNvPr>
          <p:cNvSpPr/>
          <p:nvPr/>
        </p:nvSpPr>
        <p:spPr>
          <a:xfrm rot="8100000">
            <a:off x="6068292" y="2546130"/>
            <a:ext cx="1141757" cy="1141758"/>
          </a:xfrm>
          <a:custGeom>
            <a:avLst/>
            <a:gdLst>
              <a:gd name="connsiteX0" fmla="*/ 59274 w 1214203"/>
              <a:gd name="connsiteY0" fmla="*/ 59274 h 1214204"/>
              <a:gd name="connsiteX1" fmla="*/ 202371 w 1214203"/>
              <a:gd name="connsiteY1" fmla="*/ 0 h 1214204"/>
              <a:gd name="connsiteX2" fmla="*/ 1011832 w 1214203"/>
              <a:gd name="connsiteY2" fmla="*/ 1 h 1214204"/>
              <a:gd name="connsiteX3" fmla="*/ 1214203 w 1214203"/>
              <a:gd name="connsiteY3" fmla="*/ 202372 h 1214204"/>
              <a:gd name="connsiteX4" fmla="*/ 1214203 w 1214203"/>
              <a:gd name="connsiteY4" fmla="*/ 1011833 h 1214204"/>
              <a:gd name="connsiteX5" fmla="*/ 1011832 w 1214203"/>
              <a:gd name="connsiteY5" fmla="*/ 1214204 h 1214204"/>
              <a:gd name="connsiteX6" fmla="*/ 202371 w 1214203"/>
              <a:gd name="connsiteY6" fmla="*/ 1214204 h 1214204"/>
              <a:gd name="connsiteX7" fmla="*/ 0 w 1214203"/>
              <a:gd name="connsiteY7" fmla="*/ 1011833 h 1214204"/>
              <a:gd name="connsiteX8" fmla="*/ 0 w 1214203"/>
              <a:gd name="connsiteY8" fmla="*/ 202371 h 1214204"/>
              <a:gd name="connsiteX9" fmla="*/ 59274 w 1214203"/>
              <a:gd name="connsiteY9" fmla="*/ 59274 h 1214204"/>
              <a:gd name="connsiteX10" fmla="*/ 121790 w 1214203"/>
              <a:gd name="connsiteY10" fmla="*/ 121791 h 1214204"/>
              <a:gd name="connsiteX11" fmla="*/ 69281 w 1214203"/>
              <a:gd name="connsiteY11" fmla="*/ 248559 h 1214204"/>
              <a:gd name="connsiteX12" fmla="*/ 69281 w 1214203"/>
              <a:gd name="connsiteY12" fmla="*/ 965646 h 1214204"/>
              <a:gd name="connsiteX13" fmla="*/ 248556 w 1214203"/>
              <a:gd name="connsiteY13" fmla="*/ 1144922 h 1214204"/>
              <a:gd name="connsiteX14" fmla="*/ 965645 w 1214203"/>
              <a:gd name="connsiteY14" fmla="*/ 1144923 h 1214204"/>
              <a:gd name="connsiteX15" fmla="*/ 1144922 w 1214203"/>
              <a:gd name="connsiteY15" fmla="*/ 965646 h 1214204"/>
              <a:gd name="connsiteX16" fmla="*/ 1144920 w 1214203"/>
              <a:gd name="connsiteY16" fmla="*/ 248558 h 1214204"/>
              <a:gd name="connsiteX17" fmla="*/ 965644 w 1214203"/>
              <a:gd name="connsiteY17" fmla="*/ 69283 h 1214204"/>
              <a:gd name="connsiteX18" fmla="*/ 248558 w 1214203"/>
              <a:gd name="connsiteY18" fmla="*/ 69283 h 1214204"/>
              <a:gd name="connsiteX19" fmla="*/ 121790 w 1214203"/>
              <a:gd name="connsiteY19" fmla="*/ 121791 h 121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4203" h="1214204">
                <a:moveTo>
                  <a:pt x="59274" y="59274"/>
                </a:moveTo>
                <a:cubicBezTo>
                  <a:pt x="95895" y="22652"/>
                  <a:pt x="146488" y="1"/>
                  <a:pt x="202371" y="0"/>
                </a:cubicBezTo>
                <a:lnTo>
                  <a:pt x="1011832" y="1"/>
                </a:lnTo>
                <a:cubicBezTo>
                  <a:pt x="1123598" y="0"/>
                  <a:pt x="1214203" y="90605"/>
                  <a:pt x="1214203" y="202372"/>
                </a:cubicBezTo>
                <a:lnTo>
                  <a:pt x="1214203" y="1011833"/>
                </a:lnTo>
                <a:cubicBezTo>
                  <a:pt x="1214202" y="1123599"/>
                  <a:pt x="1123597" y="1214204"/>
                  <a:pt x="1011832" y="1214204"/>
                </a:cubicBezTo>
                <a:lnTo>
                  <a:pt x="202371" y="1214204"/>
                </a:lnTo>
                <a:cubicBezTo>
                  <a:pt x="90605" y="1214204"/>
                  <a:pt x="0" y="1123599"/>
                  <a:pt x="0" y="1011833"/>
                </a:cubicBezTo>
                <a:lnTo>
                  <a:pt x="0" y="202371"/>
                </a:lnTo>
                <a:cubicBezTo>
                  <a:pt x="0" y="146489"/>
                  <a:pt x="22651" y="95896"/>
                  <a:pt x="59274" y="59274"/>
                </a:cubicBezTo>
                <a:close/>
                <a:moveTo>
                  <a:pt x="121790" y="121791"/>
                </a:moveTo>
                <a:cubicBezTo>
                  <a:pt x="89348" y="154234"/>
                  <a:pt x="69281" y="199054"/>
                  <a:pt x="69281" y="248559"/>
                </a:cubicBezTo>
                <a:lnTo>
                  <a:pt x="69281" y="965646"/>
                </a:lnTo>
                <a:cubicBezTo>
                  <a:pt x="69280" y="1064656"/>
                  <a:pt x="149545" y="1144923"/>
                  <a:pt x="248556" y="1144922"/>
                </a:cubicBezTo>
                <a:lnTo>
                  <a:pt x="965645" y="1144923"/>
                </a:lnTo>
                <a:cubicBezTo>
                  <a:pt x="1064656" y="1144922"/>
                  <a:pt x="1144920" y="1064657"/>
                  <a:pt x="1144922" y="965646"/>
                </a:cubicBezTo>
                <a:lnTo>
                  <a:pt x="1144920" y="248558"/>
                </a:lnTo>
                <a:cubicBezTo>
                  <a:pt x="1144920" y="149548"/>
                  <a:pt x="1064655" y="69283"/>
                  <a:pt x="965644" y="69283"/>
                </a:cubicBezTo>
                <a:lnTo>
                  <a:pt x="248558" y="69283"/>
                </a:lnTo>
                <a:cubicBezTo>
                  <a:pt x="199052" y="69283"/>
                  <a:pt x="154232" y="89347"/>
                  <a:pt x="121790" y="12179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sp>
        <p:nvSpPr>
          <p:cNvPr id="26" name="Freeform 15">
            <a:extLst>
              <a:ext uri="{FF2B5EF4-FFF2-40B4-BE49-F238E27FC236}">
                <a16:creationId xmlns:a16="http://schemas.microsoft.com/office/drawing/2014/main" id="{611F4B4A-CD35-E5B7-AD92-3A2682DA742B}"/>
              </a:ext>
            </a:extLst>
          </p:cNvPr>
          <p:cNvSpPr/>
          <p:nvPr/>
        </p:nvSpPr>
        <p:spPr>
          <a:xfrm rot="8100000">
            <a:off x="6225621" y="2703454"/>
            <a:ext cx="827103" cy="827104"/>
          </a:xfrm>
          <a:custGeom>
            <a:avLst/>
            <a:gdLst>
              <a:gd name="connsiteX0" fmla="*/ 42938 w 879584"/>
              <a:gd name="connsiteY0" fmla="*/ 42939 h 879585"/>
              <a:gd name="connsiteX1" fmla="*/ 146601 w 879584"/>
              <a:gd name="connsiteY1" fmla="*/ 1 h 879585"/>
              <a:gd name="connsiteX2" fmla="*/ 732983 w 879584"/>
              <a:gd name="connsiteY2" fmla="*/ 0 h 879585"/>
              <a:gd name="connsiteX3" fmla="*/ 879584 w 879584"/>
              <a:gd name="connsiteY3" fmla="*/ 146601 h 879585"/>
              <a:gd name="connsiteX4" fmla="*/ 879584 w 879584"/>
              <a:gd name="connsiteY4" fmla="*/ 732984 h 879585"/>
              <a:gd name="connsiteX5" fmla="*/ 732983 w 879584"/>
              <a:gd name="connsiteY5" fmla="*/ 879585 h 879585"/>
              <a:gd name="connsiteX6" fmla="*/ 146601 w 879584"/>
              <a:gd name="connsiteY6" fmla="*/ 879584 h 879585"/>
              <a:gd name="connsiteX7" fmla="*/ 0 w 879584"/>
              <a:gd name="connsiteY7" fmla="*/ 732983 h 879585"/>
              <a:gd name="connsiteX8" fmla="*/ 0 w 879584"/>
              <a:gd name="connsiteY8" fmla="*/ 146602 h 879585"/>
              <a:gd name="connsiteX9" fmla="*/ 42938 w 879584"/>
              <a:gd name="connsiteY9" fmla="*/ 42939 h 879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9584" h="879585">
                <a:moveTo>
                  <a:pt x="42938" y="42939"/>
                </a:moveTo>
                <a:cubicBezTo>
                  <a:pt x="69468" y="16410"/>
                  <a:pt x="106119" y="1"/>
                  <a:pt x="146601" y="1"/>
                </a:cubicBezTo>
                <a:lnTo>
                  <a:pt x="732983" y="0"/>
                </a:lnTo>
                <a:cubicBezTo>
                  <a:pt x="813950" y="1"/>
                  <a:pt x="879584" y="65636"/>
                  <a:pt x="879584" y="146601"/>
                </a:cubicBezTo>
                <a:lnTo>
                  <a:pt x="879584" y="732984"/>
                </a:lnTo>
                <a:cubicBezTo>
                  <a:pt x="879584" y="813950"/>
                  <a:pt x="813949" y="879585"/>
                  <a:pt x="732983" y="879585"/>
                </a:cubicBezTo>
                <a:lnTo>
                  <a:pt x="146601" y="879584"/>
                </a:lnTo>
                <a:cubicBezTo>
                  <a:pt x="65635" y="879583"/>
                  <a:pt x="1" y="813950"/>
                  <a:pt x="0" y="732983"/>
                </a:cubicBezTo>
                <a:lnTo>
                  <a:pt x="0" y="146602"/>
                </a:lnTo>
                <a:cubicBezTo>
                  <a:pt x="0" y="106119"/>
                  <a:pt x="16408" y="69469"/>
                  <a:pt x="42938" y="4293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27" name="Freeform 22">
            <a:extLst>
              <a:ext uri="{FF2B5EF4-FFF2-40B4-BE49-F238E27FC236}">
                <a16:creationId xmlns:a16="http://schemas.microsoft.com/office/drawing/2014/main" id="{C48A811D-8892-602C-5DEA-11B597BC55DE}"/>
              </a:ext>
            </a:extLst>
          </p:cNvPr>
          <p:cNvSpPr/>
          <p:nvPr/>
        </p:nvSpPr>
        <p:spPr>
          <a:xfrm rot="8100000">
            <a:off x="6068292" y="4828221"/>
            <a:ext cx="1141757" cy="1141758"/>
          </a:xfrm>
          <a:custGeom>
            <a:avLst/>
            <a:gdLst>
              <a:gd name="connsiteX0" fmla="*/ 59274 w 1214203"/>
              <a:gd name="connsiteY0" fmla="*/ 59274 h 1214204"/>
              <a:gd name="connsiteX1" fmla="*/ 202371 w 1214203"/>
              <a:gd name="connsiteY1" fmla="*/ 0 h 1214204"/>
              <a:gd name="connsiteX2" fmla="*/ 1011832 w 1214203"/>
              <a:gd name="connsiteY2" fmla="*/ 1 h 1214204"/>
              <a:gd name="connsiteX3" fmla="*/ 1214203 w 1214203"/>
              <a:gd name="connsiteY3" fmla="*/ 202372 h 1214204"/>
              <a:gd name="connsiteX4" fmla="*/ 1214203 w 1214203"/>
              <a:gd name="connsiteY4" fmla="*/ 1011833 h 1214204"/>
              <a:gd name="connsiteX5" fmla="*/ 1011832 w 1214203"/>
              <a:gd name="connsiteY5" fmla="*/ 1214204 h 1214204"/>
              <a:gd name="connsiteX6" fmla="*/ 202371 w 1214203"/>
              <a:gd name="connsiteY6" fmla="*/ 1214204 h 1214204"/>
              <a:gd name="connsiteX7" fmla="*/ 0 w 1214203"/>
              <a:gd name="connsiteY7" fmla="*/ 1011833 h 1214204"/>
              <a:gd name="connsiteX8" fmla="*/ 0 w 1214203"/>
              <a:gd name="connsiteY8" fmla="*/ 202371 h 1214204"/>
              <a:gd name="connsiteX9" fmla="*/ 59274 w 1214203"/>
              <a:gd name="connsiteY9" fmla="*/ 59274 h 1214204"/>
              <a:gd name="connsiteX10" fmla="*/ 121790 w 1214203"/>
              <a:gd name="connsiteY10" fmla="*/ 121791 h 1214204"/>
              <a:gd name="connsiteX11" fmla="*/ 69281 w 1214203"/>
              <a:gd name="connsiteY11" fmla="*/ 248559 h 1214204"/>
              <a:gd name="connsiteX12" fmla="*/ 69281 w 1214203"/>
              <a:gd name="connsiteY12" fmla="*/ 965646 h 1214204"/>
              <a:gd name="connsiteX13" fmla="*/ 248556 w 1214203"/>
              <a:gd name="connsiteY13" fmla="*/ 1144922 h 1214204"/>
              <a:gd name="connsiteX14" fmla="*/ 965645 w 1214203"/>
              <a:gd name="connsiteY14" fmla="*/ 1144923 h 1214204"/>
              <a:gd name="connsiteX15" fmla="*/ 1144922 w 1214203"/>
              <a:gd name="connsiteY15" fmla="*/ 965646 h 1214204"/>
              <a:gd name="connsiteX16" fmla="*/ 1144920 w 1214203"/>
              <a:gd name="connsiteY16" fmla="*/ 248558 h 1214204"/>
              <a:gd name="connsiteX17" fmla="*/ 965644 w 1214203"/>
              <a:gd name="connsiteY17" fmla="*/ 69283 h 1214204"/>
              <a:gd name="connsiteX18" fmla="*/ 248558 w 1214203"/>
              <a:gd name="connsiteY18" fmla="*/ 69283 h 1214204"/>
              <a:gd name="connsiteX19" fmla="*/ 121790 w 1214203"/>
              <a:gd name="connsiteY19" fmla="*/ 121791 h 121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4203" h="1214204">
                <a:moveTo>
                  <a:pt x="59274" y="59274"/>
                </a:moveTo>
                <a:cubicBezTo>
                  <a:pt x="95895" y="22652"/>
                  <a:pt x="146488" y="1"/>
                  <a:pt x="202371" y="0"/>
                </a:cubicBezTo>
                <a:lnTo>
                  <a:pt x="1011832" y="1"/>
                </a:lnTo>
                <a:cubicBezTo>
                  <a:pt x="1123598" y="0"/>
                  <a:pt x="1214203" y="90605"/>
                  <a:pt x="1214203" y="202372"/>
                </a:cubicBezTo>
                <a:lnTo>
                  <a:pt x="1214203" y="1011833"/>
                </a:lnTo>
                <a:cubicBezTo>
                  <a:pt x="1214202" y="1123599"/>
                  <a:pt x="1123597" y="1214204"/>
                  <a:pt x="1011832" y="1214204"/>
                </a:cubicBezTo>
                <a:lnTo>
                  <a:pt x="202371" y="1214204"/>
                </a:lnTo>
                <a:cubicBezTo>
                  <a:pt x="90605" y="1214204"/>
                  <a:pt x="0" y="1123599"/>
                  <a:pt x="0" y="1011833"/>
                </a:cubicBezTo>
                <a:lnTo>
                  <a:pt x="0" y="202371"/>
                </a:lnTo>
                <a:cubicBezTo>
                  <a:pt x="0" y="146489"/>
                  <a:pt x="22651" y="95896"/>
                  <a:pt x="59274" y="59274"/>
                </a:cubicBezTo>
                <a:close/>
                <a:moveTo>
                  <a:pt x="121790" y="121791"/>
                </a:moveTo>
                <a:cubicBezTo>
                  <a:pt x="89348" y="154234"/>
                  <a:pt x="69281" y="199054"/>
                  <a:pt x="69281" y="248559"/>
                </a:cubicBezTo>
                <a:lnTo>
                  <a:pt x="69281" y="965646"/>
                </a:lnTo>
                <a:cubicBezTo>
                  <a:pt x="69280" y="1064656"/>
                  <a:pt x="149545" y="1144923"/>
                  <a:pt x="248556" y="1144922"/>
                </a:cubicBezTo>
                <a:lnTo>
                  <a:pt x="965645" y="1144923"/>
                </a:lnTo>
                <a:cubicBezTo>
                  <a:pt x="1064656" y="1144922"/>
                  <a:pt x="1144920" y="1064657"/>
                  <a:pt x="1144922" y="965646"/>
                </a:cubicBezTo>
                <a:lnTo>
                  <a:pt x="1144920" y="248558"/>
                </a:lnTo>
                <a:cubicBezTo>
                  <a:pt x="1144920" y="149548"/>
                  <a:pt x="1064655" y="69283"/>
                  <a:pt x="965644" y="69283"/>
                </a:cubicBezTo>
                <a:lnTo>
                  <a:pt x="248558" y="69283"/>
                </a:lnTo>
                <a:cubicBezTo>
                  <a:pt x="199052" y="69283"/>
                  <a:pt x="154232" y="89347"/>
                  <a:pt x="121790" y="12179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28" name="Freeform 23">
            <a:extLst>
              <a:ext uri="{FF2B5EF4-FFF2-40B4-BE49-F238E27FC236}">
                <a16:creationId xmlns:a16="http://schemas.microsoft.com/office/drawing/2014/main" id="{D0265BC2-795C-1DC7-A118-6E1C82E4AA30}"/>
              </a:ext>
            </a:extLst>
          </p:cNvPr>
          <p:cNvSpPr/>
          <p:nvPr/>
        </p:nvSpPr>
        <p:spPr>
          <a:xfrm rot="8100000">
            <a:off x="6225621" y="4985548"/>
            <a:ext cx="827103" cy="827104"/>
          </a:xfrm>
          <a:custGeom>
            <a:avLst/>
            <a:gdLst>
              <a:gd name="connsiteX0" fmla="*/ 42938 w 879584"/>
              <a:gd name="connsiteY0" fmla="*/ 42939 h 879585"/>
              <a:gd name="connsiteX1" fmla="*/ 146601 w 879584"/>
              <a:gd name="connsiteY1" fmla="*/ 1 h 879585"/>
              <a:gd name="connsiteX2" fmla="*/ 732983 w 879584"/>
              <a:gd name="connsiteY2" fmla="*/ 0 h 879585"/>
              <a:gd name="connsiteX3" fmla="*/ 879584 w 879584"/>
              <a:gd name="connsiteY3" fmla="*/ 146601 h 879585"/>
              <a:gd name="connsiteX4" fmla="*/ 879584 w 879584"/>
              <a:gd name="connsiteY4" fmla="*/ 732984 h 879585"/>
              <a:gd name="connsiteX5" fmla="*/ 732983 w 879584"/>
              <a:gd name="connsiteY5" fmla="*/ 879585 h 879585"/>
              <a:gd name="connsiteX6" fmla="*/ 146601 w 879584"/>
              <a:gd name="connsiteY6" fmla="*/ 879584 h 879585"/>
              <a:gd name="connsiteX7" fmla="*/ 0 w 879584"/>
              <a:gd name="connsiteY7" fmla="*/ 732983 h 879585"/>
              <a:gd name="connsiteX8" fmla="*/ 0 w 879584"/>
              <a:gd name="connsiteY8" fmla="*/ 146602 h 879585"/>
              <a:gd name="connsiteX9" fmla="*/ 42938 w 879584"/>
              <a:gd name="connsiteY9" fmla="*/ 42939 h 879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9584" h="879585">
                <a:moveTo>
                  <a:pt x="42938" y="42939"/>
                </a:moveTo>
                <a:cubicBezTo>
                  <a:pt x="69468" y="16410"/>
                  <a:pt x="106119" y="1"/>
                  <a:pt x="146601" y="1"/>
                </a:cubicBezTo>
                <a:lnTo>
                  <a:pt x="732983" y="0"/>
                </a:lnTo>
                <a:cubicBezTo>
                  <a:pt x="813950" y="1"/>
                  <a:pt x="879584" y="65636"/>
                  <a:pt x="879584" y="146601"/>
                </a:cubicBezTo>
                <a:lnTo>
                  <a:pt x="879584" y="732984"/>
                </a:lnTo>
                <a:cubicBezTo>
                  <a:pt x="879584" y="813950"/>
                  <a:pt x="813949" y="879585"/>
                  <a:pt x="732983" y="879585"/>
                </a:cubicBezTo>
                <a:lnTo>
                  <a:pt x="146601" y="879584"/>
                </a:lnTo>
                <a:cubicBezTo>
                  <a:pt x="65635" y="879583"/>
                  <a:pt x="1" y="813950"/>
                  <a:pt x="0" y="732983"/>
                </a:cubicBezTo>
                <a:lnTo>
                  <a:pt x="0" y="146602"/>
                </a:lnTo>
                <a:cubicBezTo>
                  <a:pt x="0" y="106119"/>
                  <a:pt x="16408" y="69469"/>
                  <a:pt x="42938" y="4293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52451A0-E748-3C87-5112-4AB697B3FB65}"/>
              </a:ext>
            </a:extLst>
          </p:cNvPr>
          <p:cNvCxnSpPr>
            <a:cxnSpLocks/>
          </p:cNvCxnSpPr>
          <p:nvPr/>
        </p:nvCxnSpPr>
        <p:spPr>
          <a:xfrm flipH="1">
            <a:off x="6659966" y="6111958"/>
            <a:ext cx="5532034" cy="305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9766136E-B1FD-0480-40DE-E630910C3A03}"/>
              </a:ext>
            </a:extLst>
          </p:cNvPr>
          <p:cNvSpPr txBox="1">
            <a:spLocks/>
          </p:cNvSpPr>
          <p:nvPr/>
        </p:nvSpPr>
        <p:spPr>
          <a:xfrm>
            <a:off x="7452593" y="5217540"/>
            <a:ext cx="1513212" cy="363120"/>
          </a:xfrm>
          <a:prstGeom prst="rect">
            <a:avLst/>
          </a:prstGeom>
          <a:noFill/>
        </p:spPr>
        <p:txBody>
          <a:bodyPr vert="horz" lIns="54848" tIns="27424" rIns="54848" bIns="27424" rtlCol="0">
            <a:noAutofit/>
          </a:bodyPr>
          <a:lstStyle/>
          <a:p>
            <a:pPr>
              <a:buSzPct val="100000"/>
            </a:pPr>
            <a:r>
              <a:rPr lang="en-IN" b="1" dirty="0">
                <a:solidFill>
                  <a:schemeClr val="accent5"/>
                </a:solidFill>
              </a:rPr>
              <a:t>Titl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91F74FD-E52F-385C-EE8A-306C932D8472}"/>
              </a:ext>
            </a:extLst>
          </p:cNvPr>
          <p:cNvSpPr txBox="1">
            <a:spLocks/>
          </p:cNvSpPr>
          <p:nvPr/>
        </p:nvSpPr>
        <p:spPr>
          <a:xfrm>
            <a:off x="9275697" y="5209826"/>
            <a:ext cx="2421783" cy="332383"/>
          </a:xfrm>
          <a:prstGeom prst="rect">
            <a:avLst/>
          </a:prstGeom>
          <a:noFill/>
        </p:spPr>
        <p:txBody>
          <a:bodyPr vert="horz" lIns="54848" tIns="27424" rIns="54848" bIns="27424" rtlCol="0">
            <a:spAutoFit/>
          </a:bodyPr>
          <a:lstStyle/>
          <a:p>
            <a:pPr>
              <a:buSzPct val="100000"/>
            </a:pPr>
            <a:r>
              <a:rPr lang="en-US" dirty="0"/>
              <a:t>Insert Text He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12E5322-D537-EF8E-1D5D-882939786B02}"/>
              </a:ext>
            </a:extLst>
          </p:cNvPr>
          <p:cNvSpPr txBox="1">
            <a:spLocks/>
          </p:cNvSpPr>
          <p:nvPr/>
        </p:nvSpPr>
        <p:spPr>
          <a:xfrm>
            <a:off x="5374895" y="1798283"/>
            <a:ext cx="285335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SzPct val="100000"/>
            </a:pPr>
            <a:r>
              <a:rPr lang="en-IN" sz="2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47E3485-F250-8F1D-BA59-C7E858C27FCE}"/>
              </a:ext>
            </a:extLst>
          </p:cNvPr>
          <p:cNvSpPr txBox="1">
            <a:spLocks/>
          </p:cNvSpPr>
          <p:nvPr/>
        </p:nvSpPr>
        <p:spPr>
          <a:xfrm>
            <a:off x="6461239" y="2924646"/>
            <a:ext cx="285335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SzPct val="100000"/>
            </a:pPr>
            <a:r>
              <a:rPr lang="en-IN" sz="2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6CD1DD3-A8A5-D5D2-228A-904F251D045B}"/>
              </a:ext>
            </a:extLst>
          </p:cNvPr>
          <p:cNvSpPr txBox="1">
            <a:spLocks/>
          </p:cNvSpPr>
          <p:nvPr/>
        </p:nvSpPr>
        <p:spPr>
          <a:xfrm>
            <a:off x="5374895" y="4080375"/>
            <a:ext cx="285335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SzPct val="100000"/>
            </a:pPr>
            <a:r>
              <a:rPr lang="en-IN" sz="2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2A76043-D44D-92C5-9180-FEC2C111FC5D}"/>
              </a:ext>
            </a:extLst>
          </p:cNvPr>
          <p:cNvSpPr txBox="1">
            <a:spLocks/>
          </p:cNvSpPr>
          <p:nvPr/>
        </p:nvSpPr>
        <p:spPr>
          <a:xfrm>
            <a:off x="6461239" y="5206740"/>
            <a:ext cx="285335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SzPct val="100000"/>
            </a:pPr>
            <a:r>
              <a:rPr lang="en-IN" sz="2000" b="1" dirty="0">
                <a:solidFill>
                  <a:schemeClr val="bg1"/>
                </a:solidFill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343824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D0B9B5-0C5E-5F22-0D1B-15465481BE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4F2EEA3-4142-8271-E3E1-7CEDC60AC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F2EEA3-4142-8271-E3E1-7CEDC60AC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C82F3D-011E-C800-CEE0-6A10CF1E2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2113769-37A6-BF91-6686-E9C089C8DF8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E080A6F-4D05-4085-A743-B0E38BDB7AD4}"/>
              </a:ext>
            </a:extLst>
          </p:cNvPr>
          <p:cNvSpPr>
            <a:spLocks/>
          </p:cNvSpPr>
          <p:nvPr/>
        </p:nvSpPr>
        <p:spPr>
          <a:xfrm>
            <a:off x="929217" y="4450791"/>
            <a:ext cx="2118784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600" b="1">
                <a:sym typeface="Arial" panose="020B0604020202020204" pitchFamily="34" charset="0"/>
              </a:rPr>
              <a:t>Title</a:t>
            </a:r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7395640-AB2F-4B6C-B309-BB0D6EFBE667}"/>
              </a:ext>
            </a:extLst>
          </p:cNvPr>
          <p:cNvSpPr>
            <a:spLocks/>
          </p:cNvSpPr>
          <p:nvPr/>
        </p:nvSpPr>
        <p:spPr>
          <a:xfrm>
            <a:off x="929217" y="4777107"/>
            <a:ext cx="2118784" cy="10361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L-Shape 47">
            <a:extLst>
              <a:ext uri="{FF2B5EF4-FFF2-40B4-BE49-F238E27FC236}">
                <a16:creationId xmlns:a16="http://schemas.microsoft.com/office/drawing/2014/main" id="{D0ECA531-3DB2-44D9-B14D-7F0555C02F62}"/>
              </a:ext>
            </a:extLst>
          </p:cNvPr>
          <p:cNvSpPr/>
          <p:nvPr/>
        </p:nvSpPr>
        <p:spPr>
          <a:xfrm rot="5400000">
            <a:off x="895350" y="3732234"/>
            <a:ext cx="1828800" cy="2476500"/>
          </a:xfrm>
          <a:prstGeom prst="corner">
            <a:avLst>
              <a:gd name="adj1" fmla="val 13024"/>
              <a:gd name="adj2" fmla="val 1403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Right Triangle 52">
            <a:extLst>
              <a:ext uri="{FF2B5EF4-FFF2-40B4-BE49-F238E27FC236}">
                <a16:creationId xmlns:a16="http://schemas.microsoft.com/office/drawing/2014/main" id="{F80B56A9-AF8C-472F-98B7-735D445A169F}"/>
              </a:ext>
            </a:extLst>
          </p:cNvPr>
          <p:cNvSpPr>
            <a:spLocks noChangeAspect="1"/>
          </p:cNvSpPr>
          <p:nvPr/>
        </p:nvSpPr>
        <p:spPr>
          <a:xfrm rot="16200000">
            <a:off x="2729932" y="3600708"/>
            <a:ext cx="318068" cy="318068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L-Shape 4">
            <a:extLst>
              <a:ext uri="{FF2B5EF4-FFF2-40B4-BE49-F238E27FC236}">
                <a16:creationId xmlns:a16="http://schemas.microsoft.com/office/drawing/2014/main" id="{23C87349-2BA9-4509-874B-5F6C9969540A}"/>
              </a:ext>
            </a:extLst>
          </p:cNvPr>
          <p:cNvSpPr/>
          <p:nvPr/>
        </p:nvSpPr>
        <p:spPr>
          <a:xfrm rot="5400000">
            <a:off x="3655428" y="2860111"/>
            <a:ext cx="1828800" cy="2658645"/>
          </a:xfrm>
          <a:prstGeom prst="corner">
            <a:avLst>
              <a:gd name="adj1" fmla="val 13024"/>
              <a:gd name="adj2" fmla="val 1351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3B9C801-0036-44A6-855D-0CD43E7687C7}"/>
              </a:ext>
            </a:extLst>
          </p:cNvPr>
          <p:cNvSpPr>
            <a:spLocks/>
          </p:cNvSpPr>
          <p:nvPr/>
        </p:nvSpPr>
        <p:spPr>
          <a:xfrm>
            <a:off x="3780367" y="3652505"/>
            <a:ext cx="2118784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600" b="1">
                <a:sym typeface="Arial" panose="020B0604020202020204" pitchFamily="34" charset="0"/>
              </a:rPr>
              <a:t>Title</a:t>
            </a:r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84E2F09-5C80-472C-A4D5-6066D1D0254A}"/>
              </a:ext>
            </a:extLst>
          </p:cNvPr>
          <p:cNvSpPr>
            <a:spLocks/>
          </p:cNvSpPr>
          <p:nvPr/>
        </p:nvSpPr>
        <p:spPr>
          <a:xfrm>
            <a:off x="3780367" y="3978821"/>
            <a:ext cx="2118784" cy="10361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59" name="Right Triangle 58">
            <a:extLst>
              <a:ext uri="{FF2B5EF4-FFF2-40B4-BE49-F238E27FC236}">
                <a16:creationId xmlns:a16="http://schemas.microsoft.com/office/drawing/2014/main" id="{6216DBBF-9472-4F9C-B8DE-31DBFC6196A7}"/>
              </a:ext>
            </a:extLst>
          </p:cNvPr>
          <p:cNvSpPr>
            <a:spLocks noChangeAspect="1"/>
          </p:cNvSpPr>
          <p:nvPr/>
        </p:nvSpPr>
        <p:spPr>
          <a:xfrm rot="16200000">
            <a:off x="5581082" y="2836240"/>
            <a:ext cx="318068" cy="318068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EFFDA04-5FB8-4ED6-BD8E-94E419C4656C}"/>
              </a:ext>
            </a:extLst>
          </p:cNvPr>
          <p:cNvSpPr>
            <a:spLocks/>
          </p:cNvSpPr>
          <p:nvPr/>
        </p:nvSpPr>
        <p:spPr>
          <a:xfrm>
            <a:off x="6625167" y="2894165"/>
            <a:ext cx="2118784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600" b="1">
                <a:sym typeface="Arial" panose="020B0604020202020204" pitchFamily="34" charset="0"/>
              </a:rPr>
              <a:t>Title</a:t>
            </a:r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280F951-C3D9-40F9-8E60-1CEB25876165}"/>
              </a:ext>
            </a:extLst>
          </p:cNvPr>
          <p:cNvSpPr>
            <a:spLocks/>
          </p:cNvSpPr>
          <p:nvPr/>
        </p:nvSpPr>
        <p:spPr>
          <a:xfrm>
            <a:off x="6625167" y="3220481"/>
            <a:ext cx="2118784" cy="10361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65" name="L-Shape 64">
            <a:extLst>
              <a:ext uri="{FF2B5EF4-FFF2-40B4-BE49-F238E27FC236}">
                <a16:creationId xmlns:a16="http://schemas.microsoft.com/office/drawing/2014/main" id="{F448FB8B-78E0-4DCF-AD59-9A327F3BFBE3}"/>
              </a:ext>
            </a:extLst>
          </p:cNvPr>
          <p:cNvSpPr/>
          <p:nvPr/>
        </p:nvSpPr>
        <p:spPr>
          <a:xfrm rot="5400000">
            <a:off x="6506577" y="2079061"/>
            <a:ext cx="1828800" cy="2658646"/>
          </a:xfrm>
          <a:prstGeom prst="corner">
            <a:avLst>
              <a:gd name="adj1" fmla="val 13024"/>
              <a:gd name="adj2" fmla="val 1351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Right Triangle 66">
            <a:extLst>
              <a:ext uri="{FF2B5EF4-FFF2-40B4-BE49-F238E27FC236}">
                <a16:creationId xmlns:a16="http://schemas.microsoft.com/office/drawing/2014/main" id="{2E3996D1-DB13-467A-9AE7-80B052C193C8}"/>
              </a:ext>
            </a:extLst>
          </p:cNvPr>
          <p:cNvSpPr>
            <a:spLocks noChangeAspect="1"/>
          </p:cNvSpPr>
          <p:nvPr/>
        </p:nvSpPr>
        <p:spPr>
          <a:xfrm rot="16200000">
            <a:off x="8432232" y="2070495"/>
            <a:ext cx="318068" cy="318068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1C4C9E4-9FDF-4960-8B77-BF3EB9631357}"/>
              </a:ext>
            </a:extLst>
          </p:cNvPr>
          <p:cNvSpPr>
            <a:spLocks/>
          </p:cNvSpPr>
          <p:nvPr/>
        </p:nvSpPr>
        <p:spPr>
          <a:xfrm>
            <a:off x="9482667" y="2094065"/>
            <a:ext cx="2118784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600" b="1">
                <a:sym typeface="Arial" panose="020B0604020202020204" pitchFamily="34" charset="0"/>
              </a:rPr>
              <a:t>Title</a:t>
            </a:r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C5D9408-63D2-4523-A720-4F982C33A04F}"/>
              </a:ext>
            </a:extLst>
          </p:cNvPr>
          <p:cNvSpPr>
            <a:spLocks/>
          </p:cNvSpPr>
          <p:nvPr/>
        </p:nvSpPr>
        <p:spPr>
          <a:xfrm>
            <a:off x="9482667" y="2420381"/>
            <a:ext cx="2118784" cy="10361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sert Text</a:t>
            </a:r>
          </a:p>
        </p:txBody>
      </p:sp>
      <p:sp>
        <p:nvSpPr>
          <p:cNvPr id="73" name="L-Shape 72">
            <a:extLst>
              <a:ext uri="{FF2B5EF4-FFF2-40B4-BE49-F238E27FC236}">
                <a16:creationId xmlns:a16="http://schemas.microsoft.com/office/drawing/2014/main" id="{7F0FEE44-6CC5-4EB7-AAA6-3C856AD2A1FA}"/>
              </a:ext>
            </a:extLst>
          </p:cNvPr>
          <p:cNvSpPr/>
          <p:nvPr/>
        </p:nvSpPr>
        <p:spPr>
          <a:xfrm rot="5400000">
            <a:off x="9357728" y="1278961"/>
            <a:ext cx="1828800" cy="2658645"/>
          </a:xfrm>
          <a:prstGeom prst="corner">
            <a:avLst>
              <a:gd name="adj1" fmla="val 13024"/>
              <a:gd name="adj2" fmla="val 135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Right Triangle 74">
            <a:extLst>
              <a:ext uri="{FF2B5EF4-FFF2-40B4-BE49-F238E27FC236}">
                <a16:creationId xmlns:a16="http://schemas.microsoft.com/office/drawing/2014/main" id="{26BCC36B-5CBC-48B9-BC49-8335D7FD7A8E}"/>
              </a:ext>
            </a:extLst>
          </p:cNvPr>
          <p:cNvSpPr>
            <a:spLocks noChangeAspect="1"/>
          </p:cNvSpPr>
          <p:nvPr/>
        </p:nvSpPr>
        <p:spPr>
          <a:xfrm rot="16200000">
            <a:off x="11283382" y="1258447"/>
            <a:ext cx="318068" cy="318068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863410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030701-E7D2-A53E-5A4B-0EB6B601F0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16BFE9E-C76D-FBF3-2B69-8ABA2B922C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6BFE9E-C76D-FBF3-2B69-8ABA2B922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A40925-4F90-1BDC-84A8-6A4DE4878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DD66B78-A908-1186-7164-F122BF4FE55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0_20200729_183313">
            <a:extLst>
              <a:ext uri="{FF2B5EF4-FFF2-40B4-BE49-F238E27FC236}">
                <a16:creationId xmlns:a16="http://schemas.microsoft.com/office/drawing/2014/main" id="{76DD52D0-E4D3-DB77-9BB9-7B29408626CC}"/>
              </a:ext>
            </a:extLst>
          </p:cNvPr>
          <p:cNvSpPr/>
          <p:nvPr/>
        </p:nvSpPr>
        <p:spPr bwMode="auto">
          <a:xfrm>
            <a:off x="0" y="2882956"/>
            <a:ext cx="3054509" cy="191635"/>
          </a:xfrm>
          <a:prstGeom prst="rect">
            <a:avLst/>
          </a:pr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Shape1_20200729_183313">
            <a:extLst>
              <a:ext uri="{FF2B5EF4-FFF2-40B4-BE49-F238E27FC236}">
                <a16:creationId xmlns:a16="http://schemas.microsoft.com/office/drawing/2014/main" id="{D54785D3-EE7D-B43D-B86A-76B24BE38C95}"/>
              </a:ext>
            </a:extLst>
          </p:cNvPr>
          <p:cNvSpPr/>
          <p:nvPr/>
        </p:nvSpPr>
        <p:spPr bwMode="auto">
          <a:xfrm>
            <a:off x="2446969" y="2711926"/>
            <a:ext cx="595534" cy="173090"/>
          </a:xfrm>
          <a:prstGeom prst="triangle">
            <a:avLst/>
          </a:pr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Shape2_20200729_183313">
            <a:extLst>
              <a:ext uri="{FF2B5EF4-FFF2-40B4-BE49-F238E27FC236}">
                <a16:creationId xmlns:a16="http://schemas.microsoft.com/office/drawing/2014/main" id="{F79580D6-7C1E-E928-DE4D-5A73DF1DD73E}"/>
              </a:ext>
            </a:extLst>
          </p:cNvPr>
          <p:cNvSpPr/>
          <p:nvPr/>
        </p:nvSpPr>
        <p:spPr bwMode="auto">
          <a:xfrm rot="16200000">
            <a:off x="2560313" y="2349251"/>
            <a:ext cx="368846" cy="595534"/>
          </a:xfrm>
          <a:prstGeom prst="chevron">
            <a:avLst>
              <a:gd name="adj" fmla="val 51744"/>
            </a:avLst>
          </a:pr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Shape3_20200729_183313">
            <a:extLst>
              <a:ext uri="{FF2B5EF4-FFF2-40B4-BE49-F238E27FC236}">
                <a16:creationId xmlns:a16="http://schemas.microsoft.com/office/drawing/2014/main" id="{AD2A9630-3766-95D1-E235-FD79BD6DB1D7}"/>
              </a:ext>
            </a:extLst>
          </p:cNvPr>
          <p:cNvSpPr/>
          <p:nvPr/>
        </p:nvSpPr>
        <p:spPr bwMode="auto">
          <a:xfrm rot="16200000">
            <a:off x="2554236" y="2098688"/>
            <a:ext cx="381000" cy="595534"/>
          </a:xfrm>
          <a:prstGeom prst="chevron">
            <a:avLst>
              <a:gd name="adj" fmla="val 49284"/>
            </a:avLst>
          </a:pr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Shape4_20200729_183313">
            <a:extLst>
              <a:ext uri="{FF2B5EF4-FFF2-40B4-BE49-F238E27FC236}">
                <a16:creationId xmlns:a16="http://schemas.microsoft.com/office/drawing/2014/main" id="{ED5B0D6D-8344-98FB-B7AB-02CE3C2FCB84}"/>
              </a:ext>
            </a:extLst>
          </p:cNvPr>
          <p:cNvSpPr/>
          <p:nvPr/>
        </p:nvSpPr>
        <p:spPr bwMode="auto">
          <a:xfrm>
            <a:off x="3040870" y="2392895"/>
            <a:ext cx="3054509" cy="191635"/>
          </a:xfrm>
          <a:prstGeom prst="rect">
            <a:avLst/>
          </a:prstGeom>
          <a:solidFill>
            <a:schemeClr val="accent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9" name="Shape5_20200729_183313">
            <a:extLst>
              <a:ext uri="{FF2B5EF4-FFF2-40B4-BE49-F238E27FC236}">
                <a16:creationId xmlns:a16="http://schemas.microsoft.com/office/drawing/2014/main" id="{C8FDEB00-9A22-B178-66F3-A5BB95CCF7FD}"/>
              </a:ext>
            </a:extLst>
          </p:cNvPr>
          <p:cNvGrpSpPr/>
          <p:nvPr/>
        </p:nvGrpSpPr>
        <p:grpSpPr>
          <a:xfrm>
            <a:off x="5499845" y="1717005"/>
            <a:ext cx="595534" cy="679061"/>
            <a:chOff x="4728647" y="2486025"/>
            <a:chExt cx="511028" cy="679061"/>
          </a:xfrm>
          <a:solidFill>
            <a:schemeClr val="accent2">
              <a:alpha val="81000"/>
            </a:schemeClr>
          </a:solidFill>
        </p:grpSpPr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D353FC5E-78D8-616D-4016-6A1AE8AA4FA6}"/>
                </a:ext>
              </a:extLst>
            </p:cNvPr>
            <p:cNvSpPr/>
            <p:nvPr/>
          </p:nvSpPr>
          <p:spPr bwMode="auto">
            <a:xfrm>
              <a:off x="4728647" y="2991996"/>
              <a:ext cx="511028" cy="17309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id="{3A4E8478-D4D9-ABCE-3581-773D357E95D3}"/>
                </a:ext>
              </a:extLst>
            </p:cNvPr>
            <p:cNvSpPr/>
            <p:nvPr/>
          </p:nvSpPr>
          <p:spPr bwMode="auto">
            <a:xfrm rot="16200000">
              <a:off x="4799738" y="2671574"/>
              <a:ext cx="368846" cy="511028"/>
            </a:xfrm>
            <a:prstGeom prst="chevron">
              <a:avLst>
                <a:gd name="adj" fmla="val 5174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Arrow: Chevron 11">
              <a:extLst>
                <a:ext uri="{FF2B5EF4-FFF2-40B4-BE49-F238E27FC236}">
                  <a16:creationId xmlns:a16="http://schemas.microsoft.com/office/drawing/2014/main" id="{36CF7BEA-D305-16B3-0888-27120A147F7A}"/>
                </a:ext>
              </a:extLst>
            </p:cNvPr>
            <p:cNvSpPr/>
            <p:nvPr/>
          </p:nvSpPr>
          <p:spPr bwMode="auto">
            <a:xfrm rot="16200000">
              <a:off x="4793661" y="2421011"/>
              <a:ext cx="381000" cy="511028"/>
            </a:xfrm>
            <a:prstGeom prst="chevron">
              <a:avLst>
                <a:gd name="adj" fmla="val 4928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3" name="Shape6_20200729_183313">
            <a:extLst>
              <a:ext uri="{FF2B5EF4-FFF2-40B4-BE49-F238E27FC236}">
                <a16:creationId xmlns:a16="http://schemas.microsoft.com/office/drawing/2014/main" id="{3A4D0C25-A22C-8B85-0389-BC605D4F73A1}"/>
              </a:ext>
            </a:extLst>
          </p:cNvPr>
          <p:cNvSpPr/>
          <p:nvPr/>
        </p:nvSpPr>
        <p:spPr bwMode="auto">
          <a:xfrm>
            <a:off x="6088137" y="1901940"/>
            <a:ext cx="3054509" cy="191635"/>
          </a:xfrm>
          <a:prstGeom prst="rect">
            <a:avLst/>
          </a:prstGeom>
          <a:solidFill>
            <a:schemeClr val="accent4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4" name="Shape7_20200729_183313">
            <a:extLst>
              <a:ext uri="{FF2B5EF4-FFF2-40B4-BE49-F238E27FC236}">
                <a16:creationId xmlns:a16="http://schemas.microsoft.com/office/drawing/2014/main" id="{B61BAFA6-6276-BBBF-2F04-A28CAB799E34}"/>
              </a:ext>
            </a:extLst>
          </p:cNvPr>
          <p:cNvGrpSpPr/>
          <p:nvPr/>
        </p:nvGrpSpPr>
        <p:grpSpPr>
          <a:xfrm>
            <a:off x="8547112" y="1226050"/>
            <a:ext cx="595534" cy="679061"/>
            <a:chOff x="4728647" y="2486025"/>
            <a:chExt cx="511028" cy="679061"/>
          </a:xfrm>
          <a:solidFill>
            <a:schemeClr val="accent4">
              <a:alpha val="81000"/>
            </a:schemeClr>
          </a:solidFill>
        </p:grpSpPr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678293A6-AD1E-3D75-7681-6A67AF3D1CFA}"/>
                </a:ext>
              </a:extLst>
            </p:cNvPr>
            <p:cNvSpPr/>
            <p:nvPr/>
          </p:nvSpPr>
          <p:spPr bwMode="auto">
            <a:xfrm>
              <a:off x="4728647" y="2991996"/>
              <a:ext cx="511028" cy="17309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2B9EA124-225B-A92C-B0FF-F660DCD27707}"/>
                </a:ext>
              </a:extLst>
            </p:cNvPr>
            <p:cNvSpPr/>
            <p:nvPr/>
          </p:nvSpPr>
          <p:spPr bwMode="auto">
            <a:xfrm rot="16200000">
              <a:off x="4799738" y="2671574"/>
              <a:ext cx="368846" cy="511028"/>
            </a:xfrm>
            <a:prstGeom prst="chevron">
              <a:avLst>
                <a:gd name="adj" fmla="val 5174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7" name="Arrow: Chevron 16">
              <a:extLst>
                <a:ext uri="{FF2B5EF4-FFF2-40B4-BE49-F238E27FC236}">
                  <a16:creationId xmlns:a16="http://schemas.microsoft.com/office/drawing/2014/main" id="{24BB481A-E2A2-E232-3970-FED4A0DC9EBB}"/>
                </a:ext>
              </a:extLst>
            </p:cNvPr>
            <p:cNvSpPr/>
            <p:nvPr/>
          </p:nvSpPr>
          <p:spPr bwMode="auto">
            <a:xfrm rot="16200000">
              <a:off x="4793661" y="2421011"/>
              <a:ext cx="381000" cy="511028"/>
            </a:xfrm>
            <a:prstGeom prst="chevron">
              <a:avLst>
                <a:gd name="adj" fmla="val 4928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8" name="Shape8_20200729_183313">
            <a:extLst>
              <a:ext uri="{FF2B5EF4-FFF2-40B4-BE49-F238E27FC236}">
                <a16:creationId xmlns:a16="http://schemas.microsoft.com/office/drawing/2014/main" id="{497934C7-6C60-0535-42A2-E999D36D31C5}"/>
              </a:ext>
            </a:extLst>
          </p:cNvPr>
          <p:cNvSpPr/>
          <p:nvPr/>
        </p:nvSpPr>
        <p:spPr bwMode="auto">
          <a:xfrm>
            <a:off x="9137491" y="1411176"/>
            <a:ext cx="3054509" cy="191635"/>
          </a:xfrm>
          <a:prstGeom prst="rect">
            <a:avLst/>
          </a:prstGeom>
          <a:solidFill>
            <a:schemeClr val="accent6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F576F4-86DE-23C7-E8A3-7824F23DE975}"/>
              </a:ext>
            </a:extLst>
          </p:cNvPr>
          <p:cNvSpPr>
            <a:spLocks/>
          </p:cNvSpPr>
          <p:nvPr/>
        </p:nvSpPr>
        <p:spPr>
          <a:xfrm>
            <a:off x="4358386" y="2047021"/>
            <a:ext cx="41947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A08921D-7D70-3BA1-1680-D111AD24C4D2}"/>
              </a:ext>
            </a:extLst>
          </p:cNvPr>
          <p:cNvSpPr>
            <a:spLocks/>
          </p:cNvSpPr>
          <p:nvPr/>
        </p:nvSpPr>
        <p:spPr>
          <a:xfrm>
            <a:off x="7405654" y="1549716"/>
            <a:ext cx="41947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1976A0F-0C81-1D78-BC9C-44362AF1352C}"/>
              </a:ext>
            </a:extLst>
          </p:cNvPr>
          <p:cNvSpPr>
            <a:spLocks/>
          </p:cNvSpPr>
          <p:nvPr/>
        </p:nvSpPr>
        <p:spPr>
          <a:xfrm>
            <a:off x="1317517" y="2496200"/>
            <a:ext cx="419474" cy="246221"/>
          </a:xfrm>
          <a:custGeom>
            <a:avLst/>
            <a:gdLst>
              <a:gd name="connsiteX0" fmla="*/ 0 w 3016822"/>
              <a:gd name="connsiteY0" fmla="*/ 0 h 344721"/>
              <a:gd name="connsiteX1" fmla="*/ 3016822 w 3016822"/>
              <a:gd name="connsiteY1" fmla="*/ 0 h 344721"/>
              <a:gd name="connsiteX2" fmla="*/ 2841752 w 3016822"/>
              <a:gd name="connsiteY2" fmla="*/ 344721 h 344721"/>
              <a:gd name="connsiteX3" fmla="*/ 0 w 3016822"/>
              <a:gd name="connsiteY3" fmla="*/ 344721 h 34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6822" h="344721">
                <a:moveTo>
                  <a:pt x="0" y="0"/>
                </a:moveTo>
                <a:lnTo>
                  <a:pt x="3016822" y="0"/>
                </a:lnTo>
                <a:lnTo>
                  <a:pt x="2841752" y="344721"/>
                </a:lnTo>
                <a:lnTo>
                  <a:pt x="0" y="344721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C6F4AB1-94E5-5128-C8D3-4A2C7E6D72D8}"/>
              </a:ext>
            </a:extLst>
          </p:cNvPr>
          <p:cNvSpPr>
            <a:spLocks/>
          </p:cNvSpPr>
          <p:nvPr/>
        </p:nvSpPr>
        <p:spPr>
          <a:xfrm>
            <a:off x="10455008" y="1036368"/>
            <a:ext cx="41947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D796F30-46DA-97F8-A628-4EADFD455F71}"/>
              </a:ext>
            </a:extLst>
          </p:cNvPr>
          <p:cNvSpPr/>
          <p:nvPr/>
        </p:nvSpPr>
        <p:spPr>
          <a:xfrm>
            <a:off x="144810" y="3471312"/>
            <a:ext cx="266255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554" marR="0" lvl="0" indent="-228554" algn="l" defTabSz="6094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Roboto Light" pitchFamily="2" charset="0"/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82634D6-268A-FD5E-0D8B-3CECD8290673}"/>
              </a:ext>
            </a:extLst>
          </p:cNvPr>
          <p:cNvSpPr/>
          <p:nvPr/>
        </p:nvSpPr>
        <p:spPr>
          <a:xfrm>
            <a:off x="3144682" y="3038176"/>
            <a:ext cx="283902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554" marR="0" lvl="0" indent="-228554" algn="l" defTabSz="6094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Roboto Light" pitchFamily="2" charset="0"/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BC702D-97D2-C49D-55ED-F97C70B1BECA}"/>
              </a:ext>
            </a:extLst>
          </p:cNvPr>
          <p:cNvSpPr/>
          <p:nvPr/>
        </p:nvSpPr>
        <p:spPr>
          <a:xfrm>
            <a:off x="6240379" y="2540870"/>
            <a:ext cx="27432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554" marR="0" lvl="0" indent="-228554" algn="l" defTabSz="6094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Roboto Light" pitchFamily="2" charset="0"/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5B02DE4-1A37-5747-A276-8E999159464B}"/>
              </a:ext>
            </a:extLst>
          </p:cNvPr>
          <p:cNvSpPr/>
          <p:nvPr/>
        </p:nvSpPr>
        <p:spPr>
          <a:xfrm>
            <a:off x="9256726" y="2043565"/>
            <a:ext cx="27427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554" marR="0" lvl="0" indent="-228554" algn="l" defTabSz="6094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Roboto Light" pitchFamily="2" charset="0"/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CAE4BFF-B844-A7DB-F21A-C2D6742315BD}"/>
              </a:ext>
            </a:extLst>
          </p:cNvPr>
          <p:cNvCxnSpPr>
            <a:cxnSpLocks/>
          </p:cNvCxnSpPr>
          <p:nvPr/>
        </p:nvCxnSpPr>
        <p:spPr>
          <a:xfrm>
            <a:off x="3043843" y="3139059"/>
            <a:ext cx="0" cy="232857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5364F72-8619-A52C-8877-ED5D08757B81}"/>
              </a:ext>
            </a:extLst>
          </p:cNvPr>
          <p:cNvCxnSpPr>
            <a:cxnSpLocks/>
          </p:cNvCxnSpPr>
          <p:nvPr/>
        </p:nvCxnSpPr>
        <p:spPr>
          <a:xfrm>
            <a:off x="9133899" y="2172055"/>
            <a:ext cx="0" cy="329557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3815276-7D20-57EC-0069-346F842D0307}"/>
              </a:ext>
            </a:extLst>
          </p:cNvPr>
          <p:cNvCxnSpPr>
            <a:cxnSpLocks/>
          </p:cNvCxnSpPr>
          <p:nvPr/>
        </p:nvCxnSpPr>
        <p:spPr>
          <a:xfrm>
            <a:off x="6080248" y="2669207"/>
            <a:ext cx="0" cy="279842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hape9_20200729_183313">
            <a:extLst>
              <a:ext uri="{FF2B5EF4-FFF2-40B4-BE49-F238E27FC236}">
                <a16:creationId xmlns:a16="http://schemas.microsoft.com/office/drawing/2014/main" id="{1C8FBC74-5C89-3510-F323-2F263EF1F0BC}"/>
              </a:ext>
            </a:extLst>
          </p:cNvPr>
          <p:cNvSpPr/>
          <p:nvPr/>
        </p:nvSpPr>
        <p:spPr bwMode="auto">
          <a:xfrm>
            <a:off x="0" y="5442619"/>
            <a:ext cx="12192000" cy="668023"/>
          </a:xfrm>
          <a:prstGeom prst="rect">
            <a:avLst/>
          </a:prstGeom>
          <a:solidFill>
            <a:schemeClr val="accent5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0D0DB1D-FAB6-67B1-714D-08097614B790}"/>
              </a:ext>
            </a:extLst>
          </p:cNvPr>
          <p:cNvCxnSpPr>
            <a:cxnSpLocks/>
          </p:cNvCxnSpPr>
          <p:nvPr/>
        </p:nvCxnSpPr>
        <p:spPr>
          <a:xfrm>
            <a:off x="3043843" y="5492073"/>
            <a:ext cx="0" cy="56911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A3AB23-C72F-71DA-6EB3-F9F5DB8A6FC3}"/>
              </a:ext>
            </a:extLst>
          </p:cNvPr>
          <p:cNvCxnSpPr>
            <a:cxnSpLocks/>
          </p:cNvCxnSpPr>
          <p:nvPr/>
        </p:nvCxnSpPr>
        <p:spPr>
          <a:xfrm>
            <a:off x="9133899" y="5492073"/>
            <a:ext cx="0" cy="56911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88EB0CF-0679-ACC3-D44A-9418FF79BC58}"/>
              </a:ext>
            </a:extLst>
          </p:cNvPr>
          <p:cNvCxnSpPr>
            <a:cxnSpLocks/>
          </p:cNvCxnSpPr>
          <p:nvPr/>
        </p:nvCxnSpPr>
        <p:spPr>
          <a:xfrm>
            <a:off x="6080248" y="5492073"/>
            <a:ext cx="0" cy="56911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3C491E7B-69EC-6556-7590-0F47790182F9}"/>
              </a:ext>
            </a:extLst>
          </p:cNvPr>
          <p:cNvSpPr>
            <a:spLocks/>
          </p:cNvSpPr>
          <p:nvPr/>
        </p:nvSpPr>
        <p:spPr>
          <a:xfrm>
            <a:off x="3793821" y="5651911"/>
            <a:ext cx="153644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F304859-3B8C-C9C9-A819-7FEBFE04EF7B}"/>
              </a:ext>
            </a:extLst>
          </p:cNvPr>
          <p:cNvSpPr>
            <a:spLocks/>
          </p:cNvSpPr>
          <p:nvPr/>
        </p:nvSpPr>
        <p:spPr>
          <a:xfrm>
            <a:off x="6838849" y="5651911"/>
            <a:ext cx="153644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18B5510E-68EC-0B23-B065-38A3AA81C56F}"/>
              </a:ext>
            </a:extLst>
          </p:cNvPr>
          <p:cNvSpPr>
            <a:spLocks/>
          </p:cNvSpPr>
          <p:nvPr/>
        </p:nvSpPr>
        <p:spPr>
          <a:xfrm>
            <a:off x="759030" y="5651911"/>
            <a:ext cx="1536446" cy="246221"/>
          </a:xfrm>
          <a:custGeom>
            <a:avLst/>
            <a:gdLst>
              <a:gd name="connsiteX0" fmla="*/ 0 w 3016822"/>
              <a:gd name="connsiteY0" fmla="*/ 0 h 344721"/>
              <a:gd name="connsiteX1" fmla="*/ 3016822 w 3016822"/>
              <a:gd name="connsiteY1" fmla="*/ 0 h 344721"/>
              <a:gd name="connsiteX2" fmla="*/ 2841752 w 3016822"/>
              <a:gd name="connsiteY2" fmla="*/ 344721 h 344721"/>
              <a:gd name="connsiteX3" fmla="*/ 0 w 3016822"/>
              <a:gd name="connsiteY3" fmla="*/ 344721 h 34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6822" h="344721">
                <a:moveTo>
                  <a:pt x="0" y="0"/>
                </a:moveTo>
                <a:lnTo>
                  <a:pt x="3016822" y="0"/>
                </a:lnTo>
                <a:lnTo>
                  <a:pt x="2841752" y="344721"/>
                </a:lnTo>
                <a:lnTo>
                  <a:pt x="0" y="344721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5EF3D72-27BE-67DC-76FB-887D563CCCDE}"/>
              </a:ext>
            </a:extLst>
          </p:cNvPr>
          <p:cNvSpPr>
            <a:spLocks/>
          </p:cNvSpPr>
          <p:nvPr/>
        </p:nvSpPr>
        <p:spPr>
          <a:xfrm>
            <a:off x="9859887" y="5651911"/>
            <a:ext cx="153644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577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0D348-1BF8-E1E6-45EC-5CC1D2B1B1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E3CEFAA-7A5D-1854-94D8-14F402EA80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3CEFAA-7A5D-1854-94D8-14F402EA80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DB7D95-C416-6D06-E0F7-870B9C4C2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8E39E40-230E-BCFC-96BD-8A32B6F60D7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29462AB0-872E-F147-E2B2-E77C37860B55}"/>
              </a:ext>
            </a:extLst>
          </p:cNvPr>
          <p:cNvGrpSpPr/>
          <p:nvPr/>
        </p:nvGrpSpPr>
        <p:grpSpPr>
          <a:xfrm>
            <a:off x="536468" y="1069205"/>
            <a:ext cx="10968835" cy="4794449"/>
            <a:chOff x="837333" y="1067696"/>
            <a:chExt cx="10667970" cy="4349866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0F0A697-22FF-145D-447F-77D85E0F92C7}"/>
                </a:ext>
              </a:extLst>
            </p:cNvPr>
            <p:cNvSpPr txBox="1">
              <a:spLocks/>
            </p:cNvSpPr>
            <p:nvPr/>
          </p:nvSpPr>
          <p:spPr>
            <a:xfrm>
              <a:off x="4988894" y="1067696"/>
              <a:ext cx="97721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Slide No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365E68C0-8C57-AC4F-CC04-3A7D5C115516}"/>
                </a:ext>
              </a:extLst>
            </p:cNvPr>
            <p:cNvSpPr txBox="1">
              <a:spLocks/>
            </p:cNvSpPr>
            <p:nvPr/>
          </p:nvSpPr>
          <p:spPr>
            <a:xfrm>
              <a:off x="10510100" y="1067696"/>
              <a:ext cx="97721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Slide No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647CA5FF-94A6-E794-28C0-B75885B3C584}"/>
                </a:ext>
              </a:extLst>
            </p:cNvPr>
            <p:cNvSpPr/>
            <p:nvPr/>
          </p:nvSpPr>
          <p:spPr>
            <a:xfrm>
              <a:off x="848396" y="1128247"/>
              <a:ext cx="1546075" cy="289127"/>
            </a:xfrm>
            <a:prstGeom prst="rect">
              <a:avLst/>
            </a:prstGeom>
            <a:solidFill>
              <a:schemeClr val="accent1"/>
            </a:solidFill>
            <a:ln>
              <a:solidFill>
                <a:srgbClr val="1951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b="1" dirty="0">
                  <a:solidFill>
                    <a:srgbClr val="FFFFFF"/>
                  </a:solidFill>
                </a:rPr>
                <a:t>Title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CE47159-8FF9-D1E3-A5F3-CE9FDAB53841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1525750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006B3AFD-DBE5-E955-A0CC-ACF0C03ECD2C}"/>
                </a:ext>
              </a:extLst>
            </p:cNvPr>
            <p:cNvCxnSpPr/>
            <p:nvPr/>
          </p:nvCxnSpPr>
          <p:spPr>
            <a:xfrm>
              <a:off x="848399" y="1870456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456A5E6D-81C2-EA06-4ADD-9E5142976769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1926047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BFAD8C2D-4069-F1D3-961C-8E592AAB2E0C}"/>
                </a:ext>
              </a:extLst>
            </p:cNvPr>
            <p:cNvCxnSpPr/>
            <p:nvPr/>
          </p:nvCxnSpPr>
          <p:spPr>
            <a:xfrm>
              <a:off x="848399" y="2270754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7781581A-3A86-4EC9-E1DB-966AB5B445D2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2326344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D05638CF-4BDD-C234-F3D3-59FAE9723870}"/>
                </a:ext>
              </a:extLst>
            </p:cNvPr>
            <p:cNvCxnSpPr/>
            <p:nvPr/>
          </p:nvCxnSpPr>
          <p:spPr>
            <a:xfrm>
              <a:off x="848399" y="2671051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44D959D-0329-C822-291A-918BA4FE660E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2726644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4EB984DC-FFC8-9F3D-DEC7-1D16BA8721FD}"/>
                </a:ext>
              </a:extLst>
            </p:cNvPr>
            <p:cNvCxnSpPr/>
            <p:nvPr/>
          </p:nvCxnSpPr>
          <p:spPr>
            <a:xfrm>
              <a:off x="848399" y="3071348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D7527FBE-815B-D91A-EF13-4F8BC123ED68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126943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04F9E72D-5650-B69E-1075-67CEE969684E}"/>
                </a:ext>
              </a:extLst>
            </p:cNvPr>
            <p:cNvCxnSpPr/>
            <p:nvPr/>
          </p:nvCxnSpPr>
          <p:spPr>
            <a:xfrm>
              <a:off x="848399" y="3471647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4097B130-AB66-E5F1-D183-5A0306EB7D11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527243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1C572A5A-11C8-FDCF-C9DF-A371FACAD25A}"/>
                </a:ext>
              </a:extLst>
            </p:cNvPr>
            <p:cNvCxnSpPr/>
            <p:nvPr/>
          </p:nvCxnSpPr>
          <p:spPr>
            <a:xfrm>
              <a:off x="848399" y="3871946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45A2792C-F6EE-4170-FA8A-4194349C4829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927537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BF705F0A-6E9D-C674-3E7C-5FCC2E3282BA}"/>
                </a:ext>
              </a:extLst>
            </p:cNvPr>
            <p:cNvCxnSpPr/>
            <p:nvPr/>
          </p:nvCxnSpPr>
          <p:spPr>
            <a:xfrm>
              <a:off x="848399" y="4272245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8482E5D1-1DFC-2300-252F-41E650D8A245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4327834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7E18BE8-FFFD-60A5-8DB6-51499702EF46}"/>
                </a:ext>
              </a:extLst>
            </p:cNvPr>
            <p:cNvCxnSpPr/>
            <p:nvPr/>
          </p:nvCxnSpPr>
          <p:spPr>
            <a:xfrm>
              <a:off x="848399" y="4672541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4B7FB0BA-39B2-A510-A7D6-65101D45BF2E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4728130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EF0D2E7-FF6C-9DA7-F557-6BD23CE3A50E}"/>
                </a:ext>
              </a:extLst>
            </p:cNvPr>
            <p:cNvCxnSpPr/>
            <p:nvPr/>
          </p:nvCxnSpPr>
          <p:spPr>
            <a:xfrm>
              <a:off x="848399" y="5072838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E085E4D2-726A-94EA-5475-C85800195BA1}"/>
                </a:ext>
              </a:extLst>
            </p:cNvPr>
            <p:cNvSpPr txBox="1"/>
            <p:nvPr/>
          </p:nvSpPr>
          <p:spPr>
            <a:xfrm>
              <a:off x="848399" y="1525750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3AC9EA7B-E9BB-D5A1-4A9A-7AF1BAB49AC3}"/>
                </a:ext>
              </a:extLst>
            </p:cNvPr>
            <p:cNvSpPr txBox="1"/>
            <p:nvPr/>
          </p:nvSpPr>
          <p:spPr>
            <a:xfrm>
              <a:off x="848399" y="1926047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B20E34A-1C17-5881-C015-A3D0CB30A64E}"/>
                </a:ext>
              </a:extLst>
            </p:cNvPr>
            <p:cNvSpPr txBox="1"/>
            <p:nvPr/>
          </p:nvSpPr>
          <p:spPr>
            <a:xfrm>
              <a:off x="848399" y="2326346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FC49D41-16C3-3173-5DA5-746572A21091}"/>
                </a:ext>
              </a:extLst>
            </p:cNvPr>
            <p:cNvSpPr txBox="1"/>
            <p:nvPr/>
          </p:nvSpPr>
          <p:spPr>
            <a:xfrm>
              <a:off x="848399" y="2726644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C0581FB3-0179-A1BA-5938-BBA6C8848F0A}"/>
                </a:ext>
              </a:extLst>
            </p:cNvPr>
            <p:cNvSpPr txBox="1"/>
            <p:nvPr/>
          </p:nvSpPr>
          <p:spPr>
            <a:xfrm>
              <a:off x="848399" y="3126943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A5DF2451-A1C7-E4D5-0C6C-179B12B8F09B}"/>
                </a:ext>
              </a:extLst>
            </p:cNvPr>
            <p:cNvSpPr txBox="1"/>
            <p:nvPr/>
          </p:nvSpPr>
          <p:spPr>
            <a:xfrm>
              <a:off x="848399" y="3527243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1DF4FB27-6769-BACD-8D9D-8C7147056C9E}"/>
                </a:ext>
              </a:extLst>
            </p:cNvPr>
            <p:cNvSpPr txBox="1"/>
            <p:nvPr/>
          </p:nvSpPr>
          <p:spPr>
            <a:xfrm>
              <a:off x="848399" y="3927538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D282A8C3-9F3F-D177-4047-A27E5560E379}"/>
                </a:ext>
              </a:extLst>
            </p:cNvPr>
            <p:cNvSpPr txBox="1"/>
            <p:nvPr/>
          </p:nvSpPr>
          <p:spPr>
            <a:xfrm>
              <a:off x="848399" y="4327834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3E608A02-5518-81FE-7E88-684EA5CA0411}"/>
                </a:ext>
              </a:extLst>
            </p:cNvPr>
            <p:cNvSpPr txBox="1"/>
            <p:nvPr/>
          </p:nvSpPr>
          <p:spPr>
            <a:xfrm>
              <a:off x="848399" y="4728130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7E3F33E2-4300-6F18-CAA3-F2FB7992B841}"/>
                </a:ext>
              </a:extLst>
            </p:cNvPr>
            <p:cNvSpPr txBox="1"/>
            <p:nvPr/>
          </p:nvSpPr>
          <p:spPr>
            <a:xfrm>
              <a:off x="848399" y="5128435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D91BFA3B-3B02-B728-E74D-AD6B16A2EC7C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5128435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41019A30-387D-0E31-F1C9-9A9817681E07}"/>
                </a:ext>
              </a:extLst>
            </p:cNvPr>
            <p:cNvSpPr/>
            <p:nvPr/>
          </p:nvSpPr>
          <p:spPr>
            <a:xfrm>
              <a:off x="6388255" y="1128247"/>
              <a:ext cx="1546074" cy="289127"/>
            </a:xfrm>
            <a:prstGeom prst="rect">
              <a:avLst/>
            </a:prstGeom>
            <a:solidFill>
              <a:schemeClr val="accent2"/>
            </a:solidFill>
            <a:ln>
              <a:solidFill>
                <a:srgbClr val="0B8A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b="1" dirty="0">
                  <a:solidFill>
                    <a:srgbClr val="FFFFFF"/>
                  </a:solidFill>
                </a:rPr>
                <a:t>Title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DB45542-D598-A014-CED2-715998F8ABAC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1525750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8C527C1-4DE6-4BE5-881B-6163899CED5A}"/>
                </a:ext>
              </a:extLst>
            </p:cNvPr>
            <p:cNvCxnSpPr/>
            <p:nvPr/>
          </p:nvCxnSpPr>
          <p:spPr>
            <a:xfrm>
              <a:off x="6388254" y="1870456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B3427CAA-9B91-37FD-EDDF-4CBB2CDBB8AF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1926047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A478C7F9-5431-6343-2493-D348B0057503}"/>
                </a:ext>
              </a:extLst>
            </p:cNvPr>
            <p:cNvCxnSpPr/>
            <p:nvPr/>
          </p:nvCxnSpPr>
          <p:spPr>
            <a:xfrm>
              <a:off x="6388254" y="2270754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5DED10B8-3ACC-F660-420E-21747F50527C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2326344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AD07F669-65CE-DAEC-CB90-FC437D8D95B1}"/>
                </a:ext>
              </a:extLst>
            </p:cNvPr>
            <p:cNvCxnSpPr/>
            <p:nvPr/>
          </p:nvCxnSpPr>
          <p:spPr>
            <a:xfrm>
              <a:off x="6388254" y="2671051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FD0B55C5-7A4B-670D-CD13-6069B332F33B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2726644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4FB658A7-B8A4-7F77-9761-0EC2F18E5F1D}"/>
                </a:ext>
              </a:extLst>
            </p:cNvPr>
            <p:cNvCxnSpPr/>
            <p:nvPr/>
          </p:nvCxnSpPr>
          <p:spPr>
            <a:xfrm>
              <a:off x="6388254" y="3071348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CC6681E0-D469-86AE-904B-E7FF0BBBACD5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126943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C46C0BF-2C7F-7837-AC88-6DBB9C97D076}"/>
                </a:ext>
              </a:extLst>
            </p:cNvPr>
            <p:cNvCxnSpPr/>
            <p:nvPr/>
          </p:nvCxnSpPr>
          <p:spPr>
            <a:xfrm>
              <a:off x="6388254" y="3471647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E7D89B62-3CAD-3F39-2177-3B3769A49563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527243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20C3FAE8-CAC6-A1F6-597D-80426CCEA58E}"/>
                </a:ext>
              </a:extLst>
            </p:cNvPr>
            <p:cNvCxnSpPr/>
            <p:nvPr/>
          </p:nvCxnSpPr>
          <p:spPr>
            <a:xfrm>
              <a:off x="6388254" y="3871946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280714E2-884B-FEF9-0E40-4FCDE764AD22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927537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A5DA5DCB-5BBB-65E3-1600-AF9DD0F64C1D}"/>
                </a:ext>
              </a:extLst>
            </p:cNvPr>
            <p:cNvCxnSpPr/>
            <p:nvPr/>
          </p:nvCxnSpPr>
          <p:spPr>
            <a:xfrm>
              <a:off x="6388254" y="4272245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5AC240A6-10A8-765D-E8F3-5BCB3A6ECAE8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4327834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08C5907E-79E3-4060-CAB6-7C8BDD0F70B2}"/>
                </a:ext>
              </a:extLst>
            </p:cNvPr>
            <p:cNvCxnSpPr/>
            <p:nvPr/>
          </p:nvCxnSpPr>
          <p:spPr>
            <a:xfrm>
              <a:off x="6388254" y="4672541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BA944F2C-F45B-E6BE-B2DF-AFDEE3D181C4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4728130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CFA4C52F-E998-9A6E-01B1-BF59C1015C42}"/>
                </a:ext>
              </a:extLst>
            </p:cNvPr>
            <p:cNvCxnSpPr/>
            <p:nvPr/>
          </p:nvCxnSpPr>
          <p:spPr>
            <a:xfrm>
              <a:off x="6388254" y="5072838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832FE82F-F220-B9D1-EC80-77B820BEB49A}"/>
                </a:ext>
              </a:extLst>
            </p:cNvPr>
            <p:cNvSpPr txBox="1"/>
            <p:nvPr/>
          </p:nvSpPr>
          <p:spPr>
            <a:xfrm>
              <a:off x="6388255" y="1525750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5F1F0D0C-0C86-681A-281A-B0B26AC91DDE}"/>
                </a:ext>
              </a:extLst>
            </p:cNvPr>
            <p:cNvSpPr txBox="1"/>
            <p:nvPr/>
          </p:nvSpPr>
          <p:spPr>
            <a:xfrm>
              <a:off x="6388255" y="1926047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A82FD254-3AC5-D618-8731-810BC04DE578}"/>
                </a:ext>
              </a:extLst>
            </p:cNvPr>
            <p:cNvSpPr txBox="1"/>
            <p:nvPr/>
          </p:nvSpPr>
          <p:spPr>
            <a:xfrm>
              <a:off x="6388255" y="2326346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A02A179-FA8D-B5F2-6C61-EE077563522B}"/>
                </a:ext>
              </a:extLst>
            </p:cNvPr>
            <p:cNvSpPr txBox="1"/>
            <p:nvPr/>
          </p:nvSpPr>
          <p:spPr>
            <a:xfrm>
              <a:off x="6388255" y="2726644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7AFEBFB-F923-BB2C-B592-8B7FD1E4D118}"/>
                </a:ext>
              </a:extLst>
            </p:cNvPr>
            <p:cNvSpPr txBox="1"/>
            <p:nvPr/>
          </p:nvSpPr>
          <p:spPr>
            <a:xfrm>
              <a:off x="6388255" y="3126943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F886CC4E-3921-7351-5C65-3869BFD182B1}"/>
                </a:ext>
              </a:extLst>
            </p:cNvPr>
            <p:cNvSpPr txBox="1"/>
            <p:nvPr/>
          </p:nvSpPr>
          <p:spPr>
            <a:xfrm>
              <a:off x="6388255" y="3527243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C5448A58-3168-9417-191C-A15F7EADFC2D}"/>
                </a:ext>
              </a:extLst>
            </p:cNvPr>
            <p:cNvSpPr txBox="1"/>
            <p:nvPr/>
          </p:nvSpPr>
          <p:spPr>
            <a:xfrm>
              <a:off x="6388255" y="3927538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8CA52DBF-3F06-301D-6EF1-15476A386034}"/>
                </a:ext>
              </a:extLst>
            </p:cNvPr>
            <p:cNvSpPr txBox="1"/>
            <p:nvPr/>
          </p:nvSpPr>
          <p:spPr>
            <a:xfrm>
              <a:off x="6388255" y="4327834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1A64A230-96EB-2209-543E-80AB4724A406}"/>
                </a:ext>
              </a:extLst>
            </p:cNvPr>
            <p:cNvSpPr txBox="1"/>
            <p:nvPr/>
          </p:nvSpPr>
          <p:spPr>
            <a:xfrm>
              <a:off x="6388255" y="4728130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C4AC2FB0-1C31-F0F2-92D4-83EA2D4617FD}"/>
                </a:ext>
              </a:extLst>
            </p:cNvPr>
            <p:cNvSpPr txBox="1"/>
            <p:nvPr/>
          </p:nvSpPr>
          <p:spPr>
            <a:xfrm>
              <a:off x="6388255" y="5128435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48092C77-13DE-FB6D-F10E-B324668EA668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5128435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379E028-6F00-B5A5-03DA-A2CECD3B7689}"/>
                </a:ext>
              </a:extLst>
            </p:cNvPr>
            <p:cNvCxnSpPr/>
            <p:nvPr/>
          </p:nvCxnSpPr>
          <p:spPr>
            <a:xfrm>
              <a:off x="837333" y="1438445"/>
              <a:ext cx="5128098" cy="0"/>
            </a:xfrm>
            <a:prstGeom prst="line">
              <a:avLst/>
            </a:prstGeom>
            <a:ln>
              <a:solidFill>
                <a:srgbClr val="195167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D5897CB8-D315-C894-3113-17E696827589}"/>
                </a:ext>
              </a:extLst>
            </p:cNvPr>
            <p:cNvCxnSpPr/>
            <p:nvPr/>
          </p:nvCxnSpPr>
          <p:spPr>
            <a:xfrm>
              <a:off x="6377475" y="1438445"/>
              <a:ext cx="5127827" cy="0"/>
            </a:xfrm>
            <a:prstGeom prst="line">
              <a:avLst/>
            </a:prstGeom>
            <a:ln>
              <a:solidFill>
                <a:srgbClr val="0B8A9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4253152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1C552C-46A0-8160-2428-04A093BFFF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19B6E01-D42B-87B8-5614-488EC70426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9B6E01-D42B-87B8-5614-488EC7042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BC0004-85E7-980B-2BA0-E58B5D49C0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3A04990-54C0-FA25-4B4D-A24D6DC6042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A3E7969-603C-EA61-9ADA-BAFBC40DEC56}"/>
              </a:ext>
            </a:extLst>
          </p:cNvPr>
          <p:cNvSpPr/>
          <p:nvPr/>
        </p:nvSpPr>
        <p:spPr>
          <a:xfrm>
            <a:off x="991541" y="1279840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1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2A14AA5-E9F3-CDCA-197E-7AA84CEACBBF}"/>
              </a:ext>
            </a:extLst>
          </p:cNvPr>
          <p:cNvSpPr/>
          <p:nvPr/>
        </p:nvSpPr>
        <p:spPr>
          <a:xfrm>
            <a:off x="10466662" y="1423181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375C1A-1C1A-FFE3-BD2C-6A1220CEF581}"/>
              </a:ext>
            </a:extLst>
          </p:cNvPr>
          <p:cNvSpPr/>
          <p:nvPr/>
        </p:nvSpPr>
        <p:spPr>
          <a:xfrm>
            <a:off x="1215551" y="1598601"/>
            <a:ext cx="90640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4F9D117-C159-B7D6-E506-2521CDCDA6C0}"/>
              </a:ext>
            </a:extLst>
          </p:cNvPr>
          <p:cNvSpPr/>
          <p:nvPr/>
        </p:nvSpPr>
        <p:spPr>
          <a:xfrm>
            <a:off x="991541" y="2539045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2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7A903B0-BCBE-BE1A-4633-804F8C1F666B}"/>
              </a:ext>
            </a:extLst>
          </p:cNvPr>
          <p:cNvSpPr/>
          <p:nvPr/>
        </p:nvSpPr>
        <p:spPr>
          <a:xfrm>
            <a:off x="10466662" y="2681237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7EECB8-7EBE-1943-813E-A4707C779622}"/>
              </a:ext>
            </a:extLst>
          </p:cNvPr>
          <p:cNvSpPr/>
          <p:nvPr/>
        </p:nvSpPr>
        <p:spPr>
          <a:xfrm>
            <a:off x="1215551" y="2857807"/>
            <a:ext cx="90640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077D8D5-4306-4B77-702F-DFC7ADF0DD84}"/>
              </a:ext>
            </a:extLst>
          </p:cNvPr>
          <p:cNvSpPr/>
          <p:nvPr/>
        </p:nvSpPr>
        <p:spPr>
          <a:xfrm>
            <a:off x="991541" y="3798250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4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1F24807-8CCE-94DB-5D8B-4A500B37F75B}"/>
              </a:ext>
            </a:extLst>
          </p:cNvPr>
          <p:cNvSpPr/>
          <p:nvPr/>
        </p:nvSpPr>
        <p:spPr>
          <a:xfrm>
            <a:off x="10466662" y="3979771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4"/>
                </a:solidFill>
              </a:rPr>
              <a:t>0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28AA05-2B77-0167-884C-F2E388DF6753}"/>
              </a:ext>
            </a:extLst>
          </p:cNvPr>
          <p:cNvSpPr/>
          <p:nvPr/>
        </p:nvSpPr>
        <p:spPr>
          <a:xfrm>
            <a:off x="1215551" y="4117012"/>
            <a:ext cx="9064046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20AAB10C-1FEC-5703-1ED1-E8274F0B049D}"/>
              </a:ext>
            </a:extLst>
          </p:cNvPr>
          <p:cNvSpPr/>
          <p:nvPr/>
        </p:nvSpPr>
        <p:spPr>
          <a:xfrm>
            <a:off x="991541" y="5057455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5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B5E3A83-B9BD-32E9-6B52-0E9F8BEE921B}"/>
              </a:ext>
            </a:extLst>
          </p:cNvPr>
          <p:cNvSpPr/>
          <p:nvPr/>
        </p:nvSpPr>
        <p:spPr>
          <a:xfrm>
            <a:off x="10466662" y="5238976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</a:rPr>
              <a:t>0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655B1D-817A-0B10-DB58-7A2D5D56E4E1}"/>
              </a:ext>
            </a:extLst>
          </p:cNvPr>
          <p:cNvSpPr/>
          <p:nvPr/>
        </p:nvSpPr>
        <p:spPr>
          <a:xfrm>
            <a:off x="1215551" y="5376217"/>
            <a:ext cx="90640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250399495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396D71-B1D2-5DE5-7E30-16F5173E98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89F7C86-E2E9-551E-D581-DDE10D6ED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9F7C86-E2E9-551E-D581-DDE10D6ED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EA673DD7-17F6-732E-4BC9-447C84C17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6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A3D753A-136B-8046-3149-6EFB461D58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rocess</a:t>
            </a:r>
          </a:p>
        </p:txBody>
      </p:sp>
    </p:spTree>
    <p:extLst>
      <p:ext uri="{BB962C8B-B14F-4D97-AF65-F5344CB8AC3E}">
        <p14:creationId xmlns:p14="http://schemas.microsoft.com/office/powerpoint/2010/main" val="340222019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321B2B-A85D-92F8-6732-DE0CD5BA38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53FBA40-7984-A03D-3CC7-64A8420360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3FBA40-7984-A03D-3CC7-64A8420360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444476-8BDC-DF1B-84F4-814FD90FF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9A6B7A5-AF07-7070-1343-B91280F927F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Notched Right Arrow 3">
            <a:extLst>
              <a:ext uri="{FF2B5EF4-FFF2-40B4-BE49-F238E27FC236}">
                <a16:creationId xmlns:a16="http://schemas.microsoft.com/office/drawing/2014/main" id="{AB96D867-0B13-66EC-21A3-14A88579C60B}"/>
              </a:ext>
            </a:extLst>
          </p:cNvPr>
          <p:cNvSpPr/>
          <p:nvPr/>
        </p:nvSpPr>
        <p:spPr>
          <a:xfrm>
            <a:off x="838200" y="1421949"/>
            <a:ext cx="10515600" cy="2412703"/>
          </a:xfrm>
          <a:prstGeom prst="notchedRightArrow">
            <a:avLst/>
          </a:prstGeom>
          <a:solidFill>
            <a:schemeClr val="bg1">
              <a:lumMod val="85000"/>
              <a:alpha val="50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4D6046A-05E4-88B2-E950-14BFE9943B6F}"/>
              </a:ext>
            </a:extLst>
          </p:cNvPr>
          <p:cNvSpPr/>
          <p:nvPr/>
        </p:nvSpPr>
        <p:spPr>
          <a:xfrm>
            <a:off x="1589051" y="2027203"/>
            <a:ext cx="1202196" cy="120219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4A6F0C6-4495-7635-C332-3794D883AD94}"/>
              </a:ext>
            </a:extLst>
          </p:cNvPr>
          <p:cNvSpPr txBox="1"/>
          <p:nvPr/>
        </p:nvSpPr>
        <p:spPr>
          <a:xfrm>
            <a:off x="1238719" y="3628602"/>
            <a:ext cx="1874983" cy="141735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896098-47F3-B061-31A9-8A759006E9CA}"/>
              </a:ext>
            </a:extLst>
          </p:cNvPr>
          <p:cNvSpPr txBox="1"/>
          <p:nvPr/>
        </p:nvSpPr>
        <p:spPr>
          <a:xfrm>
            <a:off x="5476981" y="3628602"/>
            <a:ext cx="1874983" cy="141735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83B6455-AD55-1475-6838-3AB556E901EB}"/>
              </a:ext>
            </a:extLst>
          </p:cNvPr>
          <p:cNvSpPr txBox="1"/>
          <p:nvPr/>
        </p:nvSpPr>
        <p:spPr>
          <a:xfrm>
            <a:off x="7596113" y="3628602"/>
            <a:ext cx="1874983" cy="141735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361651-6256-8DED-40DA-C206F70FF3D2}"/>
              </a:ext>
            </a:extLst>
          </p:cNvPr>
          <p:cNvSpPr txBox="1"/>
          <p:nvPr/>
        </p:nvSpPr>
        <p:spPr>
          <a:xfrm>
            <a:off x="3357850" y="3628602"/>
            <a:ext cx="1874983" cy="141735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B1CC8E6-7D72-6ECA-F08B-45E80137ECAE}"/>
              </a:ext>
            </a:extLst>
          </p:cNvPr>
          <p:cNvSpPr/>
          <p:nvPr/>
        </p:nvSpPr>
        <p:spPr>
          <a:xfrm>
            <a:off x="7932506" y="2027203"/>
            <a:ext cx="1202196" cy="120219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grpSp>
        <p:nvGrpSpPr>
          <p:cNvPr id="28" name="ZenIcon1">
            <a:extLst>
              <a:ext uri="{FF2B5EF4-FFF2-40B4-BE49-F238E27FC236}">
                <a16:creationId xmlns:a16="http://schemas.microsoft.com/office/drawing/2014/main" id="{B06EF1E4-535B-1A68-F0F7-8525C7323DC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235637" y="2381130"/>
            <a:ext cx="595944" cy="595944"/>
            <a:chOff x="5712412" y="975681"/>
            <a:chExt cx="671730" cy="639392"/>
          </a:xfrm>
        </p:grpSpPr>
        <p:sp>
          <p:nvSpPr>
            <p:cNvPr id="45" name="Freeform 26">
              <a:extLst>
                <a:ext uri="{FF2B5EF4-FFF2-40B4-BE49-F238E27FC236}">
                  <a16:creationId xmlns:a16="http://schemas.microsoft.com/office/drawing/2014/main" id="{7F279EA2-1CDF-AA02-CEFB-9B951A8C12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12" y="975681"/>
              <a:ext cx="671730" cy="63939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6" name="Freeform 27">
              <a:extLst>
                <a:ext uri="{FF2B5EF4-FFF2-40B4-BE49-F238E27FC236}">
                  <a16:creationId xmlns:a16="http://schemas.microsoft.com/office/drawing/2014/main" id="{E5B12851-84F1-2B6B-B30F-960C0F6DDD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0BBB2A93-EE94-88F6-1C36-36C2DC8F99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29">
              <a:extLst>
                <a:ext uri="{FF2B5EF4-FFF2-40B4-BE49-F238E27FC236}">
                  <a16:creationId xmlns:a16="http://schemas.microsoft.com/office/drawing/2014/main" id="{41CEE297-E15D-09FC-6328-EAF8475C1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01FF1D13-A655-54E6-9353-11446B863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78249E1F-F9E3-1590-0C23-79B17350C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255BD8E9-C624-6072-8237-5ACB72550325}"/>
              </a:ext>
            </a:extLst>
          </p:cNvPr>
          <p:cNvGrpSpPr/>
          <p:nvPr/>
        </p:nvGrpSpPr>
        <p:grpSpPr>
          <a:xfrm>
            <a:off x="5818021" y="2027203"/>
            <a:ext cx="1202196" cy="1202196"/>
            <a:chOff x="5490057" y="2027203"/>
            <a:chExt cx="1202196" cy="1202196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EA561DB3-17DF-3052-0469-C043C6AB01B6}"/>
                </a:ext>
              </a:extLst>
            </p:cNvPr>
            <p:cNvSpPr/>
            <p:nvPr/>
          </p:nvSpPr>
          <p:spPr>
            <a:xfrm>
              <a:off x="5490057" y="2027203"/>
              <a:ext cx="1202196" cy="12021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9" name="ZenIcon2">
              <a:extLst>
                <a:ext uri="{FF2B5EF4-FFF2-40B4-BE49-F238E27FC236}">
                  <a16:creationId xmlns:a16="http://schemas.microsoft.com/office/drawing/2014/main" id="{AB106BB0-E1E2-9932-62BF-3935BCACE1AC}"/>
                </a:ext>
              </a:extLst>
            </p:cNvPr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5828479" y="2365979"/>
              <a:ext cx="524644" cy="524644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5465AE-7ECF-4353-DF70-AA7852446D23}"/>
              </a:ext>
            </a:extLst>
          </p:cNvPr>
          <p:cNvGrpSpPr/>
          <p:nvPr/>
        </p:nvGrpSpPr>
        <p:grpSpPr>
          <a:xfrm>
            <a:off x="3703536" y="2027203"/>
            <a:ext cx="1202196" cy="1202196"/>
            <a:chOff x="3405184" y="2027203"/>
            <a:chExt cx="1202196" cy="120219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0956462-4E55-77F3-E41C-911F2DF024C3}"/>
                </a:ext>
              </a:extLst>
            </p:cNvPr>
            <p:cNvSpPr/>
            <p:nvPr/>
          </p:nvSpPr>
          <p:spPr>
            <a:xfrm>
              <a:off x="3405184" y="2027203"/>
              <a:ext cx="1202196" cy="12021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30" name="ZenIcon3">
              <a:extLst>
                <a:ext uri="{FF2B5EF4-FFF2-40B4-BE49-F238E27FC236}">
                  <a16:creationId xmlns:a16="http://schemas.microsoft.com/office/drawing/2014/main" id="{8794736D-16A5-6278-3805-3C290162DCD2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3743960" y="2365327"/>
              <a:ext cx="524644" cy="525948"/>
            </a:xfrm>
            <a:custGeom>
              <a:avLst/>
              <a:gdLst>
                <a:gd name="T0" fmla="*/ 1698 w 2448"/>
                <a:gd name="T1" fmla="*/ 97 h 2446"/>
                <a:gd name="T2" fmla="*/ 748 w 2448"/>
                <a:gd name="T3" fmla="*/ 97 h 2446"/>
                <a:gd name="T4" fmla="*/ 0 w 2448"/>
                <a:gd name="T5" fmla="*/ 1222 h 2446"/>
                <a:gd name="T6" fmla="*/ 748 w 2448"/>
                <a:gd name="T7" fmla="*/ 2349 h 2446"/>
                <a:gd name="T8" fmla="*/ 1698 w 2448"/>
                <a:gd name="T9" fmla="*/ 2349 h 2446"/>
                <a:gd name="T10" fmla="*/ 2448 w 2448"/>
                <a:gd name="T11" fmla="*/ 1222 h 2446"/>
                <a:gd name="T12" fmla="*/ 816 w 2448"/>
                <a:gd name="T13" fmla="*/ 227 h 2446"/>
                <a:gd name="T14" fmla="*/ 264 w 2448"/>
                <a:gd name="T15" fmla="*/ 737 h 2446"/>
                <a:gd name="T16" fmla="*/ 149 w 2448"/>
                <a:gd name="T17" fmla="*/ 1222 h 2446"/>
                <a:gd name="T18" fmla="*/ 554 w 2448"/>
                <a:gd name="T19" fmla="*/ 884 h 2446"/>
                <a:gd name="T20" fmla="*/ 554 w 2448"/>
                <a:gd name="T21" fmla="*/ 1556 h 2446"/>
                <a:gd name="T22" fmla="*/ 149 w 2448"/>
                <a:gd name="T23" fmla="*/ 1222 h 2446"/>
                <a:gd name="T24" fmla="*/ 584 w 2448"/>
                <a:gd name="T25" fmla="*/ 1704 h 2446"/>
                <a:gd name="T26" fmla="*/ 264 w 2448"/>
                <a:gd name="T27" fmla="*/ 1704 h 2446"/>
                <a:gd name="T28" fmla="*/ 906 w 2448"/>
                <a:gd name="T29" fmla="*/ 2092 h 2446"/>
                <a:gd name="T30" fmla="*/ 1148 w 2448"/>
                <a:gd name="T31" fmla="*/ 1704 h 2446"/>
                <a:gd name="T32" fmla="*/ 1148 w 2448"/>
                <a:gd name="T33" fmla="*/ 1556 h 2446"/>
                <a:gd name="T34" fmla="*/ 677 w 2448"/>
                <a:gd name="T35" fmla="*/ 1222 h 2446"/>
                <a:gd name="T36" fmla="*/ 1148 w 2448"/>
                <a:gd name="T37" fmla="*/ 884 h 2446"/>
                <a:gd name="T38" fmla="*/ 1148 w 2448"/>
                <a:gd name="T39" fmla="*/ 737 h 2446"/>
                <a:gd name="T40" fmla="*/ 909 w 2448"/>
                <a:gd name="T41" fmla="*/ 353 h 2446"/>
                <a:gd name="T42" fmla="*/ 1148 w 2448"/>
                <a:gd name="T43" fmla="*/ 737 h 2446"/>
                <a:gd name="T44" fmla="*/ 1864 w 2448"/>
                <a:gd name="T45" fmla="*/ 737 h 2446"/>
                <a:gd name="T46" fmla="*/ 2184 w 2448"/>
                <a:gd name="T47" fmla="*/ 737 h 2446"/>
                <a:gd name="T48" fmla="*/ 1539 w 2448"/>
                <a:gd name="T49" fmla="*/ 353 h 2446"/>
                <a:gd name="T50" fmla="*/ 1300 w 2448"/>
                <a:gd name="T51" fmla="*/ 737 h 2446"/>
                <a:gd name="T52" fmla="*/ 1300 w 2448"/>
                <a:gd name="T53" fmla="*/ 884 h 2446"/>
                <a:gd name="T54" fmla="*/ 1771 w 2448"/>
                <a:gd name="T55" fmla="*/ 1222 h 2446"/>
                <a:gd name="T56" fmla="*/ 1300 w 2448"/>
                <a:gd name="T57" fmla="*/ 1556 h 2446"/>
                <a:gd name="T58" fmla="*/ 1300 w 2448"/>
                <a:gd name="T59" fmla="*/ 2286 h 2446"/>
                <a:gd name="T60" fmla="*/ 1711 w 2448"/>
                <a:gd name="T61" fmla="*/ 1704 h 2446"/>
                <a:gd name="T62" fmla="*/ 1300 w 2448"/>
                <a:gd name="T63" fmla="*/ 2286 h 2446"/>
                <a:gd name="T64" fmla="*/ 1864 w 2448"/>
                <a:gd name="T65" fmla="*/ 1704 h 2446"/>
                <a:gd name="T66" fmla="*/ 1632 w 2448"/>
                <a:gd name="T67" fmla="*/ 2219 h 2446"/>
                <a:gd name="T68" fmla="*/ 1894 w 2448"/>
                <a:gd name="T69" fmla="*/ 1556 h 2446"/>
                <a:gd name="T70" fmla="*/ 1894 w 2448"/>
                <a:gd name="T71" fmla="*/ 884 h 2446"/>
                <a:gd name="T72" fmla="*/ 2299 w 2448"/>
                <a:gd name="T73" fmla="*/ 1222 h 2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48" h="2446">
                  <a:moveTo>
                    <a:pt x="2350" y="747"/>
                  </a:moveTo>
                  <a:cubicBezTo>
                    <a:pt x="2221" y="446"/>
                    <a:pt x="2002" y="227"/>
                    <a:pt x="1698" y="97"/>
                  </a:cubicBezTo>
                  <a:cubicBezTo>
                    <a:pt x="1547" y="33"/>
                    <a:pt x="1389" y="0"/>
                    <a:pt x="1223" y="0"/>
                  </a:cubicBezTo>
                  <a:cubicBezTo>
                    <a:pt x="1057" y="0"/>
                    <a:pt x="900" y="32"/>
                    <a:pt x="748" y="97"/>
                  </a:cubicBezTo>
                  <a:cubicBezTo>
                    <a:pt x="447" y="226"/>
                    <a:pt x="226" y="445"/>
                    <a:pt x="96" y="747"/>
                  </a:cubicBezTo>
                  <a:cubicBezTo>
                    <a:pt x="32" y="898"/>
                    <a:pt x="0" y="1056"/>
                    <a:pt x="0" y="1222"/>
                  </a:cubicBezTo>
                  <a:cubicBezTo>
                    <a:pt x="0" y="1388"/>
                    <a:pt x="32" y="1547"/>
                    <a:pt x="96" y="1698"/>
                  </a:cubicBezTo>
                  <a:cubicBezTo>
                    <a:pt x="226" y="2000"/>
                    <a:pt x="447" y="2220"/>
                    <a:pt x="748" y="2349"/>
                  </a:cubicBezTo>
                  <a:cubicBezTo>
                    <a:pt x="900" y="2414"/>
                    <a:pt x="1057" y="2446"/>
                    <a:pt x="1223" y="2446"/>
                  </a:cubicBezTo>
                  <a:cubicBezTo>
                    <a:pt x="1389" y="2446"/>
                    <a:pt x="1547" y="2413"/>
                    <a:pt x="1698" y="2349"/>
                  </a:cubicBezTo>
                  <a:cubicBezTo>
                    <a:pt x="2002" y="2219"/>
                    <a:pt x="2221" y="1999"/>
                    <a:pt x="2350" y="1698"/>
                  </a:cubicBezTo>
                  <a:cubicBezTo>
                    <a:pt x="2415" y="1547"/>
                    <a:pt x="2448" y="1388"/>
                    <a:pt x="2448" y="1222"/>
                  </a:cubicBezTo>
                  <a:cubicBezTo>
                    <a:pt x="2448" y="1056"/>
                    <a:pt x="2415" y="898"/>
                    <a:pt x="2350" y="747"/>
                  </a:cubicBezTo>
                  <a:close/>
                  <a:moveTo>
                    <a:pt x="816" y="227"/>
                  </a:moveTo>
                  <a:cubicBezTo>
                    <a:pt x="711" y="361"/>
                    <a:pt x="633" y="531"/>
                    <a:pt x="584" y="737"/>
                  </a:cubicBezTo>
                  <a:cubicBezTo>
                    <a:pt x="264" y="737"/>
                    <a:pt x="264" y="737"/>
                    <a:pt x="264" y="737"/>
                  </a:cubicBezTo>
                  <a:cubicBezTo>
                    <a:pt x="381" y="508"/>
                    <a:pt x="580" y="325"/>
                    <a:pt x="816" y="227"/>
                  </a:cubicBezTo>
                  <a:close/>
                  <a:moveTo>
                    <a:pt x="149" y="1222"/>
                  </a:moveTo>
                  <a:cubicBezTo>
                    <a:pt x="149" y="1105"/>
                    <a:pt x="167" y="993"/>
                    <a:pt x="203" y="884"/>
                  </a:cubicBezTo>
                  <a:cubicBezTo>
                    <a:pt x="554" y="884"/>
                    <a:pt x="554" y="884"/>
                    <a:pt x="554" y="884"/>
                  </a:cubicBezTo>
                  <a:cubicBezTo>
                    <a:pt x="537" y="998"/>
                    <a:pt x="529" y="1111"/>
                    <a:pt x="529" y="1222"/>
                  </a:cubicBezTo>
                  <a:cubicBezTo>
                    <a:pt x="529" y="1331"/>
                    <a:pt x="537" y="1443"/>
                    <a:pt x="554" y="1556"/>
                  </a:cubicBezTo>
                  <a:cubicBezTo>
                    <a:pt x="201" y="1556"/>
                    <a:pt x="201" y="1556"/>
                    <a:pt x="201" y="1556"/>
                  </a:cubicBezTo>
                  <a:cubicBezTo>
                    <a:pt x="166" y="1448"/>
                    <a:pt x="149" y="1335"/>
                    <a:pt x="149" y="1222"/>
                  </a:cubicBezTo>
                  <a:close/>
                  <a:moveTo>
                    <a:pt x="264" y="1704"/>
                  </a:moveTo>
                  <a:cubicBezTo>
                    <a:pt x="584" y="1704"/>
                    <a:pt x="584" y="1704"/>
                    <a:pt x="584" y="1704"/>
                  </a:cubicBezTo>
                  <a:cubicBezTo>
                    <a:pt x="633" y="1914"/>
                    <a:pt x="711" y="2086"/>
                    <a:pt x="816" y="2219"/>
                  </a:cubicBezTo>
                  <a:cubicBezTo>
                    <a:pt x="576" y="2118"/>
                    <a:pt x="377" y="1935"/>
                    <a:pt x="264" y="1704"/>
                  </a:cubicBezTo>
                  <a:close/>
                  <a:moveTo>
                    <a:pt x="1148" y="2286"/>
                  </a:moveTo>
                  <a:cubicBezTo>
                    <a:pt x="1061" y="2260"/>
                    <a:pt x="980" y="2196"/>
                    <a:pt x="906" y="2092"/>
                  </a:cubicBezTo>
                  <a:cubicBezTo>
                    <a:pt x="833" y="1987"/>
                    <a:pt x="776" y="1857"/>
                    <a:pt x="737" y="1704"/>
                  </a:cubicBezTo>
                  <a:cubicBezTo>
                    <a:pt x="1148" y="1704"/>
                    <a:pt x="1148" y="1704"/>
                    <a:pt x="1148" y="1704"/>
                  </a:cubicBezTo>
                  <a:lnTo>
                    <a:pt x="1148" y="2286"/>
                  </a:lnTo>
                  <a:close/>
                  <a:moveTo>
                    <a:pt x="1148" y="1556"/>
                  </a:moveTo>
                  <a:cubicBezTo>
                    <a:pt x="704" y="1556"/>
                    <a:pt x="704" y="1556"/>
                    <a:pt x="704" y="1556"/>
                  </a:cubicBezTo>
                  <a:cubicBezTo>
                    <a:pt x="687" y="1437"/>
                    <a:pt x="677" y="1326"/>
                    <a:pt x="677" y="1222"/>
                  </a:cubicBezTo>
                  <a:cubicBezTo>
                    <a:pt x="677" y="1109"/>
                    <a:pt x="687" y="997"/>
                    <a:pt x="707" y="884"/>
                  </a:cubicBezTo>
                  <a:cubicBezTo>
                    <a:pt x="1148" y="884"/>
                    <a:pt x="1148" y="884"/>
                    <a:pt x="1148" y="884"/>
                  </a:cubicBezTo>
                  <a:cubicBezTo>
                    <a:pt x="1148" y="1556"/>
                    <a:pt x="1148" y="1556"/>
                    <a:pt x="1148" y="1556"/>
                  </a:cubicBezTo>
                  <a:close/>
                  <a:moveTo>
                    <a:pt x="1148" y="737"/>
                  </a:moveTo>
                  <a:cubicBezTo>
                    <a:pt x="737" y="737"/>
                    <a:pt x="737" y="737"/>
                    <a:pt x="737" y="737"/>
                  </a:cubicBezTo>
                  <a:cubicBezTo>
                    <a:pt x="779" y="585"/>
                    <a:pt x="836" y="456"/>
                    <a:pt x="909" y="353"/>
                  </a:cubicBezTo>
                  <a:cubicBezTo>
                    <a:pt x="983" y="249"/>
                    <a:pt x="1061" y="184"/>
                    <a:pt x="1148" y="160"/>
                  </a:cubicBezTo>
                  <a:cubicBezTo>
                    <a:pt x="1148" y="737"/>
                    <a:pt x="1148" y="737"/>
                    <a:pt x="1148" y="737"/>
                  </a:cubicBezTo>
                  <a:close/>
                  <a:moveTo>
                    <a:pt x="2184" y="737"/>
                  </a:moveTo>
                  <a:cubicBezTo>
                    <a:pt x="1864" y="737"/>
                    <a:pt x="1864" y="737"/>
                    <a:pt x="1864" y="737"/>
                  </a:cubicBezTo>
                  <a:cubicBezTo>
                    <a:pt x="1815" y="531"/>
                    <a:pt x="1737" y="361"/>
                    <a:pt x="1632" y="227"/>
                  </a:cubicBezTo>
                  <a:cubicBezTo>
                    <a:pt x="1868" y="325"/>
                    <a:pt x="2067" y="508"/>
                    <a:pt x="2184" y="737"/>
                  </a:cubicBezTo>
                  <a:close/>
                  <a:moveTo>
                    <a:pt x="1300" y="160"/>
                  </a:moveTo>
                  <a:cubicBezTo>
                    <a:pt x="1387" y="184"/>
                    <a:pt x="1465" y="249"/>
                    <a:pt x="1539" y="353"/>
                  </a:cubicBezTo>
                  <a:cubicBezTo>
                    <a:pt x="1613" y="456"/>
                    <a:pt x="1669" y="585"/>
                    <a:pt x="1711" y="737"/>
                  </a:cubicBezTo>
                  <a:cubicBezTo>
                    <a:pt x="1300" y="737"/>
                    <a:pt x="1300" y="737"/>
                    <a:pt x="1300" y="737"/>
                  </a:cubicBezTo>
                  <a:lnTo>
                    <a:pt x="1300" y="160"/>
                  </a:lnTo>
                  <a:close/>
                  <a:moveTo>
                    <a:pt x="1300" y="884"/>
                  </a:moveTo>
                  <a:cubicBezTo>
                    <a:pt x="1741" y="884"/>
                    <a:pt x="1741" y="884"/>
                    <a:pt x="1741" y="884"/>
                  </a:cubicBezTo>
                  <a:cubicBezTo>
                    <a:pt x="1761" y="997"/>
                    <a:pt x="1771" y="1109"/>
                    <a:pt x="1771" y="1222"/>
                  </a:cubicBezTo>
                  <a:cubicBezTo>
                    <a:pt x="1771" y="1326"/>
                    <a:pt x="1761" y="1437"/>
                    <a:pt x="1744" y="1556"/>
                  </a:cubicBezTo>
                  <a:cubicBezTo>
                    <a:pt x="1300" y="1556"/>
                    <a:pt x="1300" y="1556"/>
                    <a:pt x="1300" y="1556"/>
                  </a:cubicBezTo>
                  <a:lnTo>
                    <a:pt x="1300" y="884"/>
                  </a:lnTo>
                  <a:close/>
                  <a:moveTo>
                    <a:pt x="1300" y="2286"/>
                  </a:moveTo>
                  <a:cubicBezTo>
                    <a:pt x="1300" y="1704"/>
                    <a:pt x="1300" y="1704"/>
                    <a:pt x="1300" y="1704"/>
                  </a:cubicBezTo>
                  <a:cubicBezTo>
                    <a:pt x="1711" y="1704"/>
                    <a:pt x="1711" y="1704"/>
                    <a:pt x="1711" y="1704"/>
                  </a:cubicBezTo>
                  <a:cubicBezTo>
                    <a:pt x="1670" y="1857"/>
                    <a:pt x="1613" y="1987"/>
                    <a:pt x="1541" y="2092"/>
                  </a:cubicBezTo>
                  <a:cubicBezTo>
                    <a:pt x="1467" y="2197"/>
                    <a:pt x="1388" y="2262"/>
                    <a:pt x="1300" y="2286"/>
                  </a:cubicBezTo>
                  <a:close/>
                  <a:moveTo>
                    <a:pt x="1632" y="2219"/>
                  </a:moveTo>
                  <a:cubicBezTo>
                    <a:pt x="1737" y="2086"/>
                    <a:pt x="1815" y="1914"/>
                    <a:pt x="1864" y="1704"/>
                  </a:cubicBezTo>
                  <a:cubicBezTo>
                    <a:pt x="2184" y="1704"/>
                    <a:pt x="2184" y="1704"/>
                    <a:pt x="2184" y="1704"/>
                  </a:cubicBezTo>
                  <a:cubicBezTo>
                    <a:pt x="2071" y="1935"/>
                    <a:pt x="1872" y="2118"/>
                    <a:pt x="1632" y="2219"/>
                  </a:cubicBezTo>
                  <a:close/>
                  <a:moveTo>
                    <a:pt x="2247" y="1556"/>
                  </a:moveTo>
                  <a:cubicBezTo>
                    <a:pt x="1894" y="1556"/>
                    <a:pt x="1894" y="1556"/>
                    <a:pt x="1894" y="1556"/>
                  </a:cubicBezTo>
                  <a:cubicBezTo>
                    <a:pt x="1911" y="1443"/>
                    <a:pt x="1919" y="1331"/>
                    <a:pt x="1919" y="1222"/>
                  </a:cubicBezTo>
                  <a:cubicBezTo>
                    <a:pt x="1919" y="1111"/>
                    <a:pt x="1911" y="998"/>
                    <a:pt x="1894" y="884"/>
                  </a:cubicBezTo>
                  <a:cubicBezTo>
                    <a:pt x="2245" y="884"/>
                    <a:pt x="2245" y="884"/>
                    <a:pt x="2245" y="884"/>
                  </a:cubicBezTo>
                  <a:cubicBezTo>
                    <a:pt x="2281" y="993"/>
                    <a:pt x="2299" y="1105"/>
                    <a:pt x="2299" y="1222"/>
                  </a:cubicBezTo>
                  <a:cubicBezTo>
                    <a:pt x="2299" y="1335"/>
                    <a:pt x="2282" y="1448"/>
                    <a:pt x="2247" y="15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" name="ZenIcon4">
            <a:extLst>
              <a:ext uri="{FF2B5EF4-FFF2-40B4-BE49-F238E27FC236}">
                <a16:creationId xmlns:a16="http://schemas.microsoft.com/office/drawing/2014/main" id="{19AF8708-D6AF-7F30-56D4-1A1809581E63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927827" y="2365979"/>
            <a:ext cx="524644" cy="524644"/>
            <a:chOff x="-4769427" y="-314325"/>
            <a:chExt cx="4660901" cy="4576762"/>
          </a:xfrm>
        </p:grpSpPr>
        <p:sp>
          <p:nvSpPr>
            <p:cNvPr id="39" name="Freeform 23">
              <a:extLst>
                <a:ext uri="{FF2B5EF4-FFF2-40B4-BE49-F238E27FC236}">
                  <a16:creationId xmlns:a16="http://schemas.microsoft.com/office/drawing/2014/main" id="{F3ABBDFD-35F3-A2EB-CACB-E4F1CA6C05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4">
              <a:extLst>
                <a:ext uri="{FF2B5EF4-FFF2-40B4-BE49-F238E27FC236}">
                  <a16:creationId xmlns:a16="http://schemas.microsoft.com/office/drawing/2014/main" id="{1BC1C4BC-164D-8BF4-1540-A3D42C6AE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5">
              <a:extLst>
                <a:ext uri="{FF2B5EF4-FFF2-40B4-BE49-F238E27FC236}">
                  <a16:creationId xmlns:a16="http://schemas.microsoft.com/office/drawing/2014/main" id="{7A09C9D9-C5AD-6E6A-C6CC-2505B1F00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6">
              <a:extLst>
                <a:ext uri="{FF2B5EF4-FFF2-40B4-BE49-F238E27FC236}">
                  <a16:creationId xmlns:a16="http://schemas.microsoft.com/office/drawing/2014/main" id="{6B598BE6-2586-3EAF-527C-306A9ED9B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7">
              <a:extLst>
                <a:ext uri="{FF2B5EF4-FFF2-40B4-BE49-F238E27FC236}">
                  <a16:creationId xmlns:a16="http://schemas.microsoft.com/office/drawing/2014/main" id="{F3A8A4D4-0189-DBC9-F75E-4525A701B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8">
              <a:extLst>
                <a:ext uri="{FF2B5EF4-FFF2-40B4-BE49-F238E27FC236}">
                  <a16:creationId xmlns:a16="http://schemas.microsoft.com/office/drawing/2014/main" id="{8FE9C770-6DA4-4B8F-F853-29C818B44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457553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8B6199-FBF9-6179-8F97-13268BCC6F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DCD907C-9629-59D4-EA02-B8A15663B8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CD907C-9629-59D4-EA02-B8A15663B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BFA9BA-05A3-F263-918D-A2ED7F9F28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8AE951C-F37F-CDE5-F183-7957398FD81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8" name="Arrow: Up 6">
            <a:extLst>
              <a:ext uri="{FF2B5EF4-FFF2-40B4-BE49-F238E27FC236}">
                <a16:creationId xmlns:a16="http://schemas.microsoft.com/office/drawing/2014/main" id="{AD685E5F-88A1-5F6E-085A-99CE385D3B69}"/>
              </a:ext>
            </a:extLst>
          </p:cNvPr>
          <p:cNvSpPr/>
          <p:nvPr/>
        </p:nvSpPr>
        <p:spPr>
          <a:xfrm rot="2732579" flipH="1">
            <a:off x="6849915" y="1514156"/>
            <a:ext cx="2807517" cy="2476331"/>
          </a:xfrm>
          <a:prstGeom prst="upArrow">
            <a:avLst>
              <a:gd name="adj1" fmla="val 68657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3CF69EF-8FD6-AD6D-DEA2-AD281D791854}"/>
              </a:ext>
            </a:extLst>
          </p:cNvPr>
          <p:cNvGrpSpPr/>
          <p:nvPr/>
        </p:nvGrpSpPr>
        <p:grpSpPr>
          <a:xfrm>
            <a:off x="717925" y="1247812"/>
            <a:ext cx="11044537" cy="4537863"/>
            <a:chOff x="700646" y="1525604"/>
            <a:chExt cx="11044537" cy="4537863"/>
          </a:xfrm>
        </p:grpSpPr>
        <p:sp>
          <p:nvSpPr>
            <p:cNvPr id="40" name="Freeform: Shape 12">
              <a:extLst>
                <a:ext uri="{FF2B5EF4-FFF2-40B4-BE49-F238E27FC236}">
                  <a16:creationId xmlns:a16="http://schemas.microsoft.com/office/drawing/2014/main" id="{FA02C344-C788-E7EE-4370-EDCED44C1758}"/>
                </a:ext>
              </a:extLst>
            </p:cNvPr>
            <p:cNvSpPr/>
            <p:nvPr/>
          </p:nvSpPr>
          <p:spPr>
            <a:xfrm rot="2732579" flipH="1">
              <a:off x="5552438" y="3735144"/>
              <a:ext cx="1941460" cy="1941467"/>
            </a:xfrm>
            <a:custGeom>
              <a:avLst/>
              <a:gdLst>
                <a:gd name="connsiteX0" fmla="*/ 0 w 585787"/>
                <a:gd name="connsiteY0" fmla="*/ 0 h 585789"/>
                <a:gd name="connsiteX1" fmla="*/ 585787 w 585787"/>
                <a:gd name="connsiteY1" fmla="*/ 0 h 585789"/>
                <a:gd name="connsiteX2" fmla="*/ 585787 w 585787"/>
                <a:gd name="connsiteY2" fmla="*/ 585789 h 585789"/>
                <a:gd name="connsiteX3" fmla="*/ 467731 w 585787"/>
                <a:gd name="connsiteY3" fmla="*/ 573888 h 585789"/>
                <a:gd name="connsiteX4" fmla="*/ 0 w 585787"/>
                <a:gd name="connsiteY4" fmla="*/ 1 h 58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87" h="585789">
                  <a:moveTo>
                    <a:pt x="0" y="0"/>
                  </a:moveTo>
                  <a:lnTo>
                    <a:pt x="585787" y="0"/>
                  </a:lnTo>
                  <a:lnTo>
                    <a:pt x="585787" y="585789"/>
                  </a:lnTo>
                  <a:lnTo>
                    <a:pt x="467731" y="573888"/>
                  </a:lnTo>
                  <a:cubicBezTo>
                    <a:pt x="200798" y="519266"/>
                    <a:pt x="0" y="283083"/>
                    <a:pt x="0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1" name="Freeform: Shape 13">
              <a:extLst>
                <a:ext uri="{FF2B5EF4-FFF2-40B4-BE49-F238E27FC236}">
                  <a16:creationId xmlns:a16="http://schemas.microsoft.com/office/drawing/2014/main" id="{E83CEA45-6C48-AA66-4451-18AC7A53486A}"/>
                </a:ext>
              </a:extLst>
            </p:cNvPr>
            <p:cNvSpPr/>
            <p:nvPr/>
          </p:nvSpPr>
          <p:spPr>
            <a:xfrm rot="13532579" flipH="1">
              <a:off x="4039000" y="2192746"/>
              <a:ext cx="1941460" cy="1941467"/>
            </a:xfrm>
            <a:custGeom>
              <a:avLst/>
              <a:gdLst>
                <a:gd name="connsiteX0" fmla="*/ 0 w 585787"/>
                <a:gd name="connsiteY0" fmla="*/ 0 h 585789"/>
                <a:gd name="connsiteX1" fmla="*/ 585787 w 585787"/>
                <a:gd name="connsiteY1" fmla="*/ 0 h 585789"/>
                <a:gd name="connsiteX2" fmla="*/ 585787 w 585787"/>
                <a:gd name="connsiteY2" fmla="*/ 585789 h 585789"/>
                <a:gd name="connsiteX3" fmla="*/ 467731 w 585787"/>
                <a:gd name="connsiteY3" fmla="*/ 573888 h 585789"/>
                <a:gd name="connsiteX4" fmla="*/ 0 w 585787"/>
                <a:gd name="connsiteY4" fmla="*/ 1 h 58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87" h="585789">
                  <a:moveTo>
                    <a:pt x="0" y="0"/>
                  </a:moveTo>
                  <a:lnTo>
                    <a:pt x="585787" y="0"/>
                  </a:lnTo>
                  <a:lnTo>
                    <a:pt x="585787" y="585789"/>
                  </a:lnTo>
                  <a:lnTo>
                    <a:pt x="467731" y="573888"/>
                  </a:lnTo>
                  <a:cubicBezTo>
                    <a:pt x="200798" y="519266"/>
                    <a:pt x="0" y="283083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2" name="Freeform: Shape 14">
              <a:extLst>
                <a:ext uri="{FF2B5EF4-FFF2-40B4-BE49-F238E27FC236}">
                  <a16:creationId xmlns:a16="http://schemas.microsoft.com/office/drawing/2014/main" id="{32EFD765-6391-62B1-3FC4-DD1409B5C4B8}"/>
                </a:ext>
              </a:extLst>
            </p:cNvPr>
            <p:cNvSpPr/>
            <p:nvPr/>
          </p:nvSpPr>
          <p:spPr>
            <a:xfrm rot="2732579" flipH="1">
              <a:off x="2519305" y="3683905"/>
              <a:ext cx="1941460" cy="1941467"/>
            </a:xfrm>
            <a:custGeom>
              <a:avLst/>
              <a:gdLst>
                <a:gd name="connsiteX0" fmla="*/ 0 w 585787"/>
                <a:gd name="connsiteY0" fmla="*/ 0 h 585789"/>
                <a:gd name="connsiteX1" fmla="*/ 585787 w 585787"/>
                <a:gd name="connsiteY1" fmla="*/ 0 h 585789"/>
                <a:gd name="connsiteX2" fmla="*/ 585787 w 585787"/>
                <a:gd name="connsiteY2" fmla="*/ 585789 h 585789"/>
                <a:gd name="connsiteX3" fmla="*/ 467731 w 585787"/>
                <a:gd name="connsiteY3" fmla="*/ 573888 h 585789"/>
                <a:gd name="connsiteX4" fmla="*/ 0 w 585787"/>
                <a:gd name="connsiteY4" fmla="*/ 1 h 58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87" h="585789">
                  <a:moveTo>
                    <a:pt x="0" y="0"/>
                  </a:moveTo>
                  <a:lnTo>
                    <a:pt x="585787" y="0"/>
                  </a:lnTo>
                  <a:lnTo>
                    <a:pt x="585787" y="585789"/>
                  </a:lnTo>
                  <a:lnTo>
                    <a:pt x="467731" y="573888"/>
                  </a:lnTo>
                  <a:cubicBezTo>
                    <a:pt x="200798" y="519266"/>
                    <a:pt x="0" y="283083"/>
                    <a:pt x="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3" name="Freeform: Shape 15">
              <a:extLst>
                <a:ext uri="{FF2B5EF4-FFF2-40B4-BE49-F238E27FC236}">
                  <a16:creationId xmlns:a16="http://schemas.microsoft.com/office/drawing/2014/main" id="{09C3FB36-82B6-2EFD-04DC-69CA2ABB0873}"/>
                </a:ext>
              </a:extLst>
            </p:cNvPr>
            <p:cNvSpPr/>
            <p:nvPr/>
          </p:nvSpPr>
          <p:spPr>
            <a:xfrm rot="13532579" flipH="1">
              <a:off x="1005868" y="2141507"/>
              <a:ext cx="1941460" cy="1941467"/>
            </a:xfrm>
            <a:custGeom>
              <a:avLst/>
              <a:gdLst>
                <a:gd name="connsiteX0" fmla="*/ 0 w 585787"/>
                <a:gd name="connsiteY0" fmla="*/ 0 h 585789"/>
                <a:gd name="connsiteX1" fmla="*/ 585787 w 585787"/>
                <a:gd name="connsiteY1" fmla="*/ 0 h 585789"/>
                <a:gd name="connsiteX2" fmla="*/ 585787 w 585787"/>
                <a:gd name="connsiteY2" fmla="*/ 585789 h 585789"/>
                <a:gd name="connsiteX3" fmla="*/ 467731 w 585787"/>
                <a:gd name="connsiteY3" fmla="*/ 573888 h 585789"/>
                <a:gd name="connsiteX4" fmla="*/ 0 w 585787"/>
                <a:gd name="connsiteY4" fmla="*/ 1 h 58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87" h="585789">
                  <a:moveTo>
                    <a:pt x="0" y="0"/>
                  </a:moveTo>
                  <a:lnTo>
                    <a:pt x="585787" y="0"/>
                  </a:lnTo>
                  <a:lnTo>
                    <a:pt x="585787" y="585789"/>
                  </a:lnTo>
                  <a:lnTo>
                    <a:pt x="467731" y="573888"/>
                  </a:lnTo>
                  <a:cubicBezTo>
                    <a:pt x="200798" y="519266"/>
                    <a:pt x="0" y="283083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4" name="Shape1_20180321_155333">
              <a:extLst>
                <a:ext uri="{FF2B5EF4-FFF2-40B4-BE49-F238E27FC236}">
                  <a16:creationId xmlns:a16="http://schemas.microsoft.com/office/drawing/2014/main" id="{FCF45B35-42A7-AEE0-7705-F4BE7F8FAD5D}"/>
                </a:ext>
              </a:extLst>
            </p:cNvPr>
            <p:cNvSpPr txBox="1">
              <a:spLocks/>
            </p:cNvSpPr>
            <p:nvPr/>
          </p:nvSpPr>
          <p:spPr>
            <a:xfrm>
              <a:off x="700646" y="1525604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1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 Insert your text here Insert your text here Insert your text here Insert your text here</a:t>
              </a:r>
            </a:p>
          </p:txBody>
        </p:sp>
        <p:sp>
          <p:nvSpPr>
            <p:cNvPr id="45" name="Shape2_20180321_155333">
              <a:extLst>
                <a:ext uri="{FF2B5EF4-FFF2-40B4-BE49-F238E27FC236}">
                  <a16:creationId xmlns:a16="http://schemas.microsoft.com/office/drawing/2014/main" id="{959F0AEB-109A-C4A0-3206-D49A01A972EF}"/>
                </a:ext>
              </a:extLst>
            </p:cNvPr>
            <p:cNvSpPr txBox="1">
              <a:spLocks/>
            </p:cNvSpPr>
            <p:nvPr/>
          </p:nvSpPr>
          <p:spPr>
            <a:xfrm>
              <a:off x="3733778" y="1540383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3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 Insert your text here Insert your text here Insert your text here Insert your text here</a:t>
              </a:r>
            </a:p>
          </p:txBody>
        </p:sp>
        <p:sp>
          <p:nvSpPr>
            <p:cNvPr id="46" name="Shape3_20180321_155333">
              <a:extLst>
                <a:ext uri="{FF2B5EF4-FFF2-40B4-BE49-F238E27FC236}">
                  <a16:creationId xmlns:a16="http://schemas.microsoft.com/office/drawing/2014/main" id="{60E05387-39F9-CCFA-77E5-5F78773DF2D3}"/>
                </a:ext>
              </a:extLst>
            </p:cNvPr>
            <p:cNvSpPr txBox="1">
              <a:spLocks/>
            </p:cNvSpPr>
            <p:nvPr/>
          </p:nvSpPr>
          <p:spPr>
            <a:xfrm>
              <a:off x="5247216" y="5356432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4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 Insert your text here Insert your text here Insert your text here Insert your text here</a:t>
              </a:r>
            </a:p>
          </p:txBody>
        </p:sp>
        <p:sp>
          <p:nvSpPr>
            <p:cNvPr id="47" name="Shape4_20180321_155333">
              <a:extLst>
                <a:ext uri="{FF2B5EF4-FFF2-40B4-BE49-F238E27FC236}">
                  <a16:creationId xmlns:a16="http://schemas.microsoft.com/office/drawing/2014/main" id="{D5B0B7CE-70A5-E150-2658-79F4D5B94580}"/>
                </a:ext>
              </a:extLst>
            </p:cNvPr>
            <p:cNvSpPr txBox="1">
              <a:spLocks/>
            </p:cNvSpPr>
            <p:nvPr/>
          </p:nvSpPr>
          <p:spPr>
            <a:xfrm>
              <a:off x="2214083" y="5356432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2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 Insert your text here Insert your text here Insert your text here Insert your text here</a:t>
              </a:r>
            </a:p>
          </p:txBody>
        </p:sp>
        <p:sp>
          <p:nvSpPr>
            <p:cNvPr id="48" name="Shape0_20180321_155333">
              <a:extLst>
                <a:ext uri="{FF2B5EF4-FFF2-40B4-BE49-F238E27FC236}">
                  <a16:creationId xmlns:a16="http://schemas.microsoft.com/office/drawing/2014/main" id="{BB63053F-CC37-4D12-5EA1-A5C3BC3C6CA8}"/>
                </a:ext>
              </a:extLst>
            </p:cNvPr>
            <p:cNvSpPr txBox="1">
              <a:spLocks/>
            </p:cNvSpPr>
            <p:nvPr/>
          </p:nvSpPr>
          <p:spPr>
            <a:xfrm>
              <a:off x="9193279" y="2777998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5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Insert your text here Insert your text here Insert your text here Insert your text here</a:t>
              </a:r>
            </a:p>
          </p:txBody>
        </p:sp>
        <p:grpSp>
          <p:nvGrpSpPr>
            <p:cNvPr id="49" name="ZenIcon1">
              <a:extLst>
                <a:ext uri="{FF2B5EF4-FFF2-40B4-BE49-F238E27FC236}">
                  <a16:creationId xmlns:a16="http://schemas.microsoft.com/office/drawing/2014/main" id="{56AD9FE4-3FF9-FE37-61EE-64D35838E4F3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1683680" y="2934056"/>
              <a:ext cx="585837" cy="585837"/>
              <a:chOff x="5712408" y="975680"/>
              <a:chExt cx="671729" cy="639391"/>
            </a:xfrm>
          </p:grpSpPr>
          <p:sp>
            <p:nvSpPr>
              <p:cNvPr id="67" name="Freeform 26">
                <a:extLst>
                  <a:ext uri="{FF2B5EF4-FFF2-40B4-BE49-F238E27FC236}">
                    <a16:creationId xmlns:a16="http://schemas.microsoft.com/office/drawing/2014/main" id="{FE246DF9-B507-22ED-7490-388D47B8CB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2408" y="975680"/>
                <a:ext cx="671729" cy="639391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8" name="Freeform 27">
                <a:extLst>
                  <a:ext uri="{FF2B5EF4-FFF2-40B4-BE49-F238E27FC236}">
                    <a16:creationId xmlns:a16="http://schemas.microsoft.com/office/drawing/2014/main" id="{38B83B05-65EE-6AB8-F131-404C48B3A7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917" y="1058042"/>
                <a:ext cx="502713" cy="338119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Freeform 28">
                <a:extLst>
                  <a:ext uri="{FF2B5EF4-FFF2-40B4-BE49-F238E27FC236}">
                    <a16:creationId xmlns:a16="http://schemas.microsoft.com/office/drawing/2014/main" id="{7A3C59AD-DD65-8115-3E8D-14A941A55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7937" y="1404831"/>
                <a:ext cx="62840" cy="65023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Freeform 29">
                <a:extLst>
                  <a:ext uri="{FF2B5EF4-FFF2-40B4-BE49-F238E27FC236}">
                    <a16:creationId xmlns:a16="http://schemas.microsoft.com/office/drawing/2014/main" id="{0A76D230-E9DD-AE7B-3EDF-7B4410BE3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429" y="1190255"/>
                <a:ext cx="84509" cy="88864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1" name="Freeform 30">
                <a:extLst>
                  <a:ext uri="{FF2B5EF4-FFF2-40B4-BE49-F238E27FC236}">
                    <a16:creationId xmlns:a16="http://schemas.microsoft.com/office/drawing/2014/main" id="{D601EA3B-3DFD-5A77-E9A1-C8894689E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605" y="1175084"/>
                <a:ext cx="43337" cy="119208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Freeform 31">
                <a:extLst>
                  <a:ext uri="{FF2B5EF4-FFF2-40B4-BE49-F238E27FC236}">
                    <a16:creationId xmlns:a16="http://schemas.microsoft.com/office/drawing/2014/main" id="{5216DEAB-FDF0-9208-2DA5-EDCB6C4E6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776" y="1190255"/>
                <a:ext cx="82341" cy="88864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0" name="ZenIcon2">
              <a:extLst>
                <a:ext uri="{FF2B5EF4-FFF2-40B4-BE49-F238E27FC236}">
                  <a16:creationId xmlns:a16="http://schemas.microsoft.com/office/drawing/2014/main" id="{79F03D5E-20D0-5B22-2D49-B5FFEB9B9511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3197117" y="4192083"/>
              <a:ext cx="585837" cy="585837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51" name="ZenIcon3">
              <a:extLst>
                <a:ext uri="{FF2B5EF4-FFF2-40B4-BE49-F238E27FC236}">
                  <a16:creationId xmlns:a16="http://schemas.microsoft.com/office/drawing/2014/main" id="{B6AE74D5-743F-EA46-173B-7CA654D016A8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4716812" y="3040199"/>
              <a:ext cx="585837" cy="587295"/>
            </a:xfrm>
            <a:custGeom>
              <a:avLst/>
              <a:gdLst>
                <a:gd name="T0" fmla="*/ 1698 w 2448"/>
                <a:gd name="T1" fmla="*/ 97 h 2446"/>
                <a:gd name="T2" fmla="*/ 748 w 2448"/>
                <a:gd name="T3" fmla="*/ 97 h 2446"/>
                <a:gd name="T4" fmla="*/ 0 w 2448"/>
                <a:gd name="T5" fmla="*/ 1222 h 2446"/>
                <a:gd name="T6" fmla="*/ 748 w 2448"/>
                <a:gd name="T7" fmla="*/ 2349 h 2446"/>
                <a:gd name="T8" fmla="*/ 1698 w 2448"/>
                <a:gd name="T9" fmla="*/ 2349 h 2446"/>
                <a:gd name="T10" fmla="*/ 2448 w 2448"/>
                <a:gd name="T11" fmla="*/ 1222 h 2446"/>
                <a:gd name="T12" fmla="*/ 816 w 2448"/>
                <a:gd name="T13" fmla="*/ 227 h 2446"/>
                <a:gd name="T14" fmla="*/ 264 w 2448"/>
                <a:gd name="T15" fmla="*/ 737 h 2446"/>
                <a:gd name="T16" fmla="*/ 149 w 2448"/>
                <a:gd name="T17" fmla="*/ 1222 h 2446"/>
                <a:gd name="T18" fmla="*/ 554 w 2448"/>
                <a:gd name="T19" fmla="*/ 884 h 2446"/>
                <a:gd name="T20" fmla="*/ 554 w 2448"/>
                <a:gd name="T21" fmla="*/ 1556 h 2446"/>
                <a:gd name="T22" fmla="*/ 149 w 2448"/>
                <a:gd name="T23" fmla="*/ 1222 h 2446"/>
                <a:gd name="T24" fmla="*/ 584 w 2448"/>
                <a:gd name="T25" fmla="*/ 1704 h 2446"/>
                <a:gd name="T26" fmla="*/ 264 w 2448"/>
                <a:gd name="T27" fmla="*/ 1704 h 2446"/>
                <a:gd name="T28" fmla="*/ 906 w 2448"/>
                <a:gd name="T29" fmla="*/ 2092 h 2446"/>
                <a:gd name="T30" fmla="*/ 1148 w 2448"/>
                <a:gd name="T31" fmla="*/ 1704 h 2446"/>
                <a:gd name="T32" fmla="*/ 1148 w 2448"/>
                <a:gd name="T33" fmla="*/ 1556 h 2446"/>
                <a:gd name="T34" fmla="*/ 677 w 2448"/>
                <a:gd name="T35" fmla="*/ 1222 h 2446"/>
                <a:gd name="T36" fmla="*/ 1148 w 2448"/>
                <a:gd name="T37" fmla="*/ 884 h 2446"/>
                <a:gd name="T38" fmla="*/ 1148 w 2448"/>
                <a:gd name="T39" fmla="*/ 737 h 2446"/>
                <a:gd name="T40" fmla="*/ 909 w 2448"/>
                <a:gd name="T41" fmla="*/ 353 h 2446"/>
                <a:gd name="T42" fmla="*/ 1148 w 2448"/>
                <a:gd name="T43" fmla="*/ 737 h 2446"/>
                <a:gd name="T44" fmla="*/ 1864 w 2448"/>
                <a:gd name="T45" fmla="*/ 737 h 2446"/>
                <a:gd name="T46" fmla="*/ 2184 w 2448"/>
                <a:gd name="T47" fmla="*/ 737 h 2446"/>
                <a:gd name="T48" fmla="*/ 1539 w 2448"/>
                <a:gd name="T49" fmla="*/ 353 h 2446"/>
                <a:gd name="T50" fmla="*/ 1300 w 2448"/>
                <a:gd name="T51" fmla="*/ 737 h 2446"/>
                <a:gd name="T52" fmla="*/ 1300 w 2448"/>
                <a:gd name="T53" fmla="*/ 884 h 2446"/>
                <a:gd name="T54" fmla="*/ 1771 w 2448"/>
                <a:gd name="T55" fmla="*/ 1222 h 2446"/>
                <a:gd name="T56" fmla="*/ 1300 w 2448"/>
                <a:gd name="T57" fmla="*/ 1556 h 2446"/>
                <a:gd name="T58" fmla="*/ 1300 w 2448"/>
                <a:gd name="T59" fmla="*/ 2286 h 2446"/>
                <a:gd name="T60" fmla="*/ 1711 w 2448"/>
                <a:gd name="T61" fmla="*/ 1704 h 2446"/>
                <a:gd name="T62" fmla="*/ 1300 w 2448"/>
                <a:gd name="T63" fmla="*/ 2286 h 2446"/>
                <a:gd name="T64" fmla="*/ 1864 w 2448"/>
                <a:gd name="T65" fmla="*/ 1704 h 2446"/>
                <a:gd name="T66" fmla="*/ 1632 w 2448"/>
                <a:gd name="T67" fmla="*/ 2219 h 2446"/>
                <a:gd name="T68" fmla="*/ 1894 w 2448"/>
                <a:gd name="T69" fmla="*/ 1556 h 2446"/>
                <a:gd name="T70" fmla="*/ 1894 w 2448"/>
                <a:gd name="T71" fmla="*/ 884 h 2446"/>
                <a:gd name="T72" fmla="*/ 2299 w 2448"/>
                <a:gd name="T73" fmla="*/ 1222 h 2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48" h="2446">
                  <a:moveTo>
                    <a:pt x="2350" y="747"/>
                  </a:moveTo>
                  <a:cubicBezTo>
                    <a:pt x="2221" y="446"/>
                    <a:pt x="2002" y="227"/>
                    <a:pt x="1698" y="97"/>
                  </a:cubicBezTo>
                  <a:cubicBezTo>
                    <a:pt x="1547" y="33"/>
                    <a:pt x="1389" y="0"/>
                    <a:pt x="1223" y="0"/>
                  </a:cubicBezTo>
                  <a:cubicBezTo>
                    <a:pt x="1057" y="0"/>
                    <a:pt x="900" y="32"/>
                    <a:pt x="748" y="97"/>
                  </a:cubicBezTo>
                  <a:cubicBezTo>
                    <a:pt x="447" y="226"/>
                    <a:pt x="226" y="445"/>
                    <a:pt x="96" y="747"/>
                  </a:cubicBezTo>
                  <a:cubicBezTo>
                    <a:pt x="32" y="898"/>
                    <a:pt x="0" y="1056"/>
                    <a:pt x="0" y="1222"/>
                  </a:cubicBezTo>
                  <a:cubicBezTo>
                    <a:pt x="0" y="1388"/>
                    <a:pt x="32" y="1547"/>
                    <a:pt x="96" y="1698"/>
                  </a:cubicBezTo>
                  <a:cubicBezTo>
                    <a:pt x="226" y="2000"/>
                    <a:pt x="447" y="2220"/>
                    <a:pt x="748" y="2349"/>
                  </a:cubicBezTo>
                  <a:cubicBezTo>
                    <a:pt x="900" y="2414"/>
                    <a:pt x="1057" y="2446"/>
                    <a:pt x="1223" y="2446"/>
                  </a:cubicBezTo>
                  <a:cubicBezTo>
                    <a:pt x="1389" y="2446"/>
                    <a:pt x="1547" y="2413"/>
                    <a:pt x="1698" y="2349"/>
                  </a:cubicBezTo>
                  <a:cubicBezTo>
                    <a:pt x="2002" y="2219"/>
                    <a:pt x="2221" y="1999"/>
                    <a:pt x="2350" y="1698"/>
                  </a:cubicBezTo>
                  <a:cubicBezTo>
                    <a:pt x="2415" y="1547"/>
                    <a:pt x="2448" y="1388"/>
                    <a:pt x="2448" y="1222"/>
                  </a:cubicBezTo>
                  <a:cubicBezTo>
                    <a:pt x="2448" y="1056"/>
                    <a:pt x="2415" y="898"/>
                    <a:pt x="2350" y="747"/>
                  </a:cubicBezTo>
                  <a:close/>
                  <a:moveTo>
                    <a:pt x="816" y="227"/>
                  </a:moveTo>
                  <a:cubicBezTo>
                    <a:pt x="711" y="361"/>
                    <a:pt x="633" y="531"/>
                    <a:pt x="584" y="737"/>
                  </a:cubicBezTo>
                  <a:cubicBezTo>
                    <a:pt x="264" y="737"/>
                    <a:pt x="264" y="737"/>
                    <a:pt x="264" y="737"/>
                  </a:cubicBezTo>
                  <a:cubicBezTo>
                    <a:pt x="381" y="508"/>
                    <a:pt x="580" y="325"/>
                    <a:pt x="816" y="227"/>
                  </a:cubicBezTo>
                  <a:close/>
                  <a:moveTo>
                    <a:pt x="149" y="1222"/>
                  </a:moveTo>
                  <a:cubicBezTo>
                    <a:pt x="149" y="1105"/>
                    <a:pt x="167" y="993"/>
                    <a:pt x="203" y="884"/>
                  </a:cubicBezTo>
                  <a:cubicBezTo>
                    <a:pt x="554" y="884"/>
                    <a:pt x="554" y="884"/>
                    <a:pt x="554" y="884"/>
                  </a:cubicBezTo>
                  <a:cubicBezTo>
                    <a:pt x="537" y="998"/>
                    <a:pt x="529" y="1111"/>
                    <a:pt x="529" y="1222"/>
                  </a:cubicBezTo>
                  <a:cubicBezTo>
                    <a:pt x="529" y="1331"/>
                    <a:pt x="537" y="1443"/>
                    <a:pt x="554" y="1556"/>
                  </a:cubicBezTo>
                  <a:cubicBezTo>
                    <a:pt x="201" y="1556"/>
                    <a:pt x="201" y="1556"/>
                    <a:pt x="201" y="1556"/>
                  </a:cubicBezTo>
                  <a:cubicBezTo>
                    <a:pt x="166" y="1448"/>
                    <a:pt x="149" y="1335"/>
                    <a:pt x="149" y="1222"/>
                  </a:cubicBezTo>
                  <a:close/>
                  <a:moveTo>
                    <a:pt x="264" y="1704"/>
                  </a:moveTo>
                  <a:cubicBezTo>
                    <a:pt x="584" y="1704"/>
                    <a:pt x="584" y="1704"/>
                    <a:pt x="584" y="1704"/>
                  </a:cubicBezTo>
                  <a:cubicBezTo>
                    <a:pt x="633" y="1914"/>
                    <a:pt x="711" y="2086"/>
                    <a:pt x="816" y="2219"/>
                  </a:cubicBezTo>
                  <a:cubicBezTo>
                    <a:pt x="576" y="2118"/>
                    <a:pt x="377" y="1935"/>
                    <a:pt x="264" y="1704"/>
                  </a:cubicBezTo>
                  <a:close/>
                  <a:moveTo>
                    <a:pt x="1148" y="2286"/>
                  </a:moveTo>
                  <a:cubicBezTo>
                    <a:pt x="1061" y="2260"/>
                    <a:pt x="980" y="2196"/>
                    <a:pt x="906" y="2092"/>
                  </a:cubicBezTo>
                  <a:cubicBezTo>
                    <a:pt x="833" y="1987"/>
                    <a:pt x="776" y="1857"/>
                    <a:pt x="737" y="1704"/>
                  </a:cubicBezTo>
                  <a:cubicBezTo>
                    <a:pt x="1148" y="1704"/>
                    <a:pt x="1148" y="1704"/>
                    <a:pt x="1148" y="1704"/>
                  </a:cubicBezTo>
                  <a:lnTo>
                    <a:pt x="1148" y="2286"/>
                  </a:lnTo>
                  <a:close/>
                  <a:moveTo>
                    <a:pt x="1148" y="1556"/>
                  </a:moveTo>
                  <a:cubicBezTo>
                    <a:pt x="704" y="1556"/>
                    <a:pt x="704" y="1556"/>
                    <a:pt x="704" y="1556"/>
                  </a:cubicBezTo>
                  <a:cubicBezTo>
                    <a:pt x="687" y="1437"/>
                    <a:pt x="677" y="1326"/>
                    <a:pt x="677" y="1222"/>
                  </a:cubicBezTo>
                  <a:cubicBezTo>
                    <a:pt x="677" y="1109"/>
                    <a:pt x="687" y="997"/>
                    <a:pt x="707" y="884"/>
                  </a:cubicBezTo>
                  <a:cubicBezTo>
                    <a:pt x="1148" y="884"/>
                    <a:pt x="1148" y="884"/>
                    <a:pt x="1148" y="884"/>
                  </a:cubicBezTo>
                  <a:cubicBezTo>
                    <a:pt x="1148" y="1556"/>
                    <a:pt x="1148" y="1556"/>
                    <a:pt x="1148" y="1556"/>
                  </a:cubicBezTo>
                  <a:close/>
                  <a:moveTo>
                    <a:pt x="1148" y="737"/>
                  </a:moveTo>
                  <a:cubicBezTo>
                    <a:pt x="737" y="737"/>
                    <a:pt x="737" y="737"/>
                    <a:pt x="737" y="737"/>
                  </a:cubicBezTo>
                  <a:cubicBezTo>
                    <a:pt x="779" y="585"/>
                    <a:pt x="836" y="456"/>
                    <a:pt x="909" y="353"/>
                  </a:cubicBezTo>
                  <a:cubicBezTo>
                    <a:pt x="983" y="249"/>
                    <a:pt x="1061" y="184"/>
                    <a:pt x="1148" y="160"/>
                  </a:cubicBezTo>
                  <a:cubicBezTo>
                    <a:pt x="1148" y="737"/>
                    <a:pt x="1148" y="737"/>
                    <a:pt x="1148" y="737"/>
                  </a:cubicBezTo>
                  <a:close/>
                  <a:moveTo>
                    <a:pt x="2184" y="737"/>
                  </a:moveTo>
                  <a:cubicBezTo>
                    <a:pt x="1864" y="737"/>
                    <a:pt x="1864" y="737"/>
                    <a:pt x="1864" y="737"/>
                  </a:cubicBezTo>
                  <a:cubicBezTo>
                    <a:pt x="1815" y="531"/>
                    <a:pt x="1737" y="361"/>
                    <a:pt x="1632" y="227"/>
                  </a:cubicBezTo>
                  <a:cubicBezTo>
                    <a:pt x="1868" y="325"/>
                    <a:pt x="2067" y="508"/>
                    <a:pt x="2184" y="737"/>
                  </a:cubicBezTo>
                  <a:close/>
                  <a:moveTo>
                    <a:pt x="1300" y="160"/>
                  </a:moveTo>
                  <a:cubicBezTo>
                    <a:pt x="1387" y="184"/>
                    <a:pt x="1465" y="249"/>
                    <a:pt x="1539" y="353"/>
                  </a:cubicBezTo>
                  <a:cubicBezTo>
                    <a:pt x="1613" y="456"/>
                    <a:pt x="1669" y="585"/>
                    <a:pt x="1711" y="737"/>
                  </a:cubicBezTo>
                  <a:cubicBezTo>
                    <a:pt x="1300" y="737"/>
                    <a:pt x="1300" y="737"/>
                    <a:pt x="1300" y="737"/>
                  </a:cubicBezTo>
                  <a:lnTo>
                    <a:pt x="1300" y="160"/>
                  </a:lnTo>
                  <a:close/>
                  <a:moveTo>
                    <a:pt x="1300" y="884"/>
                  </a:moveTo>
                  <a:cubicBezTo>
                    <a:pt x="1741" y="884"/>
                    <a:pt x="1741" y="884"/>
                    <a:pt x="1741" y="884"/>
                  </a:cubicBezTo>
                  <a:cubicBezTo>
                    <a:pt x="1761" y="997"/>
                    <a:pt x="1771" y="1109"/>
                    <a:pt x="1771" y="1222"/>
                  </a:cubicBezTo>
                  <a:cubicBezTo>
                    <a:pt x="1771" y="1326"/>
                    <a:pt x="1761" y="1437"/>
                    <a:pt x="1744" y="1556"/>
                  </a:cubicBezTo>
                  <a:cubicBezTo>
                    <a:pt x="1300" y="1556"/>
                    <a:pt x="1300" y="1556"/>
                    <a:pt x="1300" y="1556"/>
                  </a:cubicBezTo>
                  <a:lnTo>
                    <a:pt x="1300" y="884"/>
                  </a:lnTo>
                  <a:close/>
                  <a:moveTo>
                    <a:pt x="1300" y="2286"/>
                  </a:moveTo>
                  <a:cubicBezTo>
                    <a:pt x="1300" y="1704"/>
                    <a:pt x="1300" y="1704"/>
                    <a:pt x="1300" y="1704"/>
                  </a:cubicBezTo>
                  <a:cubicBezTo>
                    <a:pt x="1711" y="1704"/>
                    <a:pt x="1711" y="1704"/>
                    <a:pt x="1711" y="1704"/>
                  </a:cubicBezTo>
                  <a:cubicBezTo>
                    <a:pt x="1670" y="1857"/>
                    <a:pt x="1613" y="1987"/>
                    <a:pt x="1541" y="2092"/>
                  </a:cubicBezTo>
                  <a:cubicBezTo>
                    <a:pt x="1467" y="2197"/>
                    <a:pt x="1388" y="2262"/>
                    <a:pt x="1300" y="2286"/>
                  </a:cubicBezTo>
                  <a:close/>
                  <a:moveTo>
                    <a:pt x="1632" y="2219"/>
                  </a:moveTo>
                  <a:cubicBezTo>
                    <a:pt x="1737" y="2086"/>
                    <a:pt x="1815" y="1914"/>
                    <a:pt x="1864" y="1704"/>
                  </a:cubicBezTo>
                  <a:cubicBezTo>
                    <a:pt x="2184" y="1704"/>
                    <a:pt x="2184" y="1704"/>
                    <a:pt x="2184" y="1704"/>
                  </a:cubicBezTo>
                  <a:cubicBezTo>
                    <a:pt x="2071" y="1935"/>
                    <a:pt x="1872" y="2118"/>
                    <a:pt x="1632" y="2219"/>
                  </a:cubicBezTo>
                  <a:close/>
                  <a:moveTo>
                    <a:pt x="2247" y="1556"/>
                  </a:moveTo>
                  <a:cubicBezTo>
                    <a:pt x="1894" y="1556"/>
                    <a:pt x="1894" y="1556"/>
                    <a:pt x="1894" y="1556"/>
                  </a:cubicBezTo>
                  <a:cubicBezTo>
                    <a:pt x="1911" y="1443"/>
                    <a:pt x="1919" y="1331"/>
                    <a:pt x="1919" y="1222"/>
                  </a:cubicBezTo>
                  <a:cubicBezTo>
                    <a:pt x="1919" y="1111"/>
                    <a:pt x="1911" y="998"/>
                    <a:pt x="1894" y="884"/>
                  </a:cubicBezTo>
                  <a:cubicBezTo>
                    <a:pt x="2245" y="884"/>
                    <a:pt x="2245" y="884"/>
                    <a:pt x="2245" y="884"/>
                  </a:cubicBezTo>
                  <a:cubicBezTo>
                    <a:pt x="2281" y="993"/>
                    <a:pt x="2299" y="1105"/>
                    <a:pt x="2299" y="1222"/>
                  </a:cubicBezTo>
                  <a:cubicBezTo>
                    <a:pt x="2299" y="1335"/>
                    <a:pt x="2282" y="1448"/>
                    <a:pt x="2247" y="15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grpSp>
          <p:nvGrpSpPr>
            <p:cNvPr id="52" name="ZenIcon4">
              <a:extLst>
                <a:ext uri="{FF2B5EF4-FFF2-40B4-BE49-F238E27FC236}">
                  <a16:creationId xmlns:a16="http://schemas.microsoft.com/office/drawing/2014/main" id="{704B8EE4-10C7-7A5E-A2AD-E6F30F1FF93C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6230250" y="4313425"/>
              <a:ext cx="585837" cy="585837"/>
              <a:chOff x="-4769427" y="-314325"/>
              <a:chExt cx="4660901" cy="4576762"/>
            </a:xfrm>
          </p:grpSpPr>
          <p:sp>
            <p:nvSpPr>
              <p:cNvPr id="61" name="Freeform 23">
                <a:extLst>
                  <a:ext uri="{FF2B5EF4-FFF2-40B4-BE49-F238E27FC236}">
                    <a16:creationId xmlns:a16="http://schemas.microsoft.com/office/drawing/2014/main" id="{D4F2FE69-6F45-AE2A-0DCD-DF00BE1BA2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509077" y="-314325"/>
                <a:ext cx="4138613" cy="3956050"/>
              </a:xfrm>
              <a:custGeom>
                <a:avLst/>
                <a:gdLst>
                  <a:gd name="T0" fmla="*/ 2128 w 2188"/>
                  <a:gd name="T1" fmla="*/ 946 h 2085"/>
                  <a:gd name="T2" fmla="*/ 2169 w 2188"/>
                  <a:gd name="T3" fmla="*/ 781 h 2085"/>
                  <a:gd name="T4" fmla="*/ 2038 w 2188"/>
                  <a:gd name="T5" fmla="*/ 671 h 2085"/>
                  <a:gd name="T6" fmla="*/ 1503 w 2188"/>
                  <a:gd name="T7" fmla="*/ 593 h 2085"/>
                  <a:gd name="T8" fmla="*/ 1478 w 2188"/>
                  <a:gd name="T9" fmla="*/ 576 h 2085"/>
                  <a:gd name="T10" fmla="*/ 1239 w 2188"/>
                  <a:gd name="T11" fmla="*/ 90 h 2085"/>
                  <a:gd name="T12" fmla="*/ 1094 w 2188"/>
                  <a:gd name="T13" fmla="*/ 0 h 2085"/>
                  <a:gd name="T14" fmla="*/ 949 w 2188"/>
                  <a:gd name="T15" fmla="*/ 90 h 2085"/>
                  <a:gd name="T16" fmla="*/ 710 w 2188"/>
                  <a:gd name="T17" fmla="*/ 576 h 2085"/>
                  <a:gd name="T18" fmla="*/ 685 w 2188"/>
                  <a:gd name="T19" fmla="*/ 593 h 2085"/>
                  <a:gd name="T20" fmla="*/ 150 w 2188"/>
                  <a:gd name="T21" fmla="*/ 671 h 2085"/>
                  <a:gd name="T22" fmla="*/ 19 w 2188"/>
                  <a:gd name="T23" fmla="*/ 781 h 2085"/>
                  <a:gd name="T24" fmla="*/ 60 w 2188"/>
                  <a:gd name="T25" fmla="*/ 946 h 2085"/>
                  <a:gd name="T26" fmla="*/ 448 w 2188"/>
                  <a:gd name="T27" fmla="*/ 1324 h 2085"/>
                  <a:gd name="T28" fmla="*/ 457 w 2188"/>
                  <a:gd name="T29" fmla="*/ 1353 h 2085"/>
                  <a:gd name="T30" fmla="*/ 366 w 2188"/>
                  <a:gd name="T31" fmla="*/ 1886 h 2085"/>
                  <a:gd name="T32" fmla="*/ 430 w 2188"/>
                  <a:gd name="T33" fmla="*/ 2044 h 2085"/>
                  <a:gd name="T34" fmla="*/ 600 w 2188"/>
                  <a:gd name="T35" fmla="*/ 2056 h 2085"/>
                  <a:gd name="T36" fmla="*/ 1079 w 2188"/>
                  <a:gd name="T37" fmla="*/ 1805 h 2085"/>
                  <a:gd name="T38" fmla="*/ 1109 w 2188"/>
                  <a:gd name="T39" fmla="*/ 1805 h 2085"/>
                  <a:gd name="T40" fmla="*/ 1588 w 2188"/>
                  <a:gd name="T41" fmla="*/ 2056 h 2085"/>
                  <a:gd name="T42" fmla="*/ 1663 w 2188"/>
                  <a:gd name="T43" fmla="*/ 2075 h 2085"/>
                  <a:gd name="T44" fmla="*/ 1758 w 2188"/>
                  <a:gd name="T45" fmla="*/ 2044 h 2085"/>
                  <a:gd name="T46" fmla="*/ 1822 w 2188"/>
                  <a:gd name="T47" fmla="*/ 1886 h 2085"/>
                  <a:gd name="T48" fmla="*/ 1731 w 2188"/>
                  <a:gd name="T49" fmla="*/ 1353 h 2085"/>
                  <a:gd name="T50" fmla="*/ 1740 w 2188"/>
                  <a:gd name="T51" fmla="*/ 1324 h 2085"/>
                  <a:gd name="T52" fmla="*/ 2128 w 2188"/>
                  <a:gd name="T53" fmla="*/ 946 h 2085"/>
                  <a:gd name="T54" fmla="*/ 1604 w 2188"/>
                  <a:gd name="T55" fmla="*/ 1375 h 2085"/>
                  <a:gd name="T56" fmla="*/ 1695 w 2188"/>
                  <a:gd name="T57" fmla="*/ 1908 h 2085"/>
                  <a:gd name="T58" fmla="*/ 1682 w 2188"/>
                  <a:gd name="T59" fmla="*/ 1940 h 2085"/>
                  <a:gd name="T60" fmla="*/ 1648 w 2188"/>
                  <a:gd name="T61" fmla="*/ 1942 h 2085"/>
                  <a:gd name="T62" fmla="*/ 1169 w 2188"/>
                  <a:gd name="T63" fmla="*/ 1690 h 2085"/>
                  <a:gd name="T64" fmla="*/ 1094 w 2188"/>
                  <a:gd name="T65" fmla="*/ 1672 h 2085"/>
                  <a:gd name="T66" fmla="*/ 1019 w 2188"/>
                  <a:gd name="T67" fmla="*/ 1690 h 2085"/>
                  <a:gd name="T68" fmla="*/ 540 w 2188"/>
                  <a:gd name="T69" fmla="*/ 1942 h 2085"/>
                  <a:gd name="T70" fmla="*/ 506 w 2188"/>
                  <a:gd name="T71" fmla="*/ 1940 h 2085"/>
                  <a:gd name="T72" fmla="*/ 493 w 2188"/>
                  <a:gd name="T73" fmla="*/ 1908 h 2085"/>
                  <a:gd name="T74" fmla="*/ 584 w 2188"/>
                  <a:gd name="T75" fmla="*/ 1375 h 2085"/>
                  <a:gd name="T76" fmla="*/ 538 w 2188"/>
                  <a:gd name="T77" fmla="*/ 1232 h 2085"/>
                  <a:gd name="T78" fmla="*/ 150 w 2188"/>
                  <a:gd name="T79" fmla="*/ 854 h 2085"/>
                  <a:gd name="T80" fmla="*/ 142 w 2188"/>
                  <a:gd name="T81" fmla="*/ 821 h 2085"/>
                  <a:gd name="T82" fmla="*/ 168 w 2188"/>
                  <a:gd name="T83" fmla="*/ 799 h 2085"/>
                  <a:gd name="T84" fmla="*/ 704 w 2188"/>
                  <a:gd name="T85" fmla="*/ 721 h 2085"/>
                  <a:gd name="T86" fmla="*/ 826 w 2188"/>
                  <a:gd name="T87" fmla="*/ 633 h 2085"/>
                  <a:gd name="T88" fmla="*/ 1065 w 2188"/>
                  <a:gd name="T89" fmla="*/ 147 h 2085"/>
                  <a:gd name="T90" fmla="*/ 1094 w 2188"/>
                  <a:gd name="T91" fmla="*/ 129 h 2085"/>
                  <a:gd name="T92" fmla="*/ 1123 w 2188"/>
                  <a:gd name="T93" fmla="*/ 147 h 2085"/>
                  <a:gd name="T94" fmla="*/ 1123 w 2188"/>
                  <a:gd name="T95" fmla="*/ 147 h 2085"/>
                  <a:gd name="T96" fmla="*/ 1363 w 2188"/>
                  <a:gd name="T97" fmla="*/ 633 h 2085"/>
                  <a:gd name="T98" fmla="*/ 1484 w 2188"/>
                  <a:gd name="T99" fmla="*/ 721 h 2085"/>
                  <a:gd name="T100" fmla="*/ 2020 w 2188"/>
                  <a:gd name="T101" fmla="*/ 799 h 2085"/>
                  <a:gd name="T102" fmla="*/ 2046 w 2188"/>
                  <a:gd name="T103" fmla="*/ 821 h 2085"/>
                  <a:gd name="T104" fmla="*/ 2038 w 2188"/>
                  <a:gd name="T105" fmla="*/ 854 h 2085"/>
                  <a:gd name="T106" fmla="*/ 1650 w 2188"/>
                  <a:gd name="T107" fmla="*/ 1232 h 2085"/>
                  <a:gd name="T108" fmla="*/ 1604 w 2188"/>
                  <a:gd name="T109" fmla="*/ 1375 h 20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88" h="2085">
                    <a:moveTo>
                      <a:pt x="2128" y="946"/>
                    </a:moveTo>
                    <a:cubicBezTo>
                      <a:pt x="2172" y="903"/>
                      <a:pt x="2188" y="840"/>
                      <a:pt x="2169" y="781"/>
                    </a:cubicBezTo>
                    <a:cubicBezTo>
                      <a:pt x="2149" y="722"/>
                      <a:pt x="2100" y="680"/>
                      <a:pt x="2038" y="671"/>
                    </a:cubicBezTo>
                    <a:cubicBezTo>
                      <a:pt x="1503" y="593"/>
                      <a:pt x="1503" y="593"/>
                      <a:pt x="1503" y="593"/>
                    </a:cubicBezTo>
                    <a:cubicBezTo>
                      <a:pt x="1492" y="592"/>
                      <a:pt x="1483" y="585"/>
                      <a:pt x="1478" y="576"/>
                    </a:cubicBezTo>
                    <a:cubicBezTo>
                      <a:pt x="1239" y="90"/>
                      <a:pt x="1239" y="90"/>
                      <a:pt x="1239" y="90"/>
                    </a:cubicBezTo>
                    <a:cubicBezTo>
                      <a:pt x="1211" y="35"/>
                      <a:pt x="1156" y="0"/>
                      <a:pt x="1094" y="0"/>
                    </a:cubicBezTo>
                    <a:cubicBezTo>
                      <a:pt x="1032" y="0"/>
                      <a:pt x="977" y="35"/>
                      <a:pt x="949" y="90"/>
                    </a:cubicBezTo>
                    <a:cubicBezTo>
                      <a:pt x="710" y="576"/>
                      <a:pt x="710" y="576"/>
                      <a:pt x="710" y="576"/>
                    </a:cubicBezTo>
                    <a:cubicBezTo>
                      <a:pt x="705" y="585"/>
                      <a:pt x="696" y="592"/>
                      <a:pt x="685" y="593"/>
                    </a:cubicBezTo>
                    <a:cubicBezTo>
                      <a:pt x="150" y="671"/>
                      <a:pt x="150" y="671"/>
                      <a:pt x="150" y="671"/>
                    </a:cubicBezTo>
                    <a:cubicBezTo>
                      <a:pt x="88" y="680"/>
                      <a:pt x="39" y="722"/>
                      <a:pt x="19" y="781"/>
                    </a:cubicBezTo>
                    <a:cubicBezTo>
                      <a:pt x="0" y="840"/>
                      <a:pt x="16" y="903"/>
                      <a:pt x="60" y="946"/>
                    </a:cubicBezTo>
                    <a:cubicBezTo>
                      <a:pt x="448" y="1324"/>
                      <a:pt x="448" y="1324"/>
                      <a:pt x="448" y="1324"/>
                    </a:cubicBezTo>
                    <a:cubicBezTo>
                      <a:pt x="455" y="1332"/>
                      <a:pt x="459" y="1342"/>
                      <a:pt x="457" y="1353"/>
                    </a:cubicBezTo>
                    <a:cubicBezTo>
                      <a:pt x="366" y="1886"/>
                      <a:pt x="366" y="1886"/>
                      <a:pt x="366" y="1886"/>
                    </a:cubicBezTo>
                    <a:cubicBezTo>
                      <a:pt x="355" y="1947"/>
                      <a:pt x="380" y="2008"/>
                      <a:pt x="430" y="2044"/>
                    </a:cubicBezTo>
                    <a:cubicBezTo>
                      <a:pt x="480" y="2081"/>
                      <a:pt x="545" y="2085"/>
                      <a:pt x="600" y="2056"/>
                    </a:cubicBezTo>
                    <a:cubicBezTo>
                      <a:pt x="1079" y="1805"/>
                      <a:pt x="1079" y="1805"/>
                      <a:pt x="1079" y="1805"/>
                    </a:cubicBezTo>
                    <a:cubicBezTo>
                      <a:pt x="1088" y="1800"/>
                      <a:pt x="1100" y="1800"/>
                      <a:pt x="1109" y="1805"/>
                    </a:cubicBezTo>
                    <a:cubicBezTo>
                      <a:pt x="1588" y="2056"/>
                      <a:pt x="1588" y="2056"/>
                      <a:pt x="1588" y="2056"/>
                    </a:cubicBezTo>
                    <a:cubicBezTo>
                      <a:pt x="1612" y="2069"/>
                      <a:pt x="1638" y="2075"/>
                      <a:pt x="1663" y="2075"/>
                    </a:cubicBezTo>
                    <a:cubicBezTo>
                      <a:pt x="1697" y="2075"/>
                      <a:pt x="1730" y="2065"/>
                      <a:pt x="1758" y="2044"/>
                    </a:cubicBezTo>
                    <a:cubicBezTo>
                      <a:pt x="1808" y="2008"/>
                      <a:pt x="1833" y="1947"/>
                      <a:pt x="1822" y="1886"/>
                    </a:cubicBezTo>
                    <a:cubicBezTo>
                      <a:pt x="1731" y="1353"/>
                      <a:pt x="1731" y="1353"/>
                      <a:pt x="1731" y="1353"/>
                    </a:cubicBezTo>
                    <a:cubicBezTo>
                      <a:pt x="1729" y="1342"/>
                      <a:pt x="1733" y="1332"/>
                      <a:pt x="1740" y="1324"/>
                    </a:cubicBezTo>
                    <a:lnTo>
                      <a:pt x="2128" y="946"/>
                    </a:lnTo>
                    <a:close/>
                    <a:moveTo>
                      <a:pt x="1604" y="1375"/>
                    </a:moveTo>
                    <a:cubicBezTo>
                      <a:pt x="1695" y="1908"/>
                      <a:pt x="1695" y="1908"/>
                      <a:pt x="1695" y="1908"/>
                    </a:cubicBezTo>
                    <a:cubicBezTo>
                      <a:pt x="1698" y="1926"/>
                      <a:pt x="1687" y="1936"/>
                      <a:pt x="1682" y="1940"/>
                    </a:cubicBezTo>
                    <a:cubicBezTo>
                      <a:pt x="1677" y="1943"/>
                      <a:pt x="1664" y="1951"/>
                      <a:pt x="1648" y="1942"/>
                    </a:cubicBezTo>
                    <a:cubicBezTo>
                      <a:pt x="1169" y="1690"/>
                      <a:pt x="1169" y="1690"/>
                      <a:pt x="1169" y="1690"/>
                    </a:cubicBezTo>
                    <a:cubicBezTo>
                      <a:pt x="1146" y="1678"/>
                      <a:pt x="1120" y="1672"/>
                      <a:pt x="1094" y="1672"/>
                    </a:cubicBezTo>
                    <a:cubicBezTo>
                      <a:pt x="1068" y="1672"/>
                      <a:pt x="1042" y="1678"/>
                      <a:pt x="1019" y="1690"/>
                    </a:cubicBezTo>
                    <a:cubicBezTo>
                      <a:pt x="540" y="1942"/>
                      <a:pt x="540" y="1942"/>
                      <a:pt x="540" y="1942"/>
                    </a:cubicBezTo>
                    <a:cubicBezTo>
                      <a:pt x="524" y="1951"/>
                      <a:pt x="511" y="1943"/>
                      <a:pt x="506" y="1940"/>
                    </a:cubicBezTo>
                    <a:cubicBezTo>
                      <a:pt x="501" y="1936"/>
                      <a:pt x="490" y="1926"/>
                      <a:pt x="493" y="1908"/>
                    </a:cubicBezTo>
                    <a:cubicBezTo>
                      <a:pt x="584" y="1375"/>
                      <a:pt x="584" y="1375"/>
                      <a:pt x="584" y="1375"/>
                    </a:cubicBezTo>
                    <a:cubicBezTo>
                      <a:pt x="593" y="1322"/>
                      <a:pt x="576" y="1269"/>
                      <a:pt x="538" y="1232"/>
                    </a:cubicBezTo>
                    <a:cubicBezTo>
                      <a:pt x="150" y="854"/>
                      <a:pt x="150" y="854"/>
                      <a:pt x="150" y="854"/>
                    </a:cubicBezTo>
                    <a:cubicBezTo>
                      <a:pt x="137" y="841"/>
                      <a:pt x="140" y="827"/>
                      <a:pt x="142" y="821"/>
                    </a:cubicBezTo>
                    <a:cubicBezTo>
                      <a:pt x="144" y="815"/>
                      <a:pt x="150" y="801"/>
                      <a:pt x="168" y="799"/>
                    </a:cubicBezTo>
                    <a:cubicBezTo>
                      <a:pt x="704" y="721"/>
                      <a:pt x="704" y="721"/>
                      <a:pt x="704" y="721"/>
                    </a:cubicBezTo>
                    <a:cubicBezTo>
                      <a:pt x="757" y="713"/>
                      <a:pt x="802" y="680"/>
                      <a:pt x="826" y="633"/>
                    </a:cubicBezTo>
                    <a:cubicBezTo>
                      <a:pt x="1065" y="147"/>
                      <a:pt x="1065" y="147"/>
                      <a:pt x="1065" y="147"/>
                    </a:cubicBezTo>
                    <a:cubicBezTo>
                      <a:pt x="1073" y="131"/>
                      <a:pt x="1088" y="129"/>
                      <a:pt x="1094" y="129"/>
                    </a:cubicBezTo>
                    <a:cubicBezTo>
                      <a:pt x="1100" y="129"/>
                      <a:pt x="1115" y="131"/>
                      <a:pt x="1123" y="147"/>
                    </a:cubicBezTo>
                    <a:cubicBezTo>
                      <a:pt x="1123" y="147"/>
                      <a:pt x="1123" y="147"/>
                      <a:pt x="1123" y="147"/>
                    </a:cubicBezTo>
                    <a:cubicBezTo>
                      <a:pt x="1363" y="633"/>
                      <a:pt x="1363" y="633"/>
                      <a:pt x="1363" y="633"/>
                    </a:cubicBezTo>
                    <a:cubicBezTo>
                      <a:pt x="1386" y="680"/>
                      <a:pt x="1431" y="713"/>
                      <a:pt x="1484" y="721"/>
                    </a:cubicBezTo>
                    <a:cubicBezTo>
                      <a:pt x="2020" y="799"/>
                      <a:pt x="2020" y="799"/>
                      <a:pt x="2020" y="799"/>
                    </a:cubicBezTo>
                    <a:cubicBezTo>
                      <a:pt x="2038" y="801"/>
                      <a:pt x="2044" y="815"/>
                      <a:pt x="2046" y="821"/>
                    </a:cubicBezTo>
                    <a:cubicBezTo>
                      <a:pt x="2048" y="827"/>
                      <a:pt x="2051" y="841"/>
                      <a:pt x="2038" y="854"/>
                    </a:cubicBezTo>
                    <a:cubicBezTo>
                      <a:pt x="1650" y="1232"/>
                      <a:pt x="1650" y="1232"/>
                      <a:pt x="1650" y="1232"/>
                    </a:cubicBezTo>
                    <a:cubicBezTo>
                      <a:pt x="1612" y="1269"/>
                      <a:pt x="1595" y="1322"/>
                      <a:pt x="1604" y="137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2" name="Freeform 24">
                <a:extLst>
                  <a:ext uri="{FF2B5EF4-FFF2-40B4-BE49-F238E27FC236}">
                    <a16:creationId xmlns:a16="http://schemas.microsoft.com/office/drawing/2014/main" id="{0704947B-43C8-9245-9965-465129915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51539" y="-182563"/>
                <a:ext cx="406400" cy="439738"/>
              </a:xfrm>
              <a:custGeom>
                <a:avLst/>
                <a:gdLst>
                  <a:gd name="T0" fmla="*/ 179 w 215"/>
                  <a:gd name="T1" fmla="*/ 21 h 232"/>
                  <a:gd name="T2" fmla="*/ 89 w 215"/>
                  <a:gd name="T3" fmla="*/ 35 h 232"/>
                  <a:gd name="T4" fmla="*/ 21 w 215"/>
                  <a:gd name="T5" fmla="*/ 130 h 232"/>
                  <a:gd name="T6" fmla="*/ 35 w 215"/>
                  <a:gd name="T7" fmla="*/ 220 h 232"/>
                  <a:gd name="T8" fmla="*/ 73 w 215"/>
                  <a:gd name="T9" fmla="*/ 232 h 232"/>
                  <a:gd name="T10" fmla="*/ 125 w 215"/>
                  <a:gd name="T11" fmla="*/ 206 h 232"/>
                  <a:gd name="T12" fmla="*/ 194 w 215"/>
                  <a:gd name="T13" fmla="*/ 111 h 232"/>
                  <a:gd name="T14" fmla="*/ 179 w 215"/>
                  <a:gd name="T15" fmla="*/ 21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79" y="21"/>
                    </a:moveTo>
                    <a:cubicBezTo>
                      <a:pt x="151" y="0"/>
                      <a:pt x="110" y="7"/>
                      <a:pt x="89" y="35"/>
                    </a:cubicBezTo>
                    <a:cubicBezTo>
                      <a:pt x="21" y="130"/>
                      <a:pt x="21" y="130"/>
                      <a:pt x="21" y="130"/>
                    </a:cubicBezTo>
                    <a:cubicBezTo>
                      <a:pt x="0" y="159"/>
                      <a:pt x="6" y="199"/>
                      <a:pt x="35" y="220"/>
                    </a:cubicBezTo>
                    <a:cubicBezTo>
                      <a:pt x="46" y="228"/>
                      <a:pt x="60" y="232"/>
                      <a:pt x="73" y="232"/>
                    </a:cubicBezTo>
                    <a:cubicBezTo>
                      <a:pt x="93" y="232"/>
                      <a:pt x="113" y="223"/>
                      <a:pt x="125" y="206"/>
                    </a:cubicBezTo>
                    <a:cubicBezTo>
                      <a:pt x="194" y="111"/>
                      <a:pt x="194" y="111"/>
                      <a:pt x="194" y="111"/>
                    </a:cubicBezTo>
                    <a:cubicBezTo>
                      <a:pt x="215" y="83"/>
                      <a:pt x="208" y="42"/>
                      <a:pt x="179" y="2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3" name="Freeform 25">
                <a:extLst>
                  <a:ext uri="{FF2B5EF4-FFF2-40B4-BE49-F238E27FC236}">
                    <a16:creationId xmlns:a16="http://schemas.microsoft.com/office/drawing/2014/main" id="{F2738287-A7DA-9F31-803D-1E0C49BBF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34402" y="-182563"/>
                <a:ext cx="407988" cy="439738"/>
              </a:xfrm>
              <a:custGeom>
                <a:avLst/>
                <a:gdLst>
                  <a:gd name="T0" fmla="*/ 194 w 215"/>
                  <a:gd name="T1" fmla="*/ 129 h 232"/>
                  <a:gd name="T2" fmla="*/ 126 w 215"/>
                  <a:gd name="T3" fmla="*/ 35 h 232"/>
                  <a:gd name="T4" fmla="*/ 35 w 215"/>
                  <a:gd name="T5" fmla="*/ 21 h 232"/>
                  <a:gd name="T6" fmla="*/ 21 w 215"/>
                  <a:gd name="T7" fmla="*/ 111 h 232"/>
                  <a:gd name="T8" fmla="*/ 90 w 215"/>
                  <a:gd name="T9" fmla="*/ 205 h 232"/>
                  <a:gd name="T10" fmla="*/ 142 w 215"/>
                  <a:gd name="T11" fmla="*/ 232 h 232"/>
                  <a:gd name="T12" fmla="*/ 180 w 215"/>
                  <a:gd name="T13" fmla="*/ 220 h 232"/>
                  <a:gd name="T14" fmla="*/ 194 w 215"/>
                  <a:gd name="T15" fmla="*/ 129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94" y="129"/>
                    </a:moveTo>
                    <a:cubicBezTo>
                      <a:pt x="126" y="35"/>
                      <a:pt x="126" y="35"/>
                      <a:pt x="126" y="35"/>
                    </a:cubicBezTo>
                    <a:cubicBezTo>
                      <a:pt x="105" y="6"/>
                      <a:pt x="64" y="0"/>
                      <a:pt x="35" y="21"/>
                    </a:cubicBezTo>
                    <a:cubicBezTo>
                      <a:pt x="6" y="42"/>
                      <a:pt x="0" y="82"/>
                      <a:pt x="21" y="111"/>
                    </a:cubicBezTo>
                    <a:cubicBezTo>
                      <a:pt x="90" y="205"/>
                      <a:pt x="90" y="205"/>
                      <a:pt x="90" y="205"/>
                    </a:cubicBezTo>
                    <a:cubicBezTo>
                      <a:pt x="102" y="223"/>
                      <a:pt x="122" y="232"/>
                      <a:pt x="142" y="232"/>
                    </a:cubicBezTo>
                    <a:cubicBezTo>
                      <a:pt x="155" y="232"/>
                      <a:pt x="168" y="228"/>
                      <a:pt x="180" y="220"/>
                    </a:cubicBezTo>
                    <a:cubicBezTo>
                      <a:pt x="209" y="199"/>
                      <a:pt x="215" y="158"/>
                      <a:pt x="194" y="1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4" name="Freeform 26">
                <a:extLst>
                  <a:ext uri="{FF2B5EF4-FFF2-40B4-BE49-F238E27FC236}">
                    <a16:creationId xmlns:a16="http://schemas.microsoft.com/office/drawing/2014/main" id="{8D342D65-A187-F7A6-1248-EA4BB4EF9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69427" y="2336800"/>
                <a:ext cx="484188" cy="328613"/>
              </a:xfrm>
              <a:custGeom>
                <a:avLst/>
                <a:gdLst>
                  <a:gd name="T0" fmla="*/ 245 w 256"/>
                  <a:gd name="T1" fmla="*/ 52 h 173"/>
                  <a:gd name="T2" fmla="*/ 164 w 256"/>
                  <a:gd name="T3" fmla="*/ 11 h 173"/>
                  <a:gd name="T4" fmla="*/ 53 w 256"/>
                  <a:gd name="T5" fmla="*/ 47 h 173"/>
                  <a:gd name="T6" fmla="*/ 11 w 256"/>
                  <a:gd name="T7" fmla="*/ 128 h 173"/>
                  <a:gd name="T8" fmla="*/ 73 w 256"/>
                  <a:gd name="T9" fmla="*/ 173 h 173"/>
                  <a:gd name="T10" fmla="*/ 93 w 256"/>
                  <a:gd name="T11" fmla="*/ 169 h 173"/>
                  <a:gd name="T12" fmla="*/ 203 w 256"/>
                  <a:gd name="T13" fmla="*/ 133 h 173"/>
                  <a:gd name="T14" fmla="*/ 245 w 256"/>
                  <a:gd name="T15" fmla="*/ 5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45" y="52"/>
                    </a:moveTo>
                    <a:cubicBezTo>
                      <a:pt x="234" y="18"/>
                      <a:pt x="197" y="0"/>
                      <a:pt x="164" y="11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19" y="58"/>
                      <a:pt x="0" y="94"/>
                      <a:pt x="11" y="128"/>
                    </a:cubicBezTo>
                    <a:cubicBezTo>
                      <a:pt x="20" y="155"/>
                      <a:pt x="45" y="173"/>
                      <a:pt x="73" y="173"/>
                    </a:cubicBezTo>
                    <a:cubicBezTo>
                      <a:pt x="79" y="173"/>
                      <a:pt x="86" y="172"/>
                      <a:pt x="93" y="169"/>
                    </a:cubicBezTo>
                    <a:cubicBezTo>
                      <a:pt x="203" y="133"/>
                      <a:pt x="203" y="133"/>
                      <a:pt x="203" y="133"/>
                    </a:cubicBezTo>
                    <a:cubicBezTo>
                      <a:pt x="237" y="122"/>
                      <a:pt x="256" y="86"/>
                      <a:pt x="245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5" name="Freeform 27">
                <a:extLst>
                  <a:ext uri="{FF2B5EF4-FFF2-40B4-BE49-F238E27FC236}">
                    <a16:creationId xmlns:a16="http://schemas.microsoft.com/office/drawing/2014/main" id="{E36D8C6F-C316-BA53-64F1-D138D656C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62802" y="3795712"/>
                <a:ext cx="246063" cy="466725"/>
              </a:xfrm>
              <a:custGeom>
                <a:avLst/>
                <a:gdLst>
                  <a:gd name="T0" fmla="*/ 65 w 130"/>
                  <a:gd name="T1" fmla="*/ 0 h 246"/>
                  <a:gd name="T2" fmla="*/ 0 w 130"/>
                  <a:gd name="T3" fmla="*/ 65 h 246"/>
                  <a:gd name="T4" fmla="*/ 0 w 130"/>
                  <a:gd name="T5" fmla="*/ 181 h 246"/>
                  <a:gd name="T6" fmla="*/ 65 w 130"/>
                  <a:gd name="T7" fmla="*/ 246 h 246"/>
                  <a:gd name="T8" fmla="*/ 130 w 130"/>
                  <a:gd name="T9" fmla="*/ 181 h 246"/>
                  <a:gd name="T10" fmla="*/ 130 w 130"/>
                  <a:gd name="T11" fmla="*/ 65 h 246"/>
                  <a:gd name="T12" fmla="*/ 65 w 130"/>
                  <a:gd name="T13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246">
                    <a:moveTo>
                      <a:pt x="65" y="0"/>
                    </a:moveTo>
                    <a:cubicBezTo>
                      <a:pt x="29" y="0"/>
                      <a:pt x="0" y="29"/>
                      <a:pt x="0" y="65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17"/>
                      <a:pt x="29" y="246"/>
                      <a:pt x="65" y="246"/>
                    </a:cubicBezTo>
                    <a:cubicBezTo>
                      <a:pt x="101" y="246"/>
                      <a:pt x="130" y="217"/>
                      <a:pt x="130" y="181"/>
                    </a:cubicBezTo>
                    <a:cubicBezTo>
                      <a:pt x="130" y="65"/>
                      <a:pt x="130" y="65"/>
                      <a:pt x="130" y="65"/>
                    </a:cubicBezTo>
                    <a:cubicBezTo>
                      <a:pt x="130" y="29"/>
                      <a:pt x="101" y="0"/>
                      <a:pt x="6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6" name="Freeform 28">
                <a:extLst>
                  <a:ext uri="{FF2B5EF4-FFF2-40B4-BE49-F238E27FC236}">
                    <a16:creationId xmlns:a16="http://schemas.microsoft.com/office/drawing/2014/main" id="{B9A73983-7A8E-6DFB-C6D2-A790F4122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2714" y="2336800"/>
                <a:ext cx="484188" cy="328613"/>
              </a:xfrm>
              <a:custGeom>
                <a:avLst/>
                <a:gdLst>
                  <a:gd name="T0" fmla="*/ 203 w 256"/>
                  <a:gd name="T1" fmla="*/ 47 h 173"/>
                  <a:gd name="T2" fmla="*/ 92 w 256"/>
                  <a:gd name="T3" fmla="*/ 11 h 173"/>
                  <a:gd name="T4" fmla="*/ 11 w 256"/>
                  <a:gd name="T5" fmla="*/ 52 h 173"/>
                  <a:gd name="T6" fmla="*/ 53 w 256"/>
                  <a:gd name="T7" fmla="*/ 133 h 173"/>
                  <a:gd name="T8" fmla="*/ 163 w 256"/>
                  <a:gd name="T9" fmla="*/ 170 h 173"/>
                  <a:gd name="T10" fmla="*/ 183 w 256"/>
                  <a:gd name="T11" fmla="*/ 173 h 173"/>
                  <a:gd name="T12" fmla="*/ 245 w 256"/>
                  <a:gd name="T13" fmla="*/ 128 h 173"/>
                  <a:gd name="T14" fmla="*/ 203 w 256"/>
                  <a:gd name="T15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03" y="47"/>
                    </a:moveTo>
                    <a:cubicBezTo>
                      <a:pt x="92" y="11"/>
                      <a:pt x="92" y="11"/>
                      <a:pt x="92" y="11"/>
                    </a:cubicBezTo>
                    <a:cubicBezTo>
                      <a:pt x="59" y="0"/>
                      <a:pt x="22" y="18"/>
                      <a:pt x="11" y="52"/>
                    </a:cubicBezTo>
                    <a:cubicBezTo>
                      <a:pt x="0" y="86"/>
                      <a:pt x="19" y="122"/>
                      <a:pt x="53" y="133"/>
                    </a:cubicBezTo>
                    <a:cubicBezTo>
                      <a:pt x="163" y="170"/>
                      <a:pt x="163" y="170"/>
                      <a:pt x="163" y="170"/>
                    </a:cubicBezTo>
                    <a:cubicBezTo>
                      <a:pt x="170" y="172"/>
                      <a:pt x="177" y="173"/>
                      <a:pt x="183" y="173"/>
                    </a:cubicBezTo>
                    <a:cubicBezTo>
                      <a:pt x="211" y="173"/>
                      <a:pt x="236" y="155"/>
                      <a:pt x="245" y="128"/>
                    </a:cubicBezTo>
                    <a:cubicBezTo>
                      <a:pt x="256" y="94"/>
                      <a:pt x="237" y="58"/>
                      <a:pt x="203" y="4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grpSp>
          <p:nvGrpSpPr>
            <p:cNvPr id="53" name="ZenIcon1">
              <a:extLst>
                <a:ext uri="{FF2B5EF4-FFF2-40B4-BE49-F238E27FC236}">
                  <a16:creationId xmlns:a16="http://schemas.microsoft.com/office/drawing/2014/main" id="{77892283-A248-F90F-21C6-CEF9086E9EF7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7679841" y="3038316"/>
              <a:ext cx="585837" cy="585837"/>
              <a:chOff x="5712408" y="975680"/>
              <a:chExt cx="671729" cy="639391"/>
            </a:xfrm>
          </p:grpSpPr>
          <p:sp>
            <p:nvSpPr>
              <p:cNvPr id="54" name="Freeform 26">
                <a:extLst>
                  <a:ext uri="{FF2B5EF4-FFF2-40B4-BE49-F238E27FC236}">
                    <a16:creationId xmlns:a16="http://schemas.microsoft.com/office/drawing/2014/main" id="{0B8179CC-FC77-C5C8-CBB1-AA0A22CC7A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2408" y="975680"/>
                <a:ext cx="671729" cy="639391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6" name="Freeform 27">
                <a:extLst>
                  <a:ext uri="{FF2B5EF4-FFF2-40B4-BE49-F238E27FC236}">
                    <a16:creationId xmlns:a16="http://schemas.microsoft.com/office/drawing/2014/main" id="{C3F75767-FF6A-81E5-FEE0-AE75644BB8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917" y="1058042"/>
                <a:ext cx="502713" cy="338119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reeform 28">
                <a:extLst>
                  <a:ext uri="{FF2B5EF4-FFF2-40B4-BE49-F238E27FC236}">
                    <a16:creationId xmlns:a16="http://schemas.microsoft.com/office/drawing/2014/main" id="{587C4866-32BE-91D2-BB27-AADEBA88A3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7937" y="1404831"/>
                <a:ext cx="62840" cy="65023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Freeform 29">
                <a:extLst>
                  <a:ext uri="{FF2B5EF4-FFF2-40B4-BE49-F238E27FC236}">
                    <a16:creationId xmlns:a16="http://schemas.microsoft.com/office/drawing/2014/main" id="{A99C2A5E-5834-F908-B6AF-C7C97DA8F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429" y="1190255"/>
                <a:ext cx="84509" cy="88864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Freeform 30">
                <a:extLst>
                  <a:ext uri="{FF2B5EF4-FFF2-40B4-BE49-F238E27FC236}">
                    <a16:creationId xmlns:a16="http://schemas.microsoft.com/office/drawing/2014/main" id="{DC2C999E-D66F-9B90-04B8-EFDB3D275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605" y="1175084"/>
                <a:ext cx="43337" cy="119208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Freeform 31">
                <a:extLst>
                  <a:ext uri="{FF2B5EF4-FFF2-40B4-BE49-F238E27FC236}">
                    <a16:creationId xmlns:a16="http://schemas.microsoft.com/office/drawing/2014/main" id="{7CC10918-ABB9-49CF-79FA-549219F19F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776" y="1190255"/>
                <a:ext cx="82341" cy="88864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158329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56E3D6-17B6-3D7C-3848-DD04605AAD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271AB277-B9E6-E87A-B4B9-46ADBD8F0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1AB277-B9E6-E87A-B4B9-46ADBD8F0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71D9F6-C7B7-8C83-0369-8A87642A3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9FC80D7F-14C9-A272-6E76-A61AB3DC6A5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232096F9-4BFE-2D11-E99A-366186065B09}"/>
              </a:ext>
            </a:extLst>
          </p:cNvPr>
          <p:cNvSpPr/>
          <p:nvPr/>
        </p:nvSpPr>
        <p:spPr>
          <a:xfrm rot="5400000">
            <a:off x="803969" y="2529501"/>
            <a:ext cx="1752602" cy="1752603"/>
          </a:xfrm>
          <a:prstGeom prst="arc">
            <a:avLst>
              <a:gd name="adj1" fmla="val 16200000"/>
              <a:gd name="adj2" fmla="val 5278363"/>
            </a:avLst>
          </a:prstGeom>
          <a:ln w="25400">
            <a:solidFill>
              <a:schemeClr val="accent1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0891C70-A70B-7202-E123-778E9A1B4511}"/>
              </a:ext>
            </a:extLst>
          </p:cNvPr>
          <p:cNvSpPr/>
          <p:nvPr/>
        </p:nvSpPr>
        <p:spPr>
          <a:xfrm>
            <a:off x="1098997" y="2824529"/>
            <a:ext cx="1162546" cy="1162546"/>
          </a:xfrm>
          <a:prstGeom prst="ellipse">
            <a:avLst/>
          </a:prstGeom>
          <a:solidFill>
            <a:schemeClr val="accent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72E5253-C41B-5A9B-7100-77A8DB30B228}"/>
              </a:ext>
            </a:extLst>
          </p:cNvPr>
          <p:cNvSpPr/>
          <p:nvPr/>
        </p:nvSpPr>
        <p:spPr>
          <a:xfrm>
            <a:off x="1273638" y="2999171"/>
            <a:ext cx="813264" cy="81326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933A5F75-9AD5-D3A7-AB2E-922B34236979}"/>
              </a:ext>
            </a:extLst>
          </p:cNvPr>
          <p:cNvSpPr/>
          <p:nvPr/>
        </p:nvSpPr>
        <p:spPr>
          <a:xfrm rot="16200000" flipV="1">
            <a:off x="2556570" y="2529501"/>
            <a:ext cx="1752602" cy="1752603"/>
          </a:xfrm>
          <a:prstGeom prst="arc">
            <a:avLst>
              <a:gd name="adj1" fmla="val 16200000"/>
              <a:gd name="adj2" fmla="val 5278363"/>
            </a:avLst>
          </a:prstGeom>
          <a:ln w="25400">
            <a:solidFill>
              <a:schemeClr val="accent2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43CD633-D09D-7813-9E03-5BF0DC6BFD36}"/>
              </a:ext>
            </a:extLst>
          </p:cNvPr>
          <p:cNvSpPr/>
          <p:nvPr/>
        </p:nvSpPr>
        <p:spPr>
          <a:xfrm>
            <a:off x="2851598" y="2824529"/>
            <a:ext cx="1162546" cy="1162546"/>
          </a:xfrm>
          <a:prstGeom prst="ellipse">
            <a:avLst/>
          </a:prstGeom>
          <a:solidFill>
            <a:schemeClr val="accent2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5B272DD-4943-A743-8101-A0C2959C5708}"/>
              </a:ext>
            </a:extLst>
          </p:cNvPr>
          <p:cNvSpPr>
            <a:spLocks noChangeAspect="1"/>
          </p:cNvSpPr>
          <p:nvPr/>
        </p:nvSpPr>
        <p:spPr>
          <a:xfrm>
            <a:off x="3026239" y="2999171"/>
            <a:ext cx="813264" cy="81326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222D7870-A58B-1141-2479-E59E57F4488B}"/>
              </a:ext>
            </a:extLst>
          </p:cNvPr>
          <p:cNvSpPr/>
          <p:nvPr/>
        </p:nvSpPr>
        <p:spPr>
          <a:xfrm rot="5400000">
            <a:off x="4309169" y="2529501"/>
            <a:ext cx="1752602" cy="1752603"/>
          </a:xfrm>
          <a:prstGeom prst="arc">
            <a:avLst>
              <a:gd name="adj1" fmla="val 16200000"/>
              <a:gd name="adj2" fmla="val 5278363"/>
            </a:avLst>
          </a:prstGeom>
          <a:ln w="25400">
            <a:solidFill>
              <a:schemeClr val="accent3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1F08156-6C79-BBA1-7CF2-2B5EDE867B50}"/>
              </a:ext>
            </a:extLst>
          </p:cNvPr>
          <p:cNvSpPr>
            <a:spLocks noChangeAspect="1"/>
          </p:cNvSpPr>
          <p:nvPr/>
        </p:nvSpPr>
        <p:spPr>
          <a:xfrm>
            <a:off x="4604197" y="2824529"/>
            <a:ext cx="1162546" cy="1162546"/>
          </a:xfrm>
          <a:prstGeom prst="ellipse">
            <a:avLst/>
          </a:prstGeom>
          <a:solidFill>
            <a:schemeClr val="accent3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760D396-1833-8907-61DB-8202B842AC23}"/>
              </a:ext>
            </a:extLst>
          </p:cNvPr>
          <p:cNvSpPr>
            <a:spLocks noChangeAspect="1"/>
          </p:cNvSpPr>
          <p:nvPr/>
        </p:nvSpPr>
        <p:spPr>
          <a:xfrm>
            <a:off x="4778838" y="2999171"/>
            <a:ext cx="813264" cy="81326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4" name="Arc 13">
            <a:extLst>
              <a:ext uri="{FF2B5EF4-FFF2-40B4-BE49-F238E27FC236}">
                <a16:creationId xmlns:a16="http://schemas.microsoft.com/office/drawing/2014/main" id="{33116614-80BB-4D2C-2C94-36E5F5F991B2}"/>
              </a:ext>
            </a:extLst>
          </p:cNvPr>
          <p:cNvSpPr/>
          <p:nvPr/>
        </p:nvSpPr>
        <p:spPr>
          <a:xfrm rot="16200000" flipV="1">
            <a:off x="6061768" y="2529501"/>
            <a:ext cx="1752602" cy="1752603"/>
          </a:xfrm>
          <a:prstGeom prst="arc">
            <a:avLst>
              <a:gd name="adj1" fmla="val 16200000"/>
              <a:gd name="adj2" fmla="val 5278363"/>
            </a:avLst>
          </a:prstGeom>
          <a:ln w="25400">
            <a:solidFill>
              <a:schemeClr val="accent4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2EF5250-3E82-86C5-4AB8-76F84337D3CF}"/>
              </a:ext>
            </a:extLst>
          </p:cNvPr>
          <p:cNvSpPr/>
          <p:nvPr/>
        </p:nvSpPr>
        <p:spPr>
          <a:xfrm>
            <a:off x="6356797" y="2824529"/>
            <a:ext cx="1162546" cy="1162546"/>
          </a:xfrm>
          <a:prstGeom prst="ellipse">
            <a:avLst/>
          </a:prstGeom>
          <a:solidFill>
            <a:schemeClr val="accent4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7C3B57C-708F-5EC4-C13E-E0AC8A9E7609}"/>
              </a:ext>
            </a:extLst>
          </p:cNvPr>
          <p:cNvSpPr>
            <a:spLocks noChangeAspect="1"/>
          </p:cNvSpPr>
          <p:nvPr/>
        </p:nvSpPr>
        <p:spPr>
          <a:xfrm>
            <a:off x="6531438" y="2999171"/>
            <a:ext cx="813264" cy="81326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BCE1037A-7753-C525-1BB0-F2448415E6F3}"/>
              </a:ext>
            </a:extLst>
          </p:cNvPr>
          <p:cNvSpPr/>
          <p:nvPr/>
        </p:nvSpPr>
        <p:spPr>
          <a:xfrm rot="5400000">
            <a:off x="7814367" y="2529501"/>
            <a:ext cx="1752602" cy="1752603"/>
          </a:xfrm>
          <a:prstGeom prst="arc">
            <a:avLst>
              <a:gd name="adj1" fmla="val 16200000"/>
              <a:gd name="adj2" fmla="val 5278363"/>
            </a:avLst>
          </a:prstGeom>
          <a:ln w="25400">
            <a:solidFill>
              <a:schemeClr val="accent5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1F45CC4-D5E7-21E9-FD86-73120E3EF92A}"/>
              </a:ext>
            </a:extLst>
          </p:cNvPr>
          <p:cNvSpPr/>
          <p:nvPr/>
        </p:nvSpPr>
        <p:spPr>
          <a:xfrm>
            <a:off x="8109396" y="2824529"/>
            <a:ext cx="1162546" cy="1162546"/>
          </a:xfrm>
          <a:prstGeom prst="ellipse">
            <a:avLst/>
          </a:prstGeom>
          <a:solidFill>
            <a:schemeClr val="accent5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BFD6089-9EBE-A6C5-2720-8DF5E7571339}"/>
              </a:ext>
            </a:extLst>
          </p:cNvPr>
          <p:cNvSpPr>
            <a:spLocks noChangeAspect="1"/>
          </p:cNvSpPr>
          <p:nvPr/>
        </p:nvSpPr>
        <p:spPr>
          <a:xfrm>
            <a:off x="8284037" y="2999171"/>
            <a:ext cx="813264" cy="81326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20" name="Arc 19">
            <a:extLst>
              <a:ext uri="{FF2B5EF4-FFF2-40B4-BE49-F238E27FC236}">
                <a16:creationId xmlns:a16="http://schemas.microsoft.com/office/drawing/2014/main" id="{EAB7015B-6D6B-7A31-2B28-888C80C8912C}"/>
              </a:ext>
            </a:extLst>
          </p:cNvPr>
          <p:cNvSpPr/>
          <p:nvPr/>
        </p:nvSpPr>
        <p:spPr>
          <a:xfrm rot="16200000" flipV="1">
            <a:off x="9566968" y="2529501"/>
            <a:ext cx="1752602" cy="1752603"/>
          </a:xfrm>
          <a:prstGeom prst="arc">
            <a:avLst>
              <a:gd name="adj1" fmla="val 16200000"/>
              <a:gd name="adj2" fmla="val 5278363"/>
            </a:avLst>
          </a:prstGeom>
          <a:ln w="25400">
            <a:solidFill>
              <a:schemeClr val="accent6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D76BDE0-301B-F696-073D-44C2905A621D}"/>
              </a:ext>
            </a:extLst>
          </p:cNvPr>
          <p:cNvSpPr/>
          <p:nvPr/>
        </p:nvSpPr>
        <p:spPr>
          <a:xfrm>
            <a:off x="9861996" y="2824529"/>
            <a:ext cx="1162546" cy="1162546"/>
          </a:xfrm>
          <a:prstGeom prst="ellipse">
            <a:avLst/>
          </a:prstGeom>
          <a:solidFill>
            <a:schemeClr val="accent6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2F2C12F-9D9C-BC7F-461E-B90A504DC8AC}"/>
              </a:ext>
            </a:extLst>
          </p:cNvPr>
          <p:cNvSpPr>
            <a:spLocks noChangeAspect="1"/>
          </p:cNvSpPr>
          <p:nvPr/>
        </p:nvSpPr>
        <p:spPr>
          <a:xfrm>
            <a:off x="10036637" y="2999171"/>
            <a:ext cx="813264" cy="81326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62F58BD-095C-40D8-B340-182213A7B985}"/>
              </a:ext>
            </a:extLst>
          </p:cNvPr>
          <p:cNvSpPr txBox="1"/>
          <p:nvPr/>
        </p:nvSpPr>
        <p:spPr>
          <a:xfrm>
            <a:off x="5824251" y="1410474"/>
            <a:ext cx="2189010" cy="9010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02849EC-2B4C-0242-55A6-5885CCB5A7F1}"/>
              </a:ext>
            </a:extLst>
          </p:cNvPr>
          <p:cNvSpPr txBox="1"/>
          <p:nvPr/>
        </p:nvSpPr>
        <p:spPr>
          <a:xfrm>
            <a:off x="4143182" y="4498823"/>
            <a:ext cx="2113314" cy="9010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25AB545-B747-6BCC-A84E-A112C766CAE9}"/>
              </a:ext>
            </a:extLst>
          </p:cNvPr>
          <p:cNvSpPr txBox="1"/>
          <p:nvPr/>
        </p:nvSpPr>
        <p:spPr>
          <a:xfrm>
            <a:off x="2470996" y="1410475"/>
            <a:ext cx="2001118" cy="9010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ADD1C93-9C12-7F39-8458-0F58A0160FC4}"/>
              </a:ext>
            </a:extLst>
          </p:cNvPr>
          <p:cNvSpPr txBox="1"/>
          <p:nvPr/>
        </p:nvSpPr>
        <p:spPr>
          <a:xfrm>
            <a:off x="657334" y="4498823"/>
            <a:ext cx="2001118" cy="9010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54BF920-C833-F82F-82D6-A9B6168F026D}"/>
              </a:ext>
            </a:extLst>
          </p:cNvPr>
          <p:cNvSpPr txBox="1"/>
          <p:nvPr/>
        </p:nvSpPr>
        <p:spPr>
          <a:xfrm>
            <a:off x="7644471" y="4498823"/>
            <a:ext cx="2144036" cy="9010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 b="1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591209F-70AB-39C3-E95B-0564779FA91C}"/>
              </a:ext>
            </a:extLst>
          </p:cNvPr>
          <p:cNvSpPr txBox="1"/>
          <p:nvPr/>
        </p:nvSpPr>
        <p:spPr>
          <a:xfrm>
            <a:off x="9345656" y="1410473"/>
            <a:ext cx="2189010" cy="9010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grpSp>
        <p:nvGrpSpPr>
          <p:cNvPr id="29" name="ZenIcon1">
            <a:extLst>
              <a:ext uri="{FF2B5EF4-FFF2-40B4-BE49-F238E27FC236}">
                <a16:creationId xmlns:a16="http://schemas.microsoft.com/office/drawing/2014/main" id="{5F4A621F-C74E-31C7-7D1A-D75D4D2133F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0279499" y="3242032"/>
            <a:ext cx="327540" cy="327540"/>
            <a:chOff x="5712408" y="975680"/>
            <a:chExt cx="671729" cy="639391"/>
          </a:xfrm>
          <a:solidFill>
            <a:schemeClr val="accent1"/>
          </a:solidFill>
        </p:grpSpPr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A05FB98D-D318-F8D4-90D3-15676FC3DA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E5AA253C-BDEF-C5B9-825B-39177AE398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F56E6124-F0F8-533A-E6CD-65EE03F9F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B4CBBE2E-607E-5DFA-61C1-1AD248F0B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D61F70CB-1FDA-FF43-E5D6-E5A32471C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4A03FE9B-7D23-DAAC-5AF3-26473D240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ZenIcon2">
            <a:extLst>
              <a:ext uri="{FF2B5EF4-FFF2-40B4-BE49-F238E27FC236}">
                <a16:creationId xmlns:a16="http://schemas.microsoft.com/office/drawing/2014/main" id="{D33DAA13-0F9B-0A59-1126-6FBB3030B9D0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1516500" y="3242032"/>
            <a:ext cx="327540" cy="32754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31" name="ZenIcon3">
            <a:extLst>
              <a:ext uri="{FF2B5EF4-FFF2-40B4-BE49-F238E27FC236}">
                <a16:creationId xmlns:a16="http://schemas.microsoft.com/office/drawing/2014/main" id="{A8CC6AB8-4A5F-2E86-9D96-E307487E1EF2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3269101" y="3241625"/>
            <a:ext cx="327540" cy="328354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2" name="ZenIcon4">
            <a:extLst>
              <a:ext uri="{FF2B5EF4-FFF2-40B4-BE49-F238E27FC236}">
                <a16:creationId xmlns:a16="http://schemas.microsoft.com/office/drawing/2014/main" id="{299ADF64-A448-8AEF-BCEB-088B841FC9BB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5021700" y="3242032"/>
            <a:ext cx="327540" cy="327540"/>
            <a:chOff x="-4769427" y="-314325"/>
            <a:chExt cx="4660901" cy="4576762"/>
          </a:xfrm>
        </p:grpSpPr>
        <p:sp>
          <p:nvSpPr>
            <p:cNvPr id="41" name="Freeform 23">
              <a:extLst>
                <a:ext uri="{FF2B5EF4-FFF2-40B4-BE49-F238E27FC236}">
                  <a16:creationId xmlns:a16="http://schemas.microsoft.com/office/drawing/2014/main" id="{172ED4AE-2E38-6128-E7C9-93E9EDA6D3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5869CA16-3D53-091E-2BE2-BEA31B07D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6B113DF9-C9D5-C391-11FD-9B3850ED1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">
              <a:extLst>
                <a:ext uri="{FF2B5EF4-FFF2-40B4-BE49-F238E27FC236}">
                  <a16:creationId xmlns:a16="http://schemas.microsoft.com/office/drawing/2014/main" id="{E08EC2E5-7EFF-BE07-D0A2-78ABCA62C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13278037-C40D-DFD5-D76D-CFD353809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20A43446-F82D-F71B-1F9D-A00EE014C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ZenIcon1">
            <a:extLst>
              <a:ext uri="{FF2B5EF4-FFF2-40B4-BE49-F238E27FC236}">
                <a16:creationId xmlns:a16="http://schemas.microsoft.com/office/drawing/2014/main" id="{2667C893-B587-87C0-9CFA-40AB5F87FAEA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6774300" y="3242032"/>
            <a:ext cx="327540" cy="327540"/>
            <a:chOff x="5712408" y="975680"/>
            <a:chExt cx="671729" cy="639391"/>
          </a:xfrm>
        </p:grpSpPr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14FD3CB0-2EE5-EC1A-6D09-41D89DC48F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9A479303-4279-A3B7-B88E-C8BB31B08B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B0F010D3-2236-3487-900B-685CF0323D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964FD84B-6CCD-5B1F-02AE-89B7F434F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63711F5A-F353-34F2-E8E6-9FE40FFE7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2AD7C1E7-A1FF-DC83-C855-C075421FD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  <p:sp>
        <p:nvSpPr>
          <p:cNvPr id="34" name="ZenIcon2">
            <a:extLst>
              <a:ext uri="{FF2B5EF4-FFF2-40B4-BE49-F238E27FC236}">
                <a16:creationId xmlns:a16="http://schemas.microsoft.com/office/drawing/2014/main" id="{E35544AD-413E-D0ED-2165-86CD95DDCA0B}"/>
              </a:ext>
            </a:extLst>
          </p:cNvPr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8526899" y="3242032"/>
            <a:ext cx="327540" cy="32754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</p:spTree>
    <p:extLst>
      <p:ext uri="{BB962C8B-B14F-4D97-AF65-F5344CB8AC3E}">
        <p14:creationId xmlns:p14="http://schemas.microsoft.com/office/powerpoint/2010/main" val="233789947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E3068D-4BC0-74D7-DA6A-43BC8914DD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F82335E-8B86-BCE3-325C-1A2CD10FC7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82335E-8B86-BCE3-325C-1A2CD10FC7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EBA9F6-91B8-F178-EFFE-7F9122690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14A3D0D-65E8-160C-3ACB-03297E24748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1" name="Google Shape;2173;p36">
            <a:extLst>
              <a:ext uri="{FF2B5EF4-FFF2-40B4-BE49-F238E27FC236}">
                <a16:creationId xmlns:a16="http://schemas.microsoft.com/office/drawing/2014/main" id="{60405AAF-F478-3F13-9272-052BB12D4B5C}"/>
              </a:ext>
            </a:extLst>
          </p:cNvPr>
          <p:cNvSpPr/>
          <p:nvPr/>
        </p:nvSpPr>
        <p:spPr>
          <a:xfrm>
            <a:off x="6206482" y="2148420"/>
            <a:ext cx="2932173" cy="2124692"/>
          </a:xfrm>
          <a:custGeom>
            <a:avLst/>
            <a:gdLst>
              <a:gd name="connsiteX0" fmla="*/ 0 w 4292311"/>
              <a:gd name="connsiteY0" fmla="*/ 1227334 h 2013439"/>
              <a:gd name="connsiteX1" fmla="*/ 494034 w 4292311"/>
              <a:gd name="connsiteY1" fmla="*/ 2013439 h 2013439"/>
              <a:gd name="connsiteX2" fmla="*/ 1540319 w 4292311"/>
              <a:gd name="connsiteY2" fmla="*/ 1995854 h 2013439"/>
              <a:gd name="connsiteX3" fmla="*/ 2692111 w 4292311"/>
              <a:gd name="connsiteY3" fmla="*/ 0 h 2013439"/>
              <a:gd name="connsiteX4" fmla="*/ 3808734 w 4292311"/>
              <a:gd name="connsiteY4" fmla="*/ 8792 h 2013439"/>
              <a:gd name="connsiteX5" fmla="*/ 4292311 w 4292311"/>
              <a:gd name="connsiteY5" fmla="*/ 800100 h 2013439"/>
              <a:gd name="connsiteX0" fmla="*/ 0 w 4292311"/>
              <a:gd name="connsiteY0" fmla="*/ 1227334 h 2013439"/>
              <a:gd name="connsiteX1" fmla="*/ 494034 w 4292311"/>
              <a:gd name="connsiteY1" fmla="*/ 2013439 h 2013439"/>
              <a:gd name="connsiteX2" fmla="*/ 1625849 w 4292311"/>
              <a:gd name="connsiteY2" fmla="*/ 2002982 h 2013439"/>
              <a:gd name="connsiteX3" fmla="*/ 2692111 w 4292311"/>
              <a:gd name="connsiteY3" fmla="*/ 0 h 2013439"/>
              <a:gd name="connsiteX4" fmla="*/ 3808734 w 4292311"/>
              <a:gd name="connsiteY4" fmla="*/ 8792 h 2013439"/>
              <a:gd name="connsiteX5" fmla="*/ 4292311 w 4292311"/>
              <a:gd name="connsiteY5" fmla="*/ 800100 h 2013439"/>
              <a:gd name="connsiteX0" fmla="*/ 0 w 4292311"/>
              <a:gd name="connsiteY0" fmla="*/ 1218542 h 2004647"/>
              <a:gd name="connsiteX1" fmla="*/ 494034 w 4292311"/>
              <a:gd name="connsiteY1" fmla="*/ 2004647 h 2004647"/>
              <a:gd name="connsiteX2" fmla="*/ 1625849 w 4292311"/>
              <a:gd name="connsiteY2" fmla="*/ 1994190 h 2004647"/>
              <a:gd name="connsiteX3" fmla="*/ 2749131 w 4292311"/>
              <a:gd name="connsiteY3" fmla="*/ 12590 h 2004647"/>
              <a:gd name="connsiteX4" fmla="*/ 3808734 w 4292311"/>
              <a:gd name="connsiteY4" fmla="*/ 0 h 2004647"/>
              <a:gd name="connsiteX5" fmla="*/ 4292311 w 4292311"/>
              <a:gd name="connsiteY5" fmla="*/ 791308 h 2004647"/>
              <a:gd name="connsiteX0" fmla="*/ 0 w 4263801"/>
              <a:gd name="connsiteY0" fmla="*/ 1218542 h 2004647"/>
              <a:gd name="connsiteX1" fmla="*/ 494034 w 4263801"/>
              <a:gd name="connsiteY1" fmla="*/ 2004647 h 2004647"/>
              <a:gd name="connsiteX2" fmla="*/ 1625849 w 4263801"/>
              <a:gd name="connsiteY2" fmla="*/ 1994190 h 2004647"/>
              <a:gd name="connsiteX3" fmla="*/ 2749131 w 4263801"/>
              <a:gd name="connsiteY3" fmla="*/ 12590 h 2004647"/>
              <a:gd name="connsiteX4" fmla="*/ 3808734 w 4263801"/>
              <a:gd name="connsiteY4" fmla="*/ 0 h 2004647"/>
              <a:gd name="connsiteX5" fmla="*/ 4263801 w 4263801"/>
              <a:gd name="connsiteY5" fmla="*/ 791308 h 2004647"/>
              <a:gd name="connsiteX0" fmla="*/ 0 w 4221036"/>
              <a:gd name="connsiteY0" fmla="*/ 1218542 h 2004647"/>
              <a:gd name="connsiteX1" fmla="*/ 494034 w 4221036"/>
              <a:gd name="connsiteY1" fmla="*/ 2004647 h 2004647"/>
              <a:gd name="connsiteX2" fmla="*/ 1625849 w 4221036"/>
              <a:gd name="connsiteY2" fmla="*/ 1994190 h 2004647"/>
              <a:gd name="connsiteX3" fmla="*/ 2749131 w 4221036"/>
              <a:gd name="connsiteY3" fmla="*/ 12590 h 2004647"/>
              <a:gd name="connsiteX4" fmla="*/ 3808734 w 4221036"/>
              <a:gd name="connsiteY4" fmla="*/ 0 h 2004647"/>
              <a:gd name="connsiteX5" fmla="*/ 4221036 w 4221036"/>
              <a:gd name="connsiteY5" fmla="*/ 798435 h 2004647"/>
              <a:gd name="connsiteX0" fmla="*/ 0 w 4249546"/>
              <a:gd name="connsiteY0" fmla="*/ 1218542 h 2004647"/>
              <a:gd name="connsiteX1" fmla="*/ 494034 w 4249546"/>
              <a:gd name="connsiteY1" fmla="*/ 2004647 h 2004647"/>
              <a:gd name="connsiteX2" fmla="*/ 1625849 w 4249546"/>
              <a:gd name="connsiteY2" fmla="*/ 1994190 h 2004647"/>
              <a:gd name="connsiteX3" fmla="*/ 2749131 w 4249546"/>
              <a:gd name="connsiteY3" fmla="*/ 12590 h 2004647"/>
              <a:gd name="connsiteX4" fmla="*/ 3808734 w 4249546"/>
              <a:gd name="connsiteY4" fmla="*/ 0 h 2004647"/>
              <a:gd name="connsiteX5" fmla="*/ 4249546 w 4249546"/>
              <a:gd name="connsiteY5" fmla="*/ 798435 h 2004647"/>
              <a:gd name="connsiteX0" fmla="*/ 0 w 3808734"/>
              <a:gd name="connsiteY0" fmla="*/ 1218542 h 2004647"/>
              <a:gd name="connsiteX1" fmla="*/ 494034 w 3808734"/>
              <a:gd name="connsiteY1" fmla="*/ 2004647 h 2004647"/>
              <a:gd name="connsiteX2" fmla="*/ 1625849 w 3808734"/>
              <a:gd name="connsiteY2" fmla="*/ 1994190 h 2004647"/>
              <a:gd name="connsiteX3" fmla="*/ 2749131 w 3808734"/>
              <a:gd name="connsiteY3" fmla="*/ 12590 h 2004647"/>
              <a:gd name="connsiteX4" fmla="*/ 3808734 w 3808734"/>
              <a:gd name="connsiteY4" fmla="*/ 0 h 2004647"/>
              <a:gd name="connsiteX0" fmla="*/ 0 w 2749131"/>
              <a:gd name="connsiteY0" fmla="*/ 1205952 h 1992057"/>
              <a:gd name="connsiteX1" fmla="*/ 494034 w 2749131"/>
              <a:gd name="connsiteY1" fmla="*/ 1992057 h 1992057"/>
              <a:gd name="connsiteX2" fmla="*/ 1625849 w 2749131"/>
              <a:gd name="connsiteY2" fmla="*/ 1981600 h 1992057"/>
              <a:gd name="connsiteX3" fmla="*/ 2749131 w 2749131"/>
              <a:gd name="connsiteY3" fmla="*/ 0 h 1992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49131" h="1992057" extrusionOk="0">
                <a:moveTo>
                  <a:pt x="0" y="1205952"/>
                </a:moveTo>
                <a:lnTo>
                  <a:pt x="494034" y="1992057"/>
                </a:lnTo>
                <a:lnTo>
                  <a:pt x="1625849" y="1981600"/>
                </a:lnTo>
                <a:lnTo>
                  <a:pt x="2749131" y="0"/>
                </a:lnTo>
              </a:path>
            </a:pathLst>
          </a:custGeom>
          <a:noFill/>
          <a:ln w="165100" cap="flat" cmpd="sng">
            <a:solidFill>
              <a:schemeClr val="accent1">
                <a:lumMod val="10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2" name="Google Shape;2174;p36">
            <a:extLst>
              <a:ext uri="{FF2B5EF4-FFF2-40B4-BE49-F238E27FC236}">
                <a16:creationId xmlns:a16="http://schemas.microsoft.com/office/drawing/2014/main" id="{F81AFE11-4C56-004C-8D63-D3E71B338BEB}"/>
              </a:ext>
            </a:extLst>
          </p:cNvPr>
          <p:cNvSpPr/>
          <p:nvPr/>
        </p:nvSpPr>
        <p:spPr>
          <a:xfrm rot="10800000">
            <a:off x="6217754" y="2125619"/>
            <a:ext cx="4646168" cy="2147498"/>
          </a:xfrm>
          <a:custGeom>
            <a:avLst/>
            <a:gdLst/>
            <a:ahLst/>
            <a:cxnLst/>
            <a:rect l="l" t="t" r="r" b="b"/>
            <a:pathLst>
              <a:path w="4356129" h="2013439" extrusionOk="0">
                <a:moveTo>
                  <a:pt x="2068988" y="754584"/>
                </a:moveTo>
                <a:lnTo>
                  <a:pt x="1679987" y="13518"/>
                </a:lnTo>
                <a:lnTo>
                  <a:pt x="567695" y="10105"/>
                </a:lnTo>
                <a:lnTo>
                  <a:pt x="0" y="964661"/>
                </a:lnTo>
                <a:lnTo>
                  <a:pt x="557852" y="2013439"/>
                </a:lnTo>
                <a:lnTo>
                  <a:pt x="1604137" y="1995854"/>
                </a:lnTo>
                <a:lnTo>
                  <a:pt x="2755929" y="0"/>
                </a:lnTo>
                <a:lnTo>
                  <a:pt x="3872552" y="8792"/>
                </a:lnTo>
                <a:lnTo>
                  <a:pt x="4356129" y="800100"/>
                </a:lnTo>
              </a:path>
            </a:pathLst>
          </a:custGeom>
          <a:noFill/>
          <a:ln w="1651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3" name="Google Shape;2171;p36">
            <a:extLst>
              <a:ext uri="{FF2B5EF4-FFF2-40B4-BE49-F238E27FC236}">
                <a16:creationId xmlns:a16="http://schemas.microsoft.com/office/drawing/2014/main" id="{A7691384-FF0B-5993-F981-D014702703CE}"/>
              </a:ext>
            </a:extLst>
          </p:cNvPr>
          <p:cNvSpPr/>
          <p:nvPr/>
        </p:nvSpPr>
        <p:spPr>
          <a:xfrm>
            <a:off x="1361553" y="2125619"/>
            <a:ext cx="4646168" cy="2147498"/>
          </a:xfrm>
          <a:custGeom>
            <a:avLst/>
            <a:gdLst/>
            <a:ahLst/>
            <a:cxnLst/>
            <a:rect l="l" t="t" r="r" b="b"/>
            <a:pathLst>
              <a:path w="4356129" h="2013439" extrusionOk="0">
                <a:moveTo>
                  <a:pt x="2119229" y="714391"/>
                </a:moveTo>
                <a:lnTo>
                  <a:pt x="1679987" y="13518"/>
                </a:lnTo>
                <a:lnTo>
                  <a:pt x="567695" y="10105"/>
                </a:lnTo>
                <a:lnTo>
                  <a:pt x="0" y="964661"/>
                </a:lnTo>
                <a:lnTo>
                  <a:pt x="557852" y="2013439"/>
                </a:lnTo>
                <a:lnTo>
                  <a:pt x="1604137" y="1995854"/>
                </a:lnTo>
                <a:lnTo>
                  <a:pt x="2755929" y="0"/>
                </a:lnTo>
                <a:lnTo>
                  <a:pt x="3872552" y="8792"/>
                </a:lnTo>
                <a:lnTo>
                  <a:pt x="4356129" y="800100"/>
                </a:lnTo>
              </a:path>
            </a:pathLst>
          </a:custGeom>
          <a:noFill/>
          <a:ln w="1651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4" name="Google Shape;2172;p36">
            <a:extLst>
              <a:ext uri="{FF2B5EF4-FFF2-40B4-BE49-F238E27FC236}">
                <a16:creationId xmlns:a16="http://schemas.microsoft.com/office/drawing/2014/main" id="{B45B86A5-A3E2-C77A-2430-EF7063A82ED5}"/>
              </a:ext>
            </a:extLst>
          </p:cNvPr>
          <p:cNvSpPr/>
          <p:nvPr/>
        </p:nvSpPr>
        <p:spPr>
          <a:xfrm>
            <a:off x="3810450" y="2125619"/>
            <a:ext cx="4585706" cy="2147498"/>
          </a:xfrm>
          <a:custGeom>
            <a:avLst/>
            <a:gdLst/>
            <a:ahLst/>
            <a:cxnLst/>
            <a:rect l="l" t="t" r="r" b="b"/>
            <a:pathLst>
              <a:path w="4299438" h="2013439" extrusionOk="0">
                <a:moveTo>
                  <a:pt x="0" y="1099040"/>
                </a:moveTo>
                <a:lnTo>
                  <a:pt x="501161" y="2013439"/>
                </a:lnTo>
                <a:lnTo>
                  <a:pt x="1547446" y="1995854"/>
                </a:lnTo>
                <a:lnTo>
                  <a:pt x="2699238" y="0"/>
                </a:lnTo>
                <a:lnTo>
                  <a:pt x="3815861" y="8792"/>
                </a:lnTo>
                <a:lnTo>
                  <a:pt x="4299438" y="800100"/>
                </a:lnTo>
              </a:path>
            </a:pathLst>
          </a:custGeom>
          <a:noFill/>
          <a:ln w="1651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5" name="Google Shape;2176;p36">
            <a:extLst>
              <a:ext uri="{FF2B5EF4-FFF2-40B4-BE49-F238E27FC236}">
                <a16:creationId xmlns:a16="http://schemas.microsoft.com/office/drawing/2014/main" id="{ABD07743-25D1-67F9-B16C-233D2A446C13}"/>
              </a:ext>
            </a:extLst>
          </p:cNvPr>
          <p:cNvSpPr txBox="1"/>
          <p:nvPr/>
        </p:nvSpPr>
        <p:spPr>
          <a:xfrm>
            <a:off x="1265942" y="4635359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96" name="Google Shape;2177;p36">
            <a:extLst>
              <a:ext uri="{FF2B5EF4-FFF2-40B4-BE49-F238E27FC236}">
                <a16:creationId xmlns:a16="http://schemas.microsoft.com/office/drawing/2014/main" id="{735ED56B-4614-5779-B259-6DA046F26F39}"/>
              </a:ext>
            </a:extLst>
          </p:cNvPr>
          <p:cNvSpPr txBox="1"/>
          <p:nvPr/>
        </p:nvSpPr>
        <p:spPr>
          <a:xfrm>
            <a:off x="1265942" y="5000572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97" name="Google Shape;2178;p36">
            <a:extLst>
              <a:ext uri="{FF2B5EF4-FFF2-40B4-BE49-F238E27FC236}">
                <a16:creationId xmlns:a16="http://schemas.microsoft.com/office/drawing/2014/main" id="{42E17E80-447F-7E41-26C4-EE33DDE8A122}"/>
              </a:ext>
            </a:extLst>
          </p:cNvPr>
          <p:cNvSpPr txBox="1"/>
          <p:nvPr/>
        </p:nvSpPr>
        <p:spPr>
          <a:xfrm>
            <a:off x="8458080" y="961778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98" name="Google Shape;2179;p36">
            <a:extLst>
              <a:ext uri="{FF2B5EF4-FFF2-40B4-BE49-F238E27FC236}">
                <a16:creationId xmlns:a16="http://schemas.microsoft.com/office/drawing/2014/main" id="{BFC6DD8A-03A6-C503-B351-C7066B50C490}"/>
              </a:ext>
            </a:extLst>
          </p:cNvPr>
          <p:cNvSpPr txBox="1"/>
          <p:nvPr/>
        </p:nvSpPr>
        <p:spPr>
          <a:xfrm>
            <a:off x="8458080" y="1272506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99" name="Google Shape;2180;p36">
            <a:extLst>
              <a:ext uri="{FF2B5EF4-FFF2-40B4-BE49-F238E27FC236}">
                <a16:creationId xmlns:a16="http://schemas.microsoft.com/office/drawing/2014/main" id="{4337E4A7-2B2D-1E0E-EC84-4F46448A1726}"/>
              </a:ext>
            </a:extLst>
          </p:cNvPr>
          <p:cNvSpPr txBox="1"/>
          <p:nvPr/>
        </p:nvSpPr>
        <p:spPr>
          <a:xfrm>
            <a:off x="3663322" y="961778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0" name="Google Shape;2181;p36">
            <a:extLst>
              <a:ext uri="{FF2B5EF4-FFF2-40B4-BE49-F238E27FC236}">
                <a16:creationId xmlns:a16="http://schemas.microsoft.com/office/drawing/2014/main" id="{7EC11705-868D-F0D2-293E-17D7DC6AAEA5}"/>
              </a:ext>
            </a:extLst>
          </p:cNvPr>
          <p:cNvSpPr txBox="1"/>
          <p:nvPr/>
        </p:nvSpPr>
        <p:spPr>
          <a:xfrm>
            <a:off x="3663322" y="1272506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1" name="Google Shape;2182;p36">
            <a:extLst>
              <a:ext uri="{FF2B5EF4-FFF2-40B4-BE49-F238E27FC236}">
                <a16:creationId xmlns:a16="http://schemas.microsoft.com/office/drawing/2014/main" id="{B284F0EA-59C7-1ED2-55B8-B15F18EB3123}"/>
              </a:ext>
            </a:extLst>
          </p:cNvPr>
          <p:cNvSpPr txBox="1"/>
          <p:nvPr/>
        </p:nvSpPr>
        <p:spPr>
          <a:xfrm>
            <a:off x="6060700" y="4635359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102" name="Google Shape;2183;p36">
            <a:extLst>
              <a:ext uri="{FF2B5EF4-FFF2-40B4-BE49-F238E27FC236}">
                <a16:creationId xmlns:a16="http://schemas.microsoft.com/office/drawing/2014/main" id="{151D6506-C462-F3D3-BDDA-4FE38CC0344F}"/>
              </a:ext>
            </a:extLst>
          </p:cNvPr>
          <p:cNvSpPr txBox="1"/>
          <p:nvPr/>
        </p:nvSpPr>
        <p:spPr>
          <a:xfrm>
            <a:off x="6060700" y="5000572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3" name="Freeform 1532">
            <a:extLst>
              <a:ext uri="{FF2B5EF4-FFF2-40B4-BE49-F238E27FC236}">
                <a16:creationId xmlns:a16="http://schemas.microsoft.com/office/drawing/2014/main" id="{BB278CEE-3EC0-57E4-F08B-C9DF8FC0C594}"/>
              </a:ext>
            </a:extLst>
          </p:cNvPr>
          <p:cNvSpPr>
            <a:spLocks noEditPoints="1"/>
          </p:cNvSpPr>
          <p:nvPr/>
        </p:nvSpPr>
        <p:spPr bwMode="auto">
          <a:xfrm>
            <a:off x="7450077" y="3407515"/>
            <a:ext cx="204829" cy="201420"/>
          </a:xfrm>
          <a:custGeom>
            <a:avLst/>
            <a:gdLst>
              <a:gd name="T0" fmla="*/ 16 w 41"/>
              <a:gd name="T1" fmla="*/ 41 h 41"/>
              <a:gd name="T2" fmla="*/ 13 w 41"/>
              <a:gd name="T3" fmla="*/ 40 h 41"/>
              <a:gd name="T4" fmla="*/ 1 w 41"/>
              <a:gd name="T5" fmla="*/ 28 h 41"/>
              <a:gd name="T6" fmla="*/ 0 w 41"/>
              <a:gd name="T7" fmla="*/ 24 h 41"/>
              <a:gd name="T8" fmla="*/ 5 w 41"/>
              <a:gd name="T9" fmla="*/ 7 h 41"/>
              <a:gd name="T10" fmla="*/ 7 w 41"/>
              <a:gd name="T11" fmla="*/ 5 h 41"/>
              <a:gd name="T12" fmla="*/ 24 w 41"/>
              <a:gd name="T13" fmla="*/ 0 h 41"/>
              <a:gd name="T14" fmla="*/ 28 w 41"/>
              <a:gd name="T15" fmla="*/ 1 h 41"/>
              <a:gd name="T16" fmla="*/ 40 w 41"/>
              <a:gd name="T17" fmla="*/ 14 h 41"/>
              <a:gd name="T18" fmla="*/ 40 w 41"/>
              <a:gd name="T19" fmla="*/ 14 h 41"/>
              <a:gd name="T20" fmla="*/ 41 w 41"/>
              <a:gd name="T21" fmla="*/ 17 h 41"/>
              <a:gd name="T22" fmla="*/ 36 w 41"/>
              <a:gd name="T23" fmla="*/ 34 h 41"/>
              <a:gd name="T24" fmla="*/ 34 w 41"/>
              <a:gd name="T25" fmla="*/ 37 h 41"/>
              <a:gd name="T26" fmla="*/ 17 w 41"/>
              <a:gd name="T27" fmla="*/ 41 h 41"/>
              <a:gd name="T28" fmla="*/ 16 w 41"/>
              <a:gd name="T29" fmla="*/ 41 h 41"/>
              <a:gd name="T30" fmla="*/ 5 w 41"/>
              <a:gd name="T31" fmla="*/ 25 h 41"/>
              <a:gd name="T32" fmla="*/ 16 w 41"/>
              <a:gd name="T33" fmla="*/ 36 h 41"/>
              <a:gd name="T34" fmla="*/ 32 w 41"/>
              <a:gd name="T35" fmla="*/ 32 h 41"/>
              <a:gd name="T36" fmla="*/ 36 w 41"/>
              <a:gd name="T37" fmla="*/ 17 h 41"/>
              <a:gd name="T38" fmla="*/ 25 w 41"/>
              <a:gd name="T39" fmla="*/ 5 h 41"/>
              <a:gd name="T40" fmla="*/ 9 w 41"/>
              <a:gd name="T41" fmla="*/ 9 h 41"/>
              <a:gd name="T42" fmla="*/ 5 w 41"/>
              <a:gd name="T43" fmla="*/ 25 h 41"/>
              <a:gd name="T44" fmla="*/ 32 w 41"/>
              <a:gd name="T45" fmla="*/ 33 h 41"/>
              <a:gd name="T46" fmla="*/ 32 w 41"/>
              <a:gd name="T47" fmla="*/ 33 h 41"/>
              <a:gd name="T48" fmla="*/ 5 w 41"/>
              <a:gd name="T49" fmla="*/ 26 h 41"/>
              <a:gd name="T50" fmla="*/ 5 w 41"/>
              <a:gd name="T51" fmla="*/ 26 h 41"/>
              <a:gd name="T52" fmla="*/ 5 w 41"/>
              <a:gd name="T53" fmla="*/ 26 h 41"/>
              <a:gd name="T54" fmla="*/ 36 w 41"/>
              <a:gd name="T55" fmla="*/ 16 h 41"/>
              <a:gd name="T56" fmla="*/ 36 w 41"/>
              <a:gd name="T57" fmla="*/ 16 h 41"/>
              <a:gd name="T58" fmla="*/ 9 w 41"/>
              <a:gd name="T59" fmla="*/ 9 h 41"/>
              <a:gd name="T60" fmla="*/ 9 w 41"/>
              <a:gd name="T61" fmla="*/ 9 h 41"/>
              <a:gd name="T62" fmla="*/ 9 w 41"/>
              <a:gd name="T63" fmla="*/ 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" h="41">
                <a:moveTo>
                  <a:pt x="16" y="41"/>
                </a:moveTo>
                <a:cubicBezTo>
                  <a:pt x="15" y="41"/>
                  <a:pt x="14" y="41"/>
                  <a:pt x="13" y="4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27"/>
                  <a:pt x="0" y="26"/>
                  <a:pt x="0" y="24"/>
                </a:cubicBezTo>
                <a:cubicBezTo>
                  <a:pt x="5" y="7"/>
                  <a:pt x="5" y="7"/>
                  <a:pt x="5" y="7"/>
                </a:cubicBezTo>
                <a:cubicBezTo>
                  <a:pt x="5" y="6"/>
                  <a:pt x="6" y="5"/>
                  <a:pt x="7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0"/>
                  <a:pt x="28" y="1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0" y="14"/>
                </a:cubicBezTo>
                <a:cubicBezTo>
                  <a:pt x="41" y="15"/>
                  <a:pt x="41" y="16"/>
                  <a:pt x="41" y="17"/>
                </a:cubicBezTo>
                <a:cubicBezTo>
                  <a:pt x="36" y="34"/>
                  <a:pt x="36" y="34"/>
                  <a:pt x="36" y="34"/>
                </a:cubicBezTo>
                <a:cubicBezTo>
                  <a:pt x="36" y="35"/>
                  <a:pt x="35" y="36"/>
                  <a:pt x="34" y="37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1"/>
                  <a:pt x="16" y="41"/>
                  <a:pt x="16" y="41"/>
                </a:cubicBezTo>
                <a:close/>
                <a:moveTo>
                  <a:pt x="5" y="25"/>
                </a:moveTo>
                <a:cubicBezTo>
                  <a:pt x="16" y="36"/>
                  <a:pt x="16" y="36"/>
                  <a:pt x="16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6" y="17"/>
                  <a:pt x="36" y="17"/>
                  <a:pt x="36" y="17"/>
                </a:cubicBezTo>
                <a:cubicBezTo>
                  <a:pt x="25" y="5"/>
                  <a:pt x="25" y="5"/>
                  <a:pt x="25" y="5"/>
                </a:cubicBezTo>
                <a:cubicBezTo>
                  <a:pt x="9" y="9"/>
                  <a:pt x="9" y="9"/>
                  <a:pt x="9" y="9"/>
                </a:cubicBezTo>
                <a:lnTo>
                  <a:pt x="5" y="25"/>
                </a:lnTo>
                <a:close/>
                <a:moveTo>
                  <a:pt x="32" y="33"/>
                </a:moveTo>
                <a:cubicBezTo>
                  <a:pt x="32" y="33"/>
                  <a:pt x="32" y="33"/>
                  <a:pt x="32" y="33"/>
                </a:cubicBezTo>
                <a:close/>
                <a:moveTo>
                  <a:pt x="5" y="26"/>
                </a:moveTo>
                <a:cubicBezTo>
                  <a:pt x="5" y="26"/>
                  <a:pt x="5" y="26"/>
                  <a:pt x="5" y="26"/>
                </a:cubicBezTo>
                <a:cubicBezTo>
                  <a:pt x="5" y="26"/>
                  <a:pt x="5" y="26"/>
                  <a:pt x="5" y="26"/>
                </a:cubicBezTo>
                <a:close/>
                <a:moveTo>
                  <a:pt x="36" y="16"/>
                </a:moveTo>
                <a:cubicBezTo>
                  <a:pt x="36" y="16"/>
                  <a:pt x="36" y="16"/>
                  <a:pt x="36" y="16"/>
                </a:cubicBezTo>
                <a:close/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4" name="Freeform 1533">
            <a:extLst>
              <a:ext uri="{FF2B5EF4-FFF2-40B4-BE49-F238E27FC236}">
                <a16:creationId xmlns:a16="http://schemas.microsoft.com/office/drawing/2014/main" id="{7F6A5C27-624D-4E40-10B7-7352228B4A7C}"/>
              </a:ext>
            </a:extLst>
          </p:cNvPr>
          <p:cNvSpPr>
            <a:spLocks/>
          </p:cNvSpPr>
          <p:nvPr/>
        </p:nvSpPr>
        <p:spPr bwMode="auto">
          <a:xfrm>
            <a:off x="6885035" y="2848411"/>
            <a:ext cx="229551" cy="225726"/>
          </a:xfrm>
          <a:custGeom>
            <a:avLst/>
            <a:gdLst>
              <a:gd name="T0" fmla="*/ 18 w 46"/>
              <a:gd name="T1" fmla="*/ 46 h 46"/>
              <a:gd name="T2" fmla="*/ 16 w 46"/>
              <a:gd name="T3" fmla="*/ 45 h 46"/>
              <a:gd name="T4" fmla="*/ 1 w 46"/>
              <a:gd name="T5" fmla="*/ 30 h 46"/>
              <a:gd name="T6" fmla="*/ 1 w 46"/>
              <a:gd name="T7" fmla="*/ 26 h 46"/>
              <a:gd name="T8" fmla="*/ 5 w 46"/>
              <a:gd name="T9" fmla="*/ 26 h 46"/>
              <a:gd name="T10" fmla="*/ 19 w 46"/>
              <a:gd name="T11" fmla="*/ 41 h 46"/>
              <a:gd name="T12" fmla="*/ 36 w 46"/>
              <a:gd name="T13" fmla="*/ 36 h 46"/>
              <a:gd name="T14" fmla="*/ 40 w 46"/>
              <a:gd name="T15" fmla="*/ 19 h 46"/>
              <a:gd name="T16" fmla="*/ 26 w 46"/>
              <a:gd name="T17" fmla="*/ 5 h 46"/>
              <a:gd name="T18" fmla="*/ 26 w 46"/>
              <a:gd name="T19" fmla="*/ 1 h 46"/>
              <a:gd name="T20" fmla="*/ 30 w 46"/>
              <a:gd name="T21" fmla="*/ 1 h 46"/>
              <a:gd name="T22" fmla="*/ 45 w 46"/>
              <a:gd name="T23" fmla="*/ 17 h 46"/>
              <a:gd name="T24" fmla="*/ 45 w 46"/>
              <a:gd name="T25" fmla="*/ 19 h 46"/>
              <a:gd name="T26" fmla="*/ 40 w 46"/>
              <a:gd name="T27" fmla="*/ 39 h 46"/>
              <a:gd name="T28" fmla="*/ 38 w 46"/>
              <a:gd name="T29" fmla="*/ 40 h 46"/>
              <a:gd name="T30" fmla="*/ 19 w 46"/>
              <a:gd name="T31" fmla="*/ 46 h 46"/>
              <a:gd name="T32" fmla="*/ 18 w 46"/>
              <a:gd name="T33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46">
                <a:moveTo>
                  <a:pt x="18" y="46"/>
                </a:moveTo>
                <a:cubicBezTo>
                  <a:pt x="18" y="46"/>
                  <a:pt x="17" y="46"/>
                  <a:pt x="16" y="45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29"/>
                  <a:pt x="0" y="27"/>
                  <a:pt x="1" y="26"/>
                </a:cubicBezTo>
                <a:cubicBezTo>
                  <a:pt x="2" y="25"/>
                  <a:pt x="4" y="25"/>
                  <a:pt x="5" y="26"/>
                </a:cubicBezTo>
                <a:cubicBezTo>
                  <a:pt x="19" y="41"/>
                  <a:pt x="19" y="41"/>
                  <a:pt x="19" y="41"/>
                </a:cubicBezTo>
                <a:cubicBezTo>
                  <a:pt x="36" y="36"/>
                  <a:pt x="36" y="36"/>
                  <a:pt x="36" y="36"/>
                </a:cubicBezTo>
                <a:cubicBezTo>
                  <a:pt x="40" y="19"/>
                  <a:pt x="40" y="19"/>
                  <a:pt x="40" y="19"/>
                </a:cubicBezTo>
                <a:cubicBezTo>
                  <a:pt x="26" y="5"/>
                  <a:pt x="26" y="5"/>
                  <a:pt x="26" y="5"/>
                </a:cubicBezTo>
                <a:cubicBezTo>
                  <a:pt x="25" y="4"/>
                  <a:pt x="25" y="2"/>
                  <a:pt x="26" y="1"/>
                </a:cubicBezTo>
                <a:cubicBezTo>
                  <a:pt x="27" y="0"/>
                  <a:pt x="29" y="0"/>
                  <a:pt x="30" y="1"/>
                </a:cubicBezTo>
                <a:cubicBezTo>
                  <a:pt x="45" y="17"/>
                  <a:pt x="45" y="17"/>
                  <a:pt x="45" y="17"/>
                </a:cubicBezTo>
                <a:cubicBezTo>
                  <a:pt x="45" y="17"/>
                  <a:pt x="46" y="18"/>
                  <a:pt x="45" y="1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40"/>
                  <a:pt x="39" y="40"/>
                  <a:pt x="38" y="40"/>
                </a:cubicBezTo>
                <a:cubicBezTo>
                  <a:pt x="19" y="46"/>
                  <a:pt x="19" y="46"/>
                  <a:pt x="19" y="46"/>
                </a:cubicBezTo>
                <a:cubicBezTo>
                  <a:pt x="19" y="46"/>
                  <a:pt x="18" y="46"/>
                  <a:pt x="18" y="4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5" name="Freeform 1534">
            <a:extLst>
              <a:ext uri="{FF2B5EF4-FFF2-40B4-BE49-F238E27FC236}">
                <a16:creationId xmlns:a16="http://schemas.microsoft.com/office/drawing/2014/main" id="{129E40AD-45D7-1EB4-BF46-7C83AF3F7582}"/>
              </a:ext>
            </a:extLst>
          </p:cNvPr>
          <p:cNvSpPr>
            <a:spLocks/>
          </p:cNvSpPr>
          <p:nvPr/>
        </p:nvSpPr>
        <p:spPr bwMode="auto">
          <a:xfrm>
            <a:off x="6877969" y="2969957"/>
            <a:ext cx="257801" cy="197944"/>
          </a:xfrm>
          <a:custGeom>
            <a:avLst/>
            <a:gdLst>
              <a:gd name="T0" fmla="*/ 33 w 51"/>
              <a:gd name="T1" fmla="*/ 40 h 40"/>
              <a:gd name="T2" fmla="*/ 11 w 51"/>
              <a:gd name="T3" fmla="*/ 30 h 40"/>
              <a:gd name="T4" fmla="*/ 1 w 51"/>
              <a:gd name="T5" fmla="*/ 3 h 40"/>
              <a:gd name="T6" fmla="*/ 4 w 51"/>
              <a:gd name="T7" fmla="*/ 1 h 40"/>
              <a:gd name="T8" fmla="*/ 6 w 51"/>
              <a:gd name="T9" fmla="*/ 3 h 40"/>
              <a:gd name="T10" fmla="*/ 14 w 51"/>
              <a:gd name="T11" fmla="*/ 27 h 40"/>
              <a:gd name="T12" fmla="*/ 47 w 51"/>
              <a:gd name="T13" fmla="*/ 31 h 40"/>
              <a:gd name="T14" fmla="*/ 50 w 51"/>
              <a:gd name="T15" fmla="*/ 32 h 40"/>
              <a:gd name="T16" fmla="*/ 50 w 51"/>
              <a:gd name="T17" fmla="*/ 35 h 40"/>
              <a:gd name="T18" fmla="*/ 33 w 51"/>
              <a:gd name="T1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" h="40">
                <a:moveTo>
                  <a:pt x="33" y="40"/>
                </a:moveTo>
                <a:cubicBezTo>
                  <a:pt x="25" y="40"/>
                  <a:pt x="17" y="36"/>
                  <a:pt x="11" y="30"/>
                </a:cubicBezTo>
                <a:cubicBezTo>
                  <a:pt x="3" y="23"/>
                  <a:pt x="0" y="13"/>
                  <a:pt x="1" y="3"/>
                </a:cubicBezTo>
                <a:cubicBezTo>
                  <a:pt x="2" y="1"/>
                  <a:pt x="3" y="0"/>
                  <a:pt x="4" y="1"/>
                </a:cubicBezTo>
                <a:cubicBezTo>
                  <a:pt x="6" y="1"/>
                  <a:pt x="7" y="2"/>
                  <a:pt x="6" y="3"/>
                </a:cubicBezTo>
                <a:cubicBezTo>
                  <a:pt x="5" y="12"/>
                  <a:pt x="8" y="21"/>
                  <a:pt x="14" y="27"/>
                </a:cubicBezTo>
                <a:cubicBezTo>
                  <a:pt x="23" y="36"/>
                  <a:pt x="36" y="37"/>
                  <a:pt x="47" y="31"/>
                </a:cubicBezTo>
                <a:cubicBezTo>
                  <a:pt x="48" y="30"/>
                  <a:pt x="50" y="31"/>
                  <a:pt x="50" y="32"/>
                </a:cubicBezTo>
                <a:cubicBezTo>
                  <a:pt x="51" y="33"/>
                  <a:pt x="51" y="34"/>
                  <a:pt x="50" y="35"/>
                </a:cubicBezTo>
                <a:cubicBezTo>
                  <a:pt x="45" y="38"/>
                  <a:pt x="39" y="40"/>
                  <a:pt x="33" y="4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6" name="Freeform 1535">
            <a:extLst>
              <a:ext uri="{FF2B5EF4-FFF2-40B4-BE49-F238E27FC236}">
                <a16:creationId xmlns:a16="http://schemas.microsoft.com/office/drawing/2014/main" id="{B5705748-FAB6-9682-6D9B-4E80CB87798B}"/>
              </a:ext>
            </a:extLst>
          </p:cNvPr>
          <p:cNvSpPr>
            <a:spLocks/>
          </p:cNvSpPr>
          <p:nvPr/>
        </p:nvSpPr>
        <p:spPr bwMode="auto">
          <a:xfrm>
            <a:off x="7008637" y="2841463"/>
            <a:ext cx="211890" cy="253511"/>
          </a:xfrm>
          <a:custGeom>
            <a:avLst/>
            <a:gdLst>
              <a:gd name="T0" fmla="*/ 33 w 42"/>
              <a:gd name="T1" fmla="*/ 51 h 51"/>
              <a:gd name="T2" fmla="*/ 31 w 42"/>
              <a:gd name="T3" fmla="*/ 51 h 51"/>
              <a:gd name="T4" fmla="*/ 31 w 42"/>
              <a:gd name="T5" fmla="*/ 47 h 51"/>
              <a:gd name="T6" fmla="*/ 26 w 42"/>
              <a:gd name="T7" fmla="*/ 14 h 51"/>
              <a:gd name="T8" fmla="*/ 3 w 42"/>
              <a:gd name="T9" fmla="*/ 7 h 51"/>
              <a:gd name="T10" fmla="*/ 0 w 42"/>
              <a:gd name="T11" fmla="*/ 5 h 51"/>
              <a:gd name="T12" fmla="*/ 2 w 42"/>
              <a:gd name="T13" fmla="*/ 2 h 51"/>
              <a:gd name="T14" fmla="*/ 30 w 42"/>
              <a:gd name="T15" fmla="*/ 11 h 51"/>
              <a:gd name="T16" fmla="*/ 35 w 42"/>
              <a:gd name="T17" fmla="*/ 50 h 51"/>
              <a:gd name="T18" fmla="*/ 33 w 42"/>
              <a:gd name="T19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51">
                <a:moveTo>
                  <a:pt x="33" y="51"/>
                </a:moveTo>
                <a:cubicBezTo>
                  <a:pt x="32" y="51"/>
                  <a:pt x="32" y="51"/>
                  <a:pt x="31" y="51"/>
                </a:cubicBezTo>
                <a:cubicBezTo>
                  <a:pt x="30" y="50"/>
                  <a:pt x="30" y="49"/>
                  <a:pt x="31" y="47"/>
                </a:cubicBezTo>
                <a:cubicBezTo>
                  <a:pt x="37" y="37"/>
                  <a:pt x="35" y="23"/>
                  <a:pt x="26" y="14"/>
                </a:cubicBezTo>
                <a:cubicBezTo>
                  <a:pt x="20" y="8"/>
                  <a:pt x="12" y="5"/>
                  <a:pt x="3" y="7"/>
                </a:cubicBezTo>
                <a:cubicBezTo>
                  <a:pt x="2" y="7"/>
                  <a:pt x="1" y="6"/>
                  <a:pt x="0" y="5"/>
                </a:cubicBezTo>
                <a:cubicBezTo>
                  <a:pt x="0" y="3"/>
                  <a:pt x="1" y="2"/>
                  <a:pt x="2" y="2"/>
                </a:cubicBezTo>
                <a:cubicBezTo>
                  <a:pt x="12" y="0"/>
                  <a:pt x="23" y="4"/>
                  <a:pt x="30" y="11"/>
                </a:cubicBezTo>
                <a:cubicBezTo>
                  <a:pt x="40" y="21"/>
                  <a:pt x="42" y="37"/>
                  <a:pt x="35" y="50"/>
                </a:cubicBezTo>
                <a:cubicBezTo>
                  <a:pt x="34" y="51"/>
                  <a:pt x="34" y="51"/>
                  <a:pt x="33" y="5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7" name="Freeform 1536">
            <a:extLst>
              <a:ext uri="{FF2B5EF4-FFF2-40B4-BE49-F238E27FC236}">
                <a16:creationId xmlns:a16="http://schemas.microsoft.com/office/drawing/2014/main" id="{5EBF384F-55C7-CDE6-14F4-E04D5634DE6F}"/>
              </a:ext>
            </a:extLst>
          </p:cNvPr>
          <p:cNvSpPr>
            <a:spLocks/>
          </p:cNvSpPr>
          <p:nvPr/>
        </p:nvSpPr>
        <p:spPr bwMode="auto">
          <a:xfrm>
            <a:off x="7111048" y="3126227"/>
            <a:ext cx="130668" cy="121544"/>
          </a:xfrm>
          <a:custGeom>
            <a:avLst/>
            <a:gdLst>
              <a:gd name="T0" fmla="*/ 23 w 26"/>
              <a:gd name="T1" fmla="*/ 25 h 25"/>
              <a:gd name="T2" fmla="*/ 21 w 26"/>
              <a:gd name="T3" fmla="*/ 25 h 25"/>
              <a:gd name="T4" fmla="*/ 1 w 26"/>
              <a:gd name="T5" fmla="*/ 4 h 25"/>
              <a:gd name="T6" fmla="*/ 1 w 26"/>
              <a:gd name="T7" fmla="*/ 1 h 25"/>
              <a:gd name="T8" fmla="*/ 5 w 26"/>
              <a:gd name="T9" fmla="*/ 1 h 25"/>
              <a:gd name="T10" fmla="*/ 25 w 26"/>
              <a:gd name="T11" fmla="*/ 21 h 25"/>
              <a:gd name="T12" fmla="*/ 25 w 26"/>
              <a:gd name="T13" fmla="*/ 25 h 25"/>
              <a:gd name="T14" fmla="*/ 23 w 26"/>
              <a:gd name="T1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25">
                <a:moveTo>
                  <a:pt x="23" y="25"/>
                </a:moveTo>
                <a:cubicBezTo>
                  <a:pt x="23" y="25"/>
                  <a:pt x="22" y="25"/>
                  <a:pt x="21" y="25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2"/>
                  <a:pt x="26" y="24"/>
                  <a:pt x="25" y="25"/>
                </a:cubicBezTo>
                <a:cubicBezTo>
                  <a:pt x="24" y="25"/>
                  <a:pt x="24" y="25"/>
                  <a:pt x="23" y="2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8" name="Freeform 1537">
            <a:extLst>
              <a:ext uri="{FF2B5EF4-FFF2-40B4-BE49-F238E27FC236}">
                <a16:creationId xmlns:a16="http://schemas.microsoft.com/office/drawing/2014/main" id="{15BB4FC5-F904-FB91-78DB-22A5D3A13BD0}"/>
              </a:ext>
            </a:extLst>
          </p:cNvPr>
          <p:cNvSpPr>
            <a:spLocks/>
          </p:cNvSpPr>
          <p:nvPr/>
        </p:nvSpPr>
        <p:spPr bwMode="auto">
          <a:xfrm>
            <a:off x="7305285" y="3317222"/>
            <a:ext cx="134198" cy="128494"/>
          </a:xfrm>
          <a:custGeom>
            <a:avLst/>
            <a:gdLst>
              <a:gd name="T0" fmla="*/ 24 w 27"/>
              <a:gd name="T1" fmla="*/ 26 h 26"/>
              <a:gd name="T2" fmla="*/ 22 w 27"/>
              <a:gd name="T3" fmla="*/ 26 h 26"/>
              <a:gd name="T4" fmla="*/ 1 w 27"/>
              <a:gd name="T5" fmla="*/ 4 h 26"/>
              <a:gd name="T6" fmla="*/ 1 w 27"/>
              <a:gd name="T7" fmla="*/ 1 h 26"/>
              <a:gd name="T8" fmla="*/ 5 w 27"/>
              <a:gd name="T9" fmla="*/ 1 h 26"/>
              <a:gd name="T10" fmla="*/ 26 w 27"/>
              <a:gd name="T11" fmla="*/ 22 h 26"/>
              <a:gd name="T12" fmla="*/ 26 w 27"/>
              <a:gd name="T13" fmla="*/ 26 h 26"/>
              <a:gd name="T14" fmla="*/ 24 w 27"/>
              <a:gd name="T15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6">
                <a:moveTo>
                  <a:pt x="24" y="26"/>
                </a:moveTo>
                <a:cubicBezTo>
                  <a:pt x="24" y="26"/>
                  <a:pt x="23" y="26"/>
                  <a:pt x="22" y="26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6" y="22"/>
                  <a:pt x="26" y="22"/>
                  <a:pt x="26" y="22"/>
                </a:cubicBezTo>
                <a:cubicBezTo>
                  <a:pt x="27" y="23"/>
                  <a:pt x="27" y="25"/>
                  <a:pt x="26" y="26"/>
                </a:cubicBezTo>
                <a:cubicBezTo>
                  <a:pt x="25" y="26"/>
                  <a:pt x="25" y="26"/>
                  <a:pt x="24" y="2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9" name="Freeform 1538">
            <a:extLst>
              <a:ext uri="{FF2B5EF4-FFF2-40B4-BE49-F238E27FC236}">
                <a16:creationId xmlns:a16="http://schemas.microsoft.com/office/drawing/2014/main" id="{FEB9170B-34F9-9CF2-6131-876D5A6B9C44}"/>
              </a:ext>
            </a:extLst>
          </p:cNvPr>
          <p:cNvSpPr>
            <a:spLocks/>
          </p:cNvSpPr>
          <p:nvPr/>
        </p:nvSpPr>
        <p:spPr bwMode="auto">
          <a:xfrm>
            <a:off x="7164023" y="3074135"/>
            <a:ext cx="328434" cy="322962"/>
          </a:xfrm>
          <a:custGeom>
            <a:avLst/>
            <a:gdLst>
              <a:gd name="T0" fmla="*/ 63 w 65"/>
              <a:gd name="T1" fmla="*/ 65 h 65"/>
              <a:gd name="T2" fmla="*/ 61 w 65"/>
              <a:gd name="T3" fmla="*/ 64 h 65"/>
              <a:gd name="T4" fmla="*/ 1 w 65"/>
              <a:gd name="T5" fmla="*/ 4 h 65"/>
              <a:gd name="T6" fmla="*/ 1 w 65"/>
              <a:gd name="T7" fmla="*/ 1 h 65"/>
              <a:gd name="T8" fmla="*/ 4 w 65"/>
              <a:gd name="T9" fmla="*/ 1 h 65"/>
              <a:gd name="T10" fmla="*/ 64 w 65"/>
              <a:gd name="T11" fmla="*/ 61 h 65"/>
              <a:gd name="T12" fmla="*/ 64 w 65"/>
              <a:gd name="T13" fmla="*/ 64 h 65"/>
              <a:gd name="T14" fmla="*/ 63 w 65"/>
              <a:gd name="T15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" h="65">
                <a:moveTo>
                  <a:pt x="63" y="65"/>
                </a:moveTo>
                <a:cubicBezTo>
                  <a:pt x="62" y="65"/>
                  <a:pt x="61" y="65"/>
                  <a:pt x="61" y="64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64" y="61"/>
                  <a:pt x="64" y="61"/>
                  <a:pt x="64" y="61"/>
                </a:cubicBezTo>
                <a:cubicBezTo>
                  <a:pt x="65" y="62"/>
                  <a:pt x="65" y="63"/>
                  <a:pt x="64" y="64"/>
                </a:cubicBezTo>
                <a:cubicBezTo>
                  <a:pt x="64" y="65"/>
                  <a:pt x="63" y="65"/>
                  <a:pt x="63" y="6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0" name="Freeform 1539">
            <a:extLst>
              <a:ext uri="{FF2B5EF4-FFF2-40B4-BE49-F238E27FC236}">
                <a16:creationId xmlns:a16="http://schemas.microsoft.com/office/drawing/2014/main" id="{2BC3E056-300C-B998-F466-715A99895260}"/>
              </a:ext>
            </a:extLst>
          </p:cNvPr>
          <p:cNvSpPr>
            <a:spLocks/>
          </p:cNvSpPr>
          <p:nvPr/>
        </p:nvSpPr>
        <p:spPr bwMode="auto">
          <a:xfrm>
            <a:off x="7379446" y="3338063"/>
            <a:ext cx="331963" cy="329904"/>
          </a:xfrm>
          <a:custGeom>
            <a:avLst/>
            <a:gdLst>
              <a:gd name="T0" fmla="*/ 34 w 66"/>
              <a:gd name="T1" fmla="*/ 67 h 67"/>
              <a:gd name="T2" fmla="*/ 12 w 66"/>
              <a:gd name="T3" fmla="*/ 57 h 67"/>
              <a:gd name="T4" fmla="*/ 7 w 66"/>
              <a:gd name="T5" fmla="*/ 19 h 67"/>
              <a:gd name="T6" fmla="*/ 10 w 66"/>
              <a:gd name="T7" fmla="*/ 18 h 67"/>
              <a:gd name="T8" fmla="*/ 11 w 66"/>
              <a:gd name="T9" fmla="*/ 21 h 67"/>
              <a:gd name="T10" fmla="*/ 16 w 66"/>
              <a:gd name="T11" fmla="*/ 54 h 67"/>
              <a:gd name="T12" fmla="*/ 34 w 66"/>
              <a:gd name="T13" fmla="*/ 62 h 67"/>
              <a:gd name="T14" fmla="*/ 53 w 66"/>
              <a:gd name="T15" fmla="*/ 54 h 67"/>
              <a:gd name="T16" fmla="*/ 61 w 66"/>
              <a:gd name="T17" fmla="*/ 35 h 67"/>
              <a:gd name="T18" fmla="*/ 53 w 66"/>
              <a:gd name="T19" fmla="*/ 16 h 67"/>
              <a:gd name="T20" fmla="*/ 21 w 66"/>
              <a:gd name="T21" fmla="*/ 12 h 67"/>
              <a:gd name="T22" fmla="*/ 18 w 66"/>
              <a:gd name="T23" fmla="*/ 11 h 67"/>
              <a:gd name="T24" fmla="*/ 18 w 66"/>
              <a:gd name="T25" fmla="*/ 7 h 67"/>
              <a:gd name="T26" fmla="*/ 57 w 66"/>
              <a:gd name="T27" fmla="*/ 12 h 67"/>
              <a:gd name="T28" fmla="*/ 66 w 66"/>
              <a:gd name="T29" fmla="*/ 35 h 67"/>
              <a:gd name="T30" fmla="*/ 57 w 66"/>
              <a:gd name="T31" fmla="*/ 57 h 67"/>
              <a:gd name="T32" fmla="*/ 34 w 66"/>
              <a:gd name="T33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6" h="67">
                <a:moveTo>
                  <a:pt x="34" y="67"/>
                </a:moveTo>
                <a:cubicBezTo>
                  <a:pt x="26" y="67"/>
                  <a:pt x="18" y="63"/>
                  <a:pt x="12" y="57"/>
                </a:cubicBezTo>
                <a:cubicBezTo>
                  <a:pt x="2" y="47"/>
                  <a:pt x="0" y="31"/>
                  <a:pt x="7" y="19"/>
                </a:cubicBezTo>
                <a:cubicBezTo>
                  <a:pt x="8" y="18"/>
                  <a:pt x="9" y="17"/>
                  <a:pt x="10" y="18"/>
                </a:cubicBezTo>
                <a:cubicBezTo>
                  <a:pt x="12" y="19"/>
                  <a:pt x="12" y="20"/>
                  <a:pt x="11" y="21"/>
                </a:cubicBezTo>
                <a:cubicBezTo>
                  <a:pt x="5" y="32"/>
                  <a:pt x="7" y="45"/>
                  <a:pt x="16" y="54"/>
                </a:cubicBezTo>
                <a:cubicBezTo>
                  <a:pt x="21" y="59"/>
                  <a:pt x="27" y="62"/>
                  <a:pt x="34" y="62"/>
                </a:cubicBezTo>
                <a:cubicBezTo>
                  <a:pt x="42" y="62"/>
                  <a:pt x="48" y="59"/>
                  <a:pt x="53" y="54"/>
                </a:cubicBezTo>
                <a:cubicBezTo>
                  <a:pt x="59" y="49"/>
                  <a:pt x="61" y="42"/>
                  <a:pt x="61" y="35"/>
                </a:cubicBezTo>
                <a:cubicBezTo>
                  <a:pt x="61" y="28"/>
                  <a:pt x="59" y="21"/>
                  <a:pt x="53" y="16"/>
                </a:cubicBezTo>
                <a:cubicBezTo>
                  <a:pt x="45" y="7"/>
                  <a:pt x="31" y="5"/>
                  <a:pt x="21" y="12"/>
                </a:cubicBezTo>
                <a:cubicBezTo>
                  <a:pt x="20" y="12"/>
                  <a:pt x="18" y="12"/>
                  <a:pt x="18" y="11"/>
                </a:cubicBezTo>
                <a:cubicBezTo>
                  <a:pt x="17" y="10"/>
                  <a:pt x="17" y="8"/>
                  <a:pt x="18" y="7"/>
                </a:cubicBezTo>
                <a:cubicBezTo>
                  <a:pt x="31" y="0"/>
                  <a:pt x="47" y="2"/>
                  <a:pt x="57" y="12"/>
                </a:cubicBezTo>
                <a:cubicBezTo>
                  <a:pt x="63" y="18"/>
                  <a:pt x="66" y="26"/>
                  <a:pt x="66" y="35"/>
                </a:cubicBezTo>
                <a:cubicBezTo>
                  <a:pt x="66" y="43"/>
                  <a:pt x="63" y="51"/>
                  <a:pt x="57" y="57"/>
                </a:cubicBezTo>
                <a:cubicBezTo>
                  <a:pt x="51" y="63"/>
                  <a:pt x="43" y="67"/>
                  <a:pt x="34" y="6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1" name="Freeform 1540">
            <a:extLst>
              <a:ext uri="{FF2B5EF4-FFF2-40B4-BE49-F238E27FC236}">
                <a16:creationId xmlns:a16="http://schemas.microsoft.com/office/drawing/2014/main" id="{61DC3C82-B94F-14BD-45AD-9822C410FD70}"/>
              </a:ext>
            </a:extLst>
          </p:cNvPr>
          <p:cNvSpPr>
            <a:spLocks/>
          </p:cNvSpPr>
          <p:nvPr/>
        </p:nvSpPr>
        <p:spPr bwMode="auto">
          <a:xfrm>
            <a:off x="7269968" y="2876193"/>
            <a:ext cx="413190" cy="413251"/>
          </a:xfrm>
          <a:custGeom>
            <a:avLst/>
            <a:gdLst>
              <a:gd name="T0" fmla="*/ 2 w 82"/>
              <a:gd name="T1" fmla="*/ 83 h 83"/>
              <a:gd name="T2" fmla="*/ 1 w 82"/>
              <a:gd name="T3" fmla="*/ 82 h 83"/>
              <a:gd name="T4" fmla="*/ 1 w 82"/>
              <a:gd name="T5" fmla="*/ 78 h 83"/>
              <a:gd name="T6" fmla="*/ 78 w 82"/>
              <a:gd name="T7" fmla="*/ 1 h 83"/>
              <a:gd name="T8" fmla="*/ 81 w 82"/>
              <a:gd name="T9" fmla="*/ 1 h 83"/>
              <a:gd name="T10" fmla="*/ 81 w 82"/>
              <a:gd name="T11" fmla="*/ 5 h 83"/>
              <a:gd name="T12" fmla="*/ 4 w 82"/>
              <a:gd name="T13" fmla="*/ 82 h 83"/>
              <a:gd name="T14" fmla="*/ 2 w 82"/>
              <a:gd name="T15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83">
                <a:moveTo>
                  <a:pt x="2" y="83"/>
                </a:moveTo>
                <a:cubicBezTo>
                  <a:pt x="2" y="83"/>
                  <a:pt x="1" y="82"/>
                  <a:pt x="1" y="82"/>
                </a:cubicBezTo>
                <a:cubicBezTo>
                  <a:pt x="0" y="81"/>
                  <a:pt x="0" y="79"/>
                  <a:pt x="1" y="78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0"/>
                  <a:pt x="80" y="0"/>
                  <a:pt x="81" y="1"/>
                </a:cubicBezTo>
                <a:cubicBezTo>
                  <a:pt x="82" y="2"/>
                  <a:pt x="82" y="4"/>
                  <a:pt x="81" y="5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2"/>
                  <a:pt x="3" y="83"/>
                  <a:pt x="2" y="8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2" name="Freeform 1541">
            <a:extLst>
              <a:ext uri="{FF2B5EF4-FFF2-40B4-BE49-F238E27FC236}">
                <a16:creationId xmlns:a16="http://schemas.microsoft.com/office/drawing/2014/main" id="{D8E2BBE1-7FA6-E15E-EECA-E9C1D16FE37D}"/>
              </a:ext>
            </a:extLst>
          </p:cNvPr>
          <p:cNvSpPr>
            <a:spLocks noEditPoints="1"/>
          </p:cNvSpPr>
          <p:nvPr/>
        </p:nvSpPr>
        <p:spPr bwMode="auto">
          <a:xfrm>
            <a:off x="6888564" y="3268608"/>
            <a:ext cx="402594" cy="385471"/>
          </a:xfrm>
          <a:custGeom>
            <a:avLst/>
            <a:gdLst>
              <a:gd name="T0" fmla="*/ 26 w 80"/>
              <a:gd name="T1" fmla="*/ 78 h 78"/>
              <a:gd name="T2" fmla="*/ 20 w 80"/>
              <a:gd name="T3" fmla="*/ 76 h 78"/>
              <a:gd name="T4" fmla="*/ 4 w 80"/>
              <a:gd name="T5" fmla="*/ 60 h 78"/>
              <a:gd name="T6" fmla="*/ 4 w 80"/>
              <a:gd name="T7" fmla="*/ 48 h 78"/>
              <a:gd name="T8" fmla="*/ 49 w 80"/>
              <a:gd name="T9" fmla="*/ 3 h 78"/>
              <a:gd name="T10" fmla="*/ 55 w 80"/>
              <a:gd name="T11" fmla="*/ 0 h 78"/>
              <a:gd name="T12" fmla="*/ 61 w 80"/>
              <a:gd name="T13" fmla="*/ 3 h 78"/>
              <a:gd name="T14" fmla="*/ 77 w 80"/>
              <a:gd name="T15" fmla="*/ 19 h 78"/>
              <a:gd name="T16" fmla="*/ 77 w 80"/>
              <a:gd name="T17" fmla="*/ 31 h 78"/>
              <a:gd name="T18" fmla="*/ 32 w 80"/>
              <a:gd name="T19" fmla="*/ 76 h 78"/>
              <a:gd name="T20" fmla="*/ 26 w 80"/>
              <a:gd name="T21" fmla="*/ 78 h 78"/>
              <a:gd name="T22" fmla="*/ 55 w 80"/>
              <a:gd name="T23" fmla="*/ 5 h 78"/>
              <a:gd name="T24" fmla="*/ 52 w 80"/>
              <a:gd name="T25" fmla="*/ 7 h 78"/>
              <a:gd name="T26" fmla="*/ 7 w 80"/>
              <a:gd name="T27" fmla="*/ 51 h 78"/>
              <a:gd name="T28" fmla="*/ 7 w 80"/>
              <a:gd name="T29" fmla="*/ 57 h 78"/>
              <a:gd name="T30" fmla="*/ 23 w 80"/>
              <a:gd name="T31" fmla="*/ 72 h 78"/>
              <a:gd name="T32" fmla="*/ 28 w 80"/>
              <a:gd name="T33" fmla="*/ 72 h 78"/>
              <a:gd name="T34" fmla="*/ 73 w 80"/>
              <a:gd name="T35" fmla="*/ 28 h 78"/>
              <a:gd name="T36" fmla="*/ 73 w 80"/>
              <a:gd name="T37" fmla="*/ 22 h 78"/>
              <a:gd name="T38" fmla="*/ 58 w 80"/>
              <a:gd name="T39" fmla="*/ 7 h 78"/>
              <a:gd name="T40" fmla="*/ 55 w 80"/>
              <a:gd name="T41" fmla="*/ 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78">
                <a:moveTo>
                  <a:pt x="26" y="78"/>
                </a:moveTo>
                <a:cubicBezTo>
                  <a:pt x="23" y="78"/>
                  <a:pt x="21" y="77"/>
                  <a:pt x="20" y="76"/>
                </a:cubicBezTo>
                <a:cubicBezTo>
                  <a:pt x="4" y="60"/>
                  <a:pt x="4" y="60"/>
                  <a:pt x="4" y="60"/>
                </a:cubicBezTo>
                <a:cubicBezTo>
                  <a:pt x="0" y="57"/>
                  <a:pt x="0" y="51"/>
                  <a:pt x="4" y="48"/>
                </a:cubicBezTo>
                <a:cubicBezTo>
                  <a:pt x="49" y="3"/>
                  <a:pt x="49" y="3"/>
                  <a:pt x="49" y="3"/>
                </a:cubicBezTo>
                <a:cubicBezTo>
                  <a:pt x="50" y="1"/>
                  <a:pt x="52" y="0"/>
                  <a:pt x="55" y="0"/>
                </a:cubicBezTo>
                <a:cubicBezTo>
                  <a:pt x="57" y="0"/>
                  <a:pt x="59" y="1"/>
                  <a:pt x="61" y="3"/>
                </a:cubicBezTo>
                <a:cubicBezTo>
                  <a:pt x="77" y="19"/>
                  <a:pt x="77" y="19"/>
                  <a:pt x="77" y="19"/>
                </a:cubicBezTo>
                <a:cubicBezTo>
                  <a:pt x="80" y="22"/>
                  <a:pt x="80" y="28"/>
                  <a:pt x="77" y="31"/>
                </a:cubicBezTo>
                <a:cubicBezTo>
                  <a:pt x="32" y="76"/>
                  <a:pt x="32" y="76"/>
                  <a:pt x="32" y="76"/>
                </a:cubicBezTo>
                <a:cubicBezTo>
                  <a:pt x="30" y="77"/>
                  <a:pt x="28" y="78"/>
                  <a:pt x="26" y="78"/>
                </a:cubicBezTo>
                <a:close/>
                <a:moveTo>
                  <a:pt x="55" y="5"/>
                </a:moveTo>
                <a:cubicBezTo>
                  <a:pt x="54" y="5"/>
                  <a:pt x="53" y="6"/>
                  <a:pt x="52" y="7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3"/>
                  <a:pt x="6" y="55"/>
                  <a:pt x="7" y="57"/>
                </a:cubicBezTo>
                <a:cubicBezTo>
                  <a:pt x="23" y="72"/>
                  <a:pt x="23" y="72"/>
                  <a:pt x="23" y="72"/>
                </a:cubicBezTo>
                <a:cubicBezTo>
                  <a:pt x="24" y="74"/>
                  <a:pt x="27" y="74"/>
                  <a:pt x="28" y="72"/>
                </a:cubicBezTo>
                <a:cubicBezTo>
                  <a:pt x="73" y="28"/>
                  <a:pt x="73" y="28"/>
                  <a:pt x="73" y="28"/>
                </a:cubicBezTo>
                <a:cubicBezTo>
                  <a:pt x="75" y="26"/>
                  <a:pt x="75" y="24"/>
                  <a:pt x="73" y="2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6"/>
                  <a:pt x="56" y="5"/>
                  <a:pt x="55" y="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3" name="Freeform 1542">
            <a:extLst>
              <a:ext uri="{FF2B5EF4-FFF2-40B4-BE49-F238E27FC236}">
                <a16:creationId xmlns:a16="http://schemas.microsoft.com/office/drawing/2014/main" id="{ED135977-6C34-BB8B-3292-A6B147ECB085}"/>
              </a:ext>
            </a:extLst>
          </p:cNvPr>
          <p:cNvSpPr>
            <a:spLocks noEditPoints="1"/>
          </p:cNvSpPr>
          <p:nvPr/>
        </p:nvSpPr>
        <p:spPr bwMode="auto">
          <a:xfrm>
            <a:off x="7174618" y="3223463"/>
            <a:ext cx="162451" cy="152800"/>
          </a:xfrm>
          <a:custGeom>
            <a:avLst/>
            <a:gdLst>
              <a:gd name="T0" fmla="*/ 19 w 32"/>
              <a:gd name="T1" fmla="*/ 31 h 31"/>
              <a:gd name="T2" fmla="*/ 14 w 32"/>
              <a:gd name="T3" fmla="*/ 29 h 31"/>
              <a:gd name="T4" fmla="*/ 2 w 32"/>
              <a:gd name="T5" fmla="*/ 17 h 31"/>
              <a:gd name="T6" fmla="*/ 0 w 32"/>
              <a:gd name="T7" fmla="*/ 12 h 31"/>
              <a:gd name="T8" fmla="*/ 2 w 32"/>
              <a:gd name="T9" fmla="*/ 7 h 31"/>
              <a:gd name="T10" fmla="*/ 7 w 32"/>
              <a:gd name="T11" fmla="*/ 3 h 31"/>
              <a:gd name="T12" fmla="*/ 12 w 32"/>
              <a:gd name="T13" fmla="*/ 0 h 31"/>
              <a:gd name="T14" fmla="*/ 17 w 32"/>
              <a:gd name="T15" fmla="*/ 3 h 31"/>
              <a:gd name="T16" fmla="*/ 29 w 32"/>
              <a:gd name="T17" fmla="*/ 14 h 31"/>
              <a:gd name="T18" fmla="*/ 29 w 32"/>
              <a:gd name="T19" fmla="*/ 24 h 31"/>
              <a:gd name="T20" fmla="*/ 24 w 32"/>
              <a:gd name="T21" fmla="*/ 29 h 31"/>
              <a:gd name="T22" fmla="*/ 19 w 32"/>
              <a:gd name="T23" fmla="*/ 31 h 31"/>
              <a:gd name="T24" fmla="*/ 12 w 32"/>
              <a:gd name="T25" fmla="*/ 5 h 31"/>
              <a:gd name="T26" fmla="*/ 11 w 32"/>
              <a:gd name="T27" fmla="*/ 6 h 31"/>
              <a:gd name="T28" fmla="*/ 6 w 32"/>
              <a:gd name="T29" fmla="*/ 11 h 31"/>
              <a:gd name="T30" fmla="*/ 5 w 32"/>
              <a:gd name="T31" fmla="*/ 12 h 31"/>
              <a:gd name="T32" fmla="*/ 6 w 32"/>
              <a:gd name="T33" fmla="*/ 14 h 31"/>
              <a:gd name="T34" fmla="*/ 18 w 32"/>
              <a:gd name="T35" fmla="*/ 26 h 31"/>
              <a:gd name="T36" fmla="*/ 21 w 32"/>
              <a:gd name="T37" fmla="*/ 26 h 31"/>
              <a:gd name="T38" fmla="*/ 24 w 32"/>
              <a:gd name="T39" fmla="*/ 23 h 31"/>
              <a:gd name="T40" fmla="*/ 24 w 32"/>
              <a:gd name="T41" fmla="*/ 23 h 31"/>
              <a:gd name="T42" fmla="*/ 26 w 32"/>
              <a:gd name="T43" fmla="*/ 21 h 31"/>
              <a:gd name="T44" fmla="*/ 26 w 32"/>
              <a:gd name="T45" fmla="*/ 18 h 31"/>
              <a:gd name="T46" fmla="*/ 14 w 32"/>
              <a:gd name="T47" fmla="*/ 6 h 31"/>
              <a:gd name="T48" fmla="*/ 12 w 32"/>
              <a:gd name="T4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31">
                <a:moveTo>
                  <a:pt x="19" y="31"/>
                </a:moveTo>
                <a:cubicBezTo>
                  <a:pt x="17" y="31"/>
                  <a:pt x="16" y="31"/>
                  <a:pt x="14" y="29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6"/>
                  <a:pt x="0" y="14"/>
                  <a:pt x="0" y="12"/>
                </a:cubicBezTo>
                <a:cubicBezTo>
                  <a:pt x="0" y="10"/>
                  <a:pt x="1" y="9"/>
                  <a:pt x="2" y="7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2" y="0"/>
                </a:cubicBezTo>
                <a:cubicBezTo>
                  <a:pt x="14" y="0"/>
                  <a:pt x="16" y="1"/>
                  <a:pt x="17" y="3"/>
                </a:cubicBezTo>
                <a:cubicBezTo>
                  <a:pt x="29" y="14"/>
                  <a:pt x="29" y="14"/>
                  <a:pt x="29" y="14"/>
                </a:cubicBezTo>
                <a:cubicBezTo>
                  <a:pt x="32" y="17"/>
                  <a:pt x="32" y="22"/>
                  <a:pt x="29" y="24"/>
                </a:cubicBezTo>
                <a:cubicBezTo>
                  <a:pt x="24" y="29"/>
                  <a:pt x="24" y="29"/>
                  <a:pt x="24" y="29"/>
                </a:cubicBezTo>
                <a:cubicBezTo>
                  <a:pt x="23" y="31"/>
                  <a:pt x="21" y="31"/>
                  <a:pt x="19" y="31"/>
                </a:cubicBezTo>
                <a:close/>
                <a:moveTo>
                  <a:pt x="12" y="5"/>
                </a:moveTo>
                <a:cubicBezTo>
                  <a:pt x="12" y="5"/>
                  <a:pt x="11" y="6"/>
                  <a:pt x="11" y="6"/>
                </a:cubicBezTo>
                <a:cubicBezTo>
                  <a:pt x="6" y="11"/>
                  <a:pt x="6" y="11"/>
                  <a:pt x="6" y="11"/>
                </a:cubicBezTo>
                <a:cubicBezTo>
                  <a:pt x="5" y="11"/>
                  <a:pt x="5" y="12"/>
                  <a:pt x="5" y="12"/>
                </a:cubicBezTo>
                <a:cubicBezTo>
                  <a:pt x="5" y="13"/>
                  <a:pt x="5" y="13"/>
                  <a:pt x="6" y="14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7"/>
                  <a:pt x="20" y="27"/>
                  <a:pt x="21" y="26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0"/>
                  <a:pt x="27" y="19"/>
                  <a:pt x="26" y="1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5"/>
                  <a:pt x="12" y="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4" name="Freeform 1543">
            <a:extLst>
              <a:ext uri="{FF2B5EF4-FFF2-40B4-BE49-F238E27FC236}">
                <a16:creationId xmlns:a16="http://schemas.microsoft.com/office/drawing/2014/main" id="{70EDC37F-89EE-FB12-E219-A88C2F7AE3DF}"/>
              </a:ext>
            </a:extLst>
          </p:cNvPr>
          <p:cNvSpPr>
            <a:spLocks/>
          </p:cNvSpPr>
          <p:nvPr/>
        </p:nvSpPr>
        <p:spPr bwMode="auto">
          <a:xfrm>
            <a:off x="7616057" y="2876193"/>
            <a:ext cx="70630" cy="69454"/>
          </a:xfrm>
          <a:custGeom>
            <a:avLst/>
            <a:gdLst>
              <a:gd name="T0" fmla="*/ 4 w 14"/>
              <a:gd name="T1" fmla="*/ 14 h 14"/>
              <a:gd name="T2" fmla="*/ 1 w 14"/>
              <a:gd name="T3" fmla="*/ 13 h 14"/>
              <a:gd name="T4" fmla="*/ 1 w 14"/>
              <a:gd name="T5" fmla="*/ 13 h 14"/>
              <a:gd name="T6" fmla="*/ 1 w 14"/>
              <a:gd name="T7" fmla="*/ 8 h 14"/>
              <a:gd name="T8" fmla="*/ 8 w 14"/>
              <a:gd name="T9" fmla="*/ 1 h 14"/>
              <a:gd name="T10" fmla="*/ 13 w 14"/>
              <a:gd name="T11" fmla="*/ 1 h 14"/>
              <a:gd name="T12" fmla="*/ 14 w 14"/>
              <a:gd name="T13" fmla="*/ 3 h 14"/>
              <a:gd name="T14" fmla="*/ 13 w 14"/>
              <a:gd name="T15" fmla="*/ 6 h 14"/>
              <a:gd name="T16" fmla="*/ 6 w 14"/>
              <a:gd name="T17" fmla="*/ 13 h 14"/>
              <a:gd name="T18" fmla="*/ 4 w 14"/>
              <a:gd name="T19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4">
                <a:moveTo>
                  <a:pt x="4" y="14"/>
                </a:moveTo>
                <a:cubicBezTo>
                  <a:pt x="3" y="14"/>
                  <a:pt x="2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1"/>
                  <a:pt x="0" y="9"/>
                  <a:pt x="1" y="8"/>
                </a:cubicBezTo>
                <a:cubicBezTo>
                  <a:pt x="8" y="1"/>
                  <a:pt x="8" y="1"/>
                  <a:pt x="8" y="1"/>
                </a:cubicBezTo>
                <a:cubicBezTo>
                  <a:pt x="9" y="0"/>
                  <a:pt x="11" y="0"/>
                  <a:pt x="13" y="1"/>
                </a:cubicBezTo>
                <a:cubicBezTo>
                  <a:pt x="13" y="2"/>
                  <a:pt x="14" y="3"/>
                  <a:pt x="14" y="3"/>
                </a:cubicBezTo>
                <a:cubicBezTo>
                  <a:pt x="14" y="4"/>
                  <a:pt x="13" y="5"/>
                  <a:pt x="13" y="6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4"/>
                  <a:pt x="4" y="14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5" name="Freeform 380">
            <a:extLst>
              <a:ext uri="{FF2B5EF4-FFF2-40B4-BE49-F238E27FC236}">
                <a16:creationId xmlns:a16="http://schemas.microsoft.com/office/drawing/2014/main" id="{C2E77735-D8C9-B483-FB2E-A6A2E34FE686}"/>
              </a:ext>
            </a:extLst>
          </p:cNvPr>
          <p:cNvSpPr>
            <a:spLocks noEditPoints="1"/>
          </p:cNvSpPr>
          <p:nvPr/>
        </p:nvSpPr>
        <p:spPr bwMode="auto">
          <a:xfrm>
            <a:off x="9326827" y="2766311"/>
            <a:ext cx="677272" cy="685957"/>
          </a:xfrm>
          <a:custGeom>
            <a:avLst/>
            <a:gdLst>
              <a:gd name="T0" fmla="*/ 142 w 285"/>
              <a:gd name="T1" fmla="*/ 285 h 285"/>
              <a:gd name="T2" fmla="*/ 0 w 285"/>
              <a:gd name="T3" fmla="*/ 143 h 285"/>
              <a:gd name="T4" fmla="*/ 142 w 285"/>
              <a:gd name="T5" fmla="*/ 0 h 285"/>
              <a:gd name="T6" fmla="*/ 285 w 285"/>
              <a:gd name="T7" fmla="*/ 143 h 285"/>
              <a:gd name="T8" fmla="*/ 142 w 285"/>
              <a:gd name="T9" fmla="*/ 285 h 285"/>
              <a:gd name="T10" fmla="*/ 142 w 285"/>
              <a:gd name="T11" fmla="*/ 12 h 285"/>
              <a:gd name="T12" fmla="*/ 12 w 285"/>
              <a:gd name="T13" fmla="*/ 143 h 285"/>
              <a:gd name="T14" fmla="*/ 142 w 285"/>
              <a:gd name="T15" fmla="*/ 273 h 285"/>
              <a:gd name="T16" fmla="*/ 273 w 285"/>
              <a:gd name="T17" fmla="*/ 143 h 285"/>
              <a:gd name="T18" fmla="*/ 142 w 285"/>
              <a:gd name="T19" fmla="*/ 1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5" h="285">
                <a:moveTo>
                  <a:pt x="142" y="285"/>
                </a:moveTo>
                <a:cubicBezTo>
                  <a:pt x="64" y="285"/>
                  <a:pt x="0" y="221"/>
                  <a:pt x="0" y="143"/>
                </a:cubicBezTo>
                <a:cubicBezTo>
                  <a:pt x="0" y="64"/>
                  <a:pt x="64" y="0"/>
                  <a:pt x="142" y="0"/>
                </a:cubicBezTo>
                <a:cubicBezTo>
                  <a:pt x="221" y="0"/>
                  <a:pt x="285" y="64"/>
                  <a:pt x="285" y="143"/>
                </a:cubicBezTo>
                <a:cubicBezTo>
                  <a:pt x="285" y="221"/>
                  <a:pt x="221" y="285"/>
                  <a:pt x="142" y="285"/>
                </a:cubicBezTo>
                <a:close/>
                <a:moveTo>
                  <a:pt x="142" y="12"/>
                </a:moveTo>
                <a:cubicBezTo>
                  <a:pt x="70" y="12"/>
                  <a:pt x="12" y="71"/>
                  <a:pt x="12" y="143"/>
                </a:cubicBezTo>
                <a:cubicBezTo>
                  <a:pt x="12" y="214"/>
                  <a:pt x="70" y="273"/>
                  <a:pt x="142" y="273"/>
                </a:cubicBezTo>
                <a:cubicBezTo>
                  <a:pt x="214" y="273"/>
                  <a:pt x="273" y="214"/>
                  <a:pt x="273" y="143"/>
                </a:cubicBezTo>
                <a:cubicBezTo>
                  <a:pt x="273" y="71"/>
                  <a:pt x="214" y="12"/>
                  <a:pt x="142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6" name="Freeform 381">
            <a:extLst>
              <a:ext uri="{FF2B5EF4-FFF2-40B4-BE49-F238E27FC236}">
                <a16:creationId xmlns:a16="http://schemas.microsoft.com/office/drawing/2014/main" id="{6F938333-07BA-C538-D0CD-BC61399058A5}"/>
              </a:ext>
            </a:extLst>
          </p:cNvPr>
          <p:cNvSpPr>
            <a:spLocks noEditPoints="1"/>
          </p:cNvSpPr>
          <p:nvPr/>
        </p:nvSpPr>
        <p:spPr bwMode="auto">
          <a:xfrm>
            <a:off x="9847798" y="3287288"/>
            <a:ext cx="347320" cy="356005"/>
          </a:xfrm>
          <a:custGeom>
            <a:avLst/>
            <a:gdLst>
              <a:gd name="T0" fmla="*/ 119 w 145"/>
              <a:gd name="T1" fmla="*/ 146 h 146"/>
              <a:gd name="T2" fmla="*/ 100 w 145"/>
              <a:gd name="T3" fmla="*/ 138 h 146"/>
              <a:gd name="T4" fmla="*/ 2 w 145"/>
              <a:gd name="T5" fmla="*/ 40 h 146"/>
              <a:gd name="T6" fmla="*/ 2 w 145"/>
              <a:gd name="T7" fmla="*/ 32 h 146"/>
              <a:gd name="T8" fmla="*/ 31 w 145"/>
              <a:gd name="T9" fmla="*/ 3 h 146"/>
              <a:gd name="T10" fmla="*/ 40 w 145"/>
              <a:gd name="T11" fmla="*/ 3 h 146"/>
              <a:gd name="T12" fmla="*/ 138 w 145"/>
              <a:gd name="T13" fmla="*/ 100 h 146"/>
              <a:gd name="T14" fmla="*/ 145 w 145"/>
              <a:gd name="T15" fmla="*/ 119 h 146"/>
              <a:gd name="T16" fmla="*/ 138 w 145"/>
              <a:gd name="T17" fmla="*/ 138 h 146"/>
              <a:gd name="T18" fmla="*/ 119 w 145"/>
              <a:gd name="T19" fmla="*/ 146 h 146"/>
              <a:gd name="T20" fmla="*/ 15 w 145"/>
              <a:gd name="T21" fmla="*/ 36 h 146"/>
              <a:gd name="T22" fmla="*/ 109 w 145"/>
              <a:gd name="T23" fmla="*/ 129 h 146"/>
              <a:gd name="T24" fmla="*/ 109 w 145"/>
              <a:gd name="T25" fmla="*/ 129 h 146"/>
              <a:gd name="T26" fmla="*/ 129 w 145"/>
              <a:gd name="T27" fmla="*/ 129 h 146"/>
              <a:gd name="T28" fmla="*/ 133 w 145"/>
              <a:gd name="T29" fmla="*/ 119 h 146"/>
              <a:gd name="T30" fmla="*/ 129 w 145"/>
              <a:gd name="T31" fmla="*/ 109 h 146"/>
              <a:gd name="T32" fmla="*/ 36 w 145"/>
              <a:gd name="T33" fmla="*/ 16 h 146"/>
              <a:gd name="T34" fmla="*/ 15 w 145"/>
              <a:gd name="T35" fmla="*/ 3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45" h="146">
                <a:moveTo>
                  <a:pt x="119" y="146"/>
                </a:moveTo>
                <a:cubicBezTo>
                  <a:pt x="112" y="146"/>
                  <a:pt x="105" y="143"/>
                  <a:pt x="100" y="138"/>
                </a:cubicBezTo>
                <a:cubicBezTo>
                  <a:pt x="2" y="40"/>
                  <a:pt x="2" y="40"/>
                  <a:pt x="2" y="40"/>
                </a:cubicBezTo>
                <a:cubicBezTo>
                  <a:pt x="0" y="38"/>
                  <a:pt x="0" y="34"/>
                  <a:pt x="2" y="32"/>
                </a:cubicBezTo>
                <a:cubicBezTo>
                  <a:pt x="31" y="3"/>
                  <a:pt x="31" y="3"/>
                  <a:pt x="31" y="3"/>
                </a:cubicBezTo>
                <a:cubicBezTo>
                  <a:pt x="34" y="0"/>
                  <a:pt x="38" y="0"/>
                  <a:pt x="40" y="3"/>
                </a:cubicBezTo>
                <a:cubicBezTo>
                  <a:pt x="138" y="100"/>
                  <a:pt x="138" y="100"/>
                  <a:pt x="138" y="100"/>
                </a:cubicBezTo>
                <a:cubicBezTo>
                  <a:pt x="143" y="105"/>
                  <a:pt x="145" y="112"/>
                  <a:pt x="145" y="119"/>
                </a:cubicBezTo>
                <a:cubicBezTo>
                  <a:pt x="145" y="126"/>
                  <a:pt x="143" y="133"/>
                  <a:pt x="138" y="138"/>
                </a:cubicBezTo>
                <a:cubicBezTo>
                  <a:pt x="132" y="143"/>
                  <a:pt x="126" y="146"/>
                  <a:pt x="119" y="146"/>
                </a:cubicBezTo>
                <a:close/>
                <a:moveTo>
                  <a:pt x="15" y="36"/>
                </a:moveTo>
                <a:cubicBezTo>
                  <a:pt x="109" y="129"/>
                  <a:pt x="109" y="129"/>
                  <a:pt x="109" y="129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14" y="135"/>
                  <a:pt x="123" y="135"/>
                  <a:pt x="129" y="129"/>
                </a:cubicBezTo>
                <a:cubicBezTo>
                  <a:pt x="132" y="126"/>
                  <a:pt x="133" y="123"/>
                  <a:pt x="133" y="119"/>
                </a:cubicBezTo>
                <a:cubicBezTo>
                  <a:pt x="133" y="115"/>
                  <a:pt x="132" y="112"/>
                  <a:pt x="129" y="109"/>
                </a:cubicBezTo>
                <a:cubicBezTo>
                  <a:pt x="36" y="16"/>
                  <a:pt x="36" y="16"/>
                  <a:pt x="36" y="16"/>
                </a:cubicBezTo>
                <a:lnTo>
                  <a:pt x="15" y="3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7" name="Freeform 382">
            <a:extLst>
              <a:ext uri="{FF2B5EF4-FFF2-40B4-BE49-F238E27FC236}">
                <a16:creationId xmlns:a16="http://schemas.microsoft.com/office/drawing/2014/main" id="{DD646737-57EF-B544-35B5-9665FBEF2DD4}"/>
              </a:ext>
            </a:extLst>
          </p:cNvPr>
          <p:cNvSpPr>
            <a:spLocks/>
          </p:cNvSpPr>
          <p:nvPr/>
        </p:nvSpPr>
        <p:spPr bwMode="auto">
          <a:xfrm>
            <a:off x="9439698" y="2879185"/>
            <a:ext cx="243122" cy="243122"/>
          </a:xfrm>
          <a:custGeom>
            <a:avLst/>
            <a:gdLst>
              <a:gd name="T0" fmla="*/ 6 w 99"/>
              <a:gd name="T1" fmla="*/ 100 h 100"/>
              <a:gd name="T2" fmla="*/ 0 w 99"/>
              <a:gd name="T3" fmla="*/ 94 h 100"/>
              <a:gd name="T4" fmla="*/ 93 w 99"/>
              <a:gd name="T5" fmla="*/ 0 h 100"/>
              <a:gd name="T6" fmla="*/ 99 w 99"/>
              <a:gd name="T7" fmla="*/ 6 h 100"/>
              <a:gd name="T8" fmla="*/ 93 w 99"/>
              <a:gd name="T9" fmla="*/ 12 h 100"/>
              <a:gd name="T10" fmla="*/ 12 w 99"/>
              <a:gd name="T11" fmla="*/ 94 h 100"/>
              <a:gd name="T12" fmla="*/ 6 w 99"/>
              <a:gd name="T13" fmla="*/ 10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" h="100">
                <a:moveTo>
                  <a:pt x="6" y="100"/>
                </a:moveTo>
                <a:cubicBezTo>
                  <a:pt x="3" y="100"/>
                  <a:pt x="0" y="97"/>
                  <a:pt x="0" y="94"/>
                </a:cubicBezTo>
                <a:cubicBezTo>
                  <a:pt x="0" y="42"/>
                  <a:pt x="42" y="0"/>
                  <a:pt x="93" y="0"/>
                </a:cubicBezTo>
                <a:cubicBezTo>
                  <a:pt x="97" y="0"/>
                  <a:pt x="99" y="3"/>
                  <a:pt x="99" y="6"/>
                </a:cubicBezTo>
                <a:cubicBezTo>
                  <a:pt x="99" y="10"/>
                  <a:pt x="97" y="12"/>
                  <a:pt x="93" y="12"/>
                </a:cubicBezTo>
                <a:cubicBezTo>
                  <a:pt x="48" y="12"/>
                  <a:pt x="12" y="49"/>
                  <a:pt x="12" y="94"/>
                </a:cubicBezTo>
                <a:cubicBezTo>
                  <a:pt x="12" y="97"/>
                  <a:pt x="9" y="100"/>
                  <a:pt x="6" y="10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8" name="Freeform 44">
            <a:extLst>
              <a:ext uri="{FF2B5EF4-FFF2-40B4-BE49-F238E27FC236}">
                <a16:creationId xmlns:a16="http://schemas.microsoft.com/office/drawing/2014/main" id="{C0148219-A1D4-1A70-E5BB-E34B27DD1BBF}"/>
              </a:ext>
            </a:extLst>
          </p:cNvPr>
          <p:cNvSpPr>
            <a:spLocks noEditPoints="1"/>
          </p:cNvSpPr>
          <p:nvPr/>
        </p:nvSpPr>
        <p:spPr bwMode="auto">
          <a:xfrm>
            <a:off x="4668607" y="2968624"/>
            <a:ext cx="461480" cy="461485"/>
          </a:xfrm>
          <a:custGeom>
            <a:avLst/>
            <a:gdLst>
              <a:gd name="T0" fmla="*/ 114 w 228"/>
              <a:gd name="T1" fmla="*/ 228 h 228"/>
              <a:gd name="T2" fmla="*/ 0 w 228"/>
              <a:gd name="T3" fmla="*/ 114 h 228"/>
              <a:gd name="T4" fmla="*/ 114 w 228"/>
              <a:gd name="T5" fmla="*/ 0 h 228"/>
              <a:gd name="T6" fmla="*/ 228 w 228"/>
              <a:gd name="T7" fmla="*/ 114 h 228"/>
              <a:gd name="T8" fmla="*/ 114 w 228"/>
              <a:gd name="T9" fmla="*/ 228 h 228"/>
              <a:gd name="T10" fmla="*/ 114 w 228"/>
              <a:gd name="T11" fmla="*/ 12 h 228"/>
              <a:gd name="T12" fmla="*/ 12 w 228"/>
              <a:gd name="T13" fmla="*/ 114 h 228"/>
              <a:gd name="T14" fmla="*/ 114 w 228"/>
              <a:gd name="T15" fmla="*/ 216 h 228"/>
              <a:gd name="T16" fmla="*/ 216 w 228"/>
              <a:gd name="T17" fmla="*/ 114 h 228"/>
              <a:gd name="T18" fmla="*/ 114 w 228"/>
              <a:gd name="T19" fmla="*/ 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28">
                <a:moveTo>
                  <a:pt x="114" y="228"/>
                </a:moveTo>
                <a:cubicBezTo>
                  <a:pt x="51" y="228"/>
                  <a:pt x="0" y="177"/>
                  <a:pt x="0" y="114"/>
                </a:cubicBezTo>
                <a:cubicBezTo>
                  <a:pt x="0" y="51"/>
                  <a:pt x="51" y="0"/>
                  <a:pt x="114" y="0"/>
                </a:cubicBezTo>
                <a:cubicBezTo>
                  <a:pt x="177" y="0"/>
                  <a:pt x="228" y="51"/>
                  <a:pt x="228" y="114"/>
                </a:cubicBezTo>
                <a:cubicBezTo>
                  <a:pt x="228" y="177"/>
                  <a:pt x="177" y="228"/>
                  <a:pt x="114" y="228"/>
                </a:cubicBezTo>
                <a:close/>
                <a:moveTo>
                  <a:pt x="114" y="12"/>
                </a:moveTo>
                <a:cubicBezTo>
                  <a:pt x="58" y="12"/>
                  <a:pt x="12" y="58"/>
                  <a:pt x="12" y="114"/>
                </a:cubicBezTo>
                <a:cubicBezTo>
                  <a:pt x="12" y="170"/>
                  <a:pt x="58" y="216"/>
                  <a:pt x="114" y="216"/>
                </a:cubicBezTo>
                <a:cubicBezTo>
                  <a:pt x="170" y="216"/>
                  <a:pt x="216" y="170"/>
                  <a:pt x="216" y="114"/>
                </a:cubicBezTo>
                <a:cubicBezTo>
                  <a:pt x="216" y="58"/>
                  <a:pt x="170" y="12"/>
                  <a:pt x="114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9" name="Freeform 45">
            <a:extLst>
              <a:ext uri="{FF2B5EF4-FFF2-40B4-BE49-F238E27FC236}">
                <a16:creationId xmlns:a16="http://schemas.microsoft.com/office/drawing/2014/main" id="{C7CAFA5C-815A-779C-4854-3D8AEBBA30DD}"/>
              </a:ext>
            </a:extLst>
          </p:cNvPr>
          <p:cNvSpPr>
            <a:spLocks noEditPoints="1"/>
          </p:cNvSpPr>
          <p:nvPr/>
        </p:nvSpPr>
        <p:spPr bwMode="auto">
          <a:xfrm>
            <a:off x="4463503" y="2763522"/>
            <a:ext cx="879008" cy="871691"/>
          </a:xfrm>
          <a:custGeom>
            <a:avLst/>
            <a:gdLst>
              <a:gd name="T0" fmla="*/ 204 w 432"/>
              <a:gd name="T1" fmla="*/ 432 h 432"/>
              <a:gd name="T2" fmla="*/ 172 w 432"/>
              <a:gd name="T3" fmla="*/ 379 h 432"/>
              <a:gd name="T4" fmla="*/ 116 w 432"/>
              <a:gd name="T5" fmla="*/ 378 h 432"/>
              <a:gd name="T6" fmla="*/ 54 w 432"/>
              <a:gd name="T7" fmla="*/ 360 h 432"/>
              <a:gd name="T8" fmla="*/ 54 w 432"/>
              <a:gd name="T9" fmla="*/ 316 h 432"/>
              <a:gd name="T10" fmla="*/ 53 w 432"/>
              <a:gd name="T11" fmla="*/ 260 h 432"/>
              <a:gd name="T12" fmla="*/ 0 w 432"/>
              <a:gd name="T13" fmla="*/ 228 h 432"/>
              <a:gd name="T14" fmla="*/ 31 w 432"/>
              <a:gd name="T15" fmla="*/ 172 h 432"/>
              <a:gd name="T16" fmla="*/ 70 w 432"/>
              <a:gd name="T17" fmla="*/ 132 h 432"/>
              <a:gd name="T18" fmla="*/ 45 w 432"/>
              <a:gd name="T19" fmla="*/ 94 h 432"/>
              <a:gd name="T20" fmla="*/ 72 w 432"/>
              <a:gd name="T21" fmla="*/ 54 h 432"/>
              <a:gd name="T22" fmla="*/ 132 w 432"/>
              <a:gd name="T23" fmla="*/ 70 h 432"/>
              <a:gd name="T24" fmla="*/ 172 w 432"/>
              <a:gd name="T25" fmla="*/ 31 h 432"/>
              <a:gd name="T26" fmla="*/ 229 w 432"/>
              <a:gd name="T27" fmla="*/ 0 h 432"/>
              <a:gd name="T28" fmla="*/ 260 w 432"/>
              <a:gd name="T29" fmla="*/ 53 h 432"/>
              <a:gd name="T30" fmla="*/ 316 w 432"/>
              <a:gd name="T31" fmla="*/ 54 h 432"/>
              <a:gd name="T32" fmla="*/ 378 w 432"/>
              <a:gd name="T33" fmla="*/ 72 h 432"/>
              <a:gd name="T34" fmla="*/ 378 w 432"/>
              <a:gd name="T35" fmla="*/ 116 h 432"/>
              <a:gd name="T36" fmla="*/ 379 w 432"/>
              <a:gd name="T37" fmla="*/ 172 h 432"/>
              <a:gd name="T38" fmla="*/ 432 w 432"/>
              <a:gd name="T39" fmla="*/ 203 h 432"/>
              <a:gd name="T40" fmla="*/ 401 w 432"/>
              <a:gd name="T41" fmla="*/ 260 h 432"/>
              <a:gd name="T42" fmla="*/ 362 w 432"/>
              <a:gd name="T43" fmla="*/ 300 h 432"/>
              <a:gd name="T44" fmla="*/ 387 w 432"/>
              <a:gd name="T45" fmla="*/ 338 h 432"/>
              <a:gd name="T46" fmla="*/ 360 w 432"/>
              <a:gd name="T47" fmla="*/ 378 h 432"/>
              <a:gd name="T48" fmla="*/ 300 w 432"/>
              <a:gd name="T49" fmla="*/ 362 h 432"/>
              <a:gd name="T50" fmla="*/ 260 w 432"/>
              <a:gd name="T51" fmla="*/ 401 h 432"/>
              <a:gd name="T52" fmla="*/ 131 w 432"/>
              <a:gd name="T53" fmla="*/ 348 h 432"/>
              <a:gd name="T54" fmla="*/ 180 w 432"/>
              <a:gd name="T55" fmla="*/ 368 h 432"/>
              <a:gd name="T56" fmla="*/ 185 w 432"/>
              <a:gd name="T57" fmla="*/ 401 h 432"/>
              <a:gd name="T58" fmla="*/ 229 w 432"/>
              <a:gd name="T59" fmla="*/ 420 h 432"/>
              <a:gd name="T60" fmla="*/ 248 w 432"/>
              <a:gd name="T61" fmla="*/ 374 h 432"/>
              <a:gd name="T62" fmla="*/ 298 w 432"/>
              <a:gd name="T63" fmla="*/ 349 h 432"/>
              <a:gd name="T64" fmla="*/ 325 w 432"/>
              <a:gd name="T65" fmla="*/ 369 h 432"/>
              <a:gd name="T66" fmla="*/ 369 w 432"/>
              <a:gd name="T67" fmla="*/ 351 h 432"/>
              <a:gd name="T68" fmla="*/ 351 w 432"/>
              <a:gd name="T69" fmla="*/ 306 h 432"/>
              <a:gd name="T70" fmla="*/ 349 w 432"/>
              <a:gd name="T71" fmla="*/ 298 h 432"/>
              <a:gd name="T72" fmla="*/ 374 w 432"/>
              <a:gd name="T73" fmla="*/ 247 h 432"/>
              <a:gd name="T74" fmla="*/ 420 w 432"/>
              <a:gd name="T75" fmla="*/ 228 h 432"/>
              <a:gd name="T76" fmla="*/ 401 w 432"/>
              <a:gd name="T77" fmla="*/ 184 h 432"/>
              <a:gd name="T78" fmla="*/ 368 w 432"/>
              <a:gd name="T79" fmla="*/ 180 h 432"/>
              <a:gd name="T80" fmla="*/ 350 w 432"/>
              <a:gd name="T81" fmla="*/ 126 h 432"/>
              <a:gd name="T82" fmla="*/ 369 w 432"/>
              <a:gd name="T83" fmla="*/ 80 h 432"/>
              <a:gd name="T84" fmla="*/ 325 w 432"/>
              <a:gd name="T85" fmla="*/ 63 h 432"/>
              <a:gd name="T86" fmla="*/ 298 w 432"/>
              <a:gd name="T87" fmla="*/ 83 h 432"/>
              <a:gd name="T88" fmla="*/ 248 w 432"/>
              <a:gd name="T89" fmla="*/ 58 h 432"/>
              <a:gd name="T90" fmla="*/ 229 w 432"/>
              <a:gd name="T91" fmla="*/ 12 h 432"/>
              <a:gd name="T92" fmla="*/ 185 w 432"/>
              <a:gd name="T93" fmla="*/ 31 h 432"/>
              <a:gd name="T94" fmla="*/ 180 w 432"/>
              <a:gd name="T95" fmla="*/ 64 h 432"/>
              <a:gd name="T96" fmla="*/ 127 w 432"/>
              <a:gd name="T97" fmla="*/ 82 h 432"/>
              <a:gd name="T98" fmla="*/ 81 w 432"/>
              <a:gd name="T99" fmla="*/ 63 h 432"/>
              <a:gd name="T100" fmla="*/ 57 w 432"/>
              <a:gd name="T101" fmla="*/ 94 h 432"/>
              <a:gd name="T102" fmla="*/ 82 w 432"/>
              <a:gd name="T103" fmla="*/ 126 h 432"/>
              <a:gd name="T104" fmla="*/ 64 w 432"/>
              <a:gd name="T105" fmla="*/ 180 h 432"/>
              <a:gd name="T106" fmla="*/ 31 w 432"/>
              <a:gd name="T107" fmla="*/ 184 h 432"/>
              <a:gd name="T108" fmla="*/ 12 w 432"/>
              <a:gd name="T109" fmla="*/ 228 h 432"/>
              <a:gd name="T110" fmla="*/ 58 w 432"/>
              <a:gd name="T111" fmla="*/ 247 h 432"/>
              <a:gd name="T112" fmla="*/ 83 w 432"/>
              <a:gd name="T113" fmla="*/ 298 h 432"/>
              <a:gd name="T114" fmla="*/ 82 w 432"/>
              <a:gd name="T115" fmla="*/ 306 h 432"/>
              <a:gd name="T116" fmla="*/ 57 w 432"/>
              <a:gd name="T117" fmla="*/ 338 h 432"/>
              <a:gd name="T118" fmla="*/ 81 w 432"/>
              <a:gd name="T119" fmla="*/ 369 h 432"/>
              <a:gd name="T120" fmla="*/ 126 w 432"/>
              <a:gd name="T121" fmla="*/ 35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2" h="432">
                <a:moveTo>
                  <a:pt x="229" y="432"/>
                </a:moveTo>
                <a:cubicBezTo>
                  <a:pt x="204" y="432"/>
                  <a:pt x="204" y="432"/>
                  <a:pt x="204" y="432"/>
                </a:cubicBezTo>
                <a:cubicBezTo>
                  <a:pt x="186" y="432"/>
                  <a:pt x="172" y="418"/>
                  <a:pt x="172" y="401"/>
                </a:cubicBezTo>
                <a:cubicBezTo>
                  <a:pt x="172" y="379"/>
                  <a:pt x="172" y="379"/>
                  <a:pt x="172" y="379"/>
                </a:cubicBezTo>
                <a:cubicBezTo>
                  <a:pt x="158" y="375"/>
                  <a:pt x="145" y="369"/>
                  <a:pt x="132" y="362"/>
                </a:cubicBezTo>
                <a:cubicBezTo>
                  <a:pt x="116" y="378"/>
                  <a:pt x="116" y="378"/>
                  <a:pt x="116" y="378"/>
                </a:cubicBezTo>
                <a:cubicBezTo>
                  <a:pt x="104" y="390"/>
                  <a:pt x="84" y="390"/>
                  <a:pt x="72" y="378"/>
                </a:cubicBezTo>
                <a:cubicBezTo>
                  <a:pt x="54" y="360"/>
                  <a:pt x="54" y="360"/>
                  <a:pt x="54" y="360"/>
                </a:cubicBezTo>
                <a:cubicBezTo>
                  <a:pt x="48" y="354"/>
                  <a:pt x="45" y="346"/>
                  <a:pt x="45" y="338"/>
                </a:cubicBezTo>
                <a:cubicBezTo>
                  <a:pt x="45" y="329"/>
                  <a:pt x="48" y="322"/>
                  <a:pt x="54" y="316"/>
                </a:cubicBezTo>
                <a:cubicBezTo>
                  <a:pt x="70" y="300"/>
                  <a:pt x="70" y="300"/>
                  <a:pt x="70" y="300"/>
                </a:cubicBezTo>
                <a:cubicBezTo>
                  <a:pt x="63" y="287"/>
                  <a:pt x="57" y="274"/>
                  <a:pt x="53" y="260"/>
                </a:cubicBezTo>
                <a:cubicBezTo>
                  <a:pt x="31" y="260"/>
                  <a:pt x="31" y="260"/>
                  <a:pt x="31" y="260"/>
                </a:cubicBezTo>
                <a:cubicBezTo>
                  <a:pt x="14" y="260"/>
                  <a:pt x="0" y="246"/>
                  <a:pt x="0" y="228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186"/>
                  <a:pt x="14" y="172"/>
                  <a:pt x="31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7" y="158"/>
                  <a:pt x="63" y="144"/>
                  <a:pt x="70" y="132"/>
                </a:cubicBezTo>
                <a:cubicBezTo>
                  <a:pt x="54" y="116"/>
                  <a:pt x="54" y="116"/>
                  <a:pt x="54" y="116"/>
                </a:cubicBezTo>
                <a:cubicBezTo>
                  <a:pt x="48" y="110"/>
                  <a:pt x="45" y="102"/>
                  <a:pt x="45" y="94"/>
                </a:cubicBezTo>
                <a:cubicBezTo>
                  <a:pt x="45" y="85"/>
                  <a:pt x="48" y="78"/>
                  <a:pt x="54" y="72"/>
                </a:cubicBezTo>
                <a:cubicBezTo>
                  <a:pt x="72" y="54"/>
                  <a:pt x="72" y="54"/>
                  <a:pt x="72" y="54"/>
                </a:cubicBezTo>
                <a:cubicBezTo>
                  <a:pt x="84" y="42"/>
                  <a:pt x="104" y="42"/>
                  <a:pt x="116" y="54"/>
                </a:cubicBezTo>
                <a:cubicBezTo>
                  <a:pt x="132" y="70"/>
                  <a:pt x="132" y="70"/>
                  <a:pt x="132" y="70"/>
                </a:cubicBezTo>
                <a:cubicBezTo>
                  <a:pt x="145" y="62"/>
                  <a:pt x="158" y="57"/>
                  <a:pt x="172" y="53"/>
                </a:cubicBezTo>
                <a:cubicBezTo>
                  <a:pt x="172" y="31"/>
                  <a:pt x="172" y="31"/>
                  <a:pt x="172" y="31"/>
                </a:cubicBezTo>
                <a:cubicBezTo>
                  <a:pt x="172" y="14"/>
                  <a:pt x="186" y="0"/>
                  <a:pt x="204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46" y="0"/>
                  <a:pt x="260" y="14"/>
                  <a:pt x="260" y="31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74" y="57"/>
                  <a:pt x="288" y="62"/>
                  <a:pt x="300" y="70"/>
                </a:cubicBezTo>
                <a:cubicBezTo>
                  <a:pt x="316" y="54"/>
                  <a:pt x="316" y="54"/>
                  <a:pt x="316" y="54"/>
                </a:cubicBezTo>
                <a:cubicBezTo>
                  <a:pt x="328" y="42"/>
                  <a:pt x="348" y="42"/>
                  <a:pt x="360" y="54"/>
                </a:cubicBezTo>
                <a:cubicBezTo>
                  <a:pt x="378" y="72"/>
                  <a:pt x="378" y="72"/>
                  <a:pt x="378" y="72"/>
                </a:cubicBezTo>
                <a:cubicBezTo>
                  <a:pt x="384" y="78"/>
                  <a:pt x="387" y="85"/>
                  <a:pt x="387" y="94"/>
                </a:cubicBezTo>
                <a:cubicBezTo>
                  <a:pt x="387" y="102"/>
                  <a:pt x="384" y="110"/>
                  <a:pt x="378" y="116"/>
                </a:cubicBezTo>
                <a:cubicBezTo>
                  <a:pt x="362" y="132"/>
                  <a:pt x="362" y="132"/>
                  <a:pt x="362" y="132"/>
                </a:cubicBezTo>
                <a:cubicBezTo>
                  <a:pt x="370" y="144"/>
                  <a:pt x="375" y="158"/>
                  <a:pt x="379" y="172"/>
                </a:cubicBezTo>
                <a:cubicBezTo>
                  <a:pt x="401" y="172"/>
                  <a:pt x="401" y="172"/>
                  <a:pt x="401" y="172"/>
                </a:cubicBezTo>
                <a:cubicBezTo>
                  <a:pt x="418" y="172"/>
                  <a:pt x="432" y="186"/>
                  <a:pt x="432" y="203"/>
                </a:cubicBezTo>
                <a:cubicBezTo>
                  <a:pt x="432" y="228"/>
                  <a:pt x="432" y="228"/>
                  <a:pt x="432" y="228"/>
                </a:cubicBezTo>
                <a:cubicBezTo>
                  <a:pt x="432" y="246"/>
                  <a:pt x="418" y="260"/>
                  <a:pt x="401" y="260"/>
                </a:cubicBezTo>
                <a:cubicBezTo>
                  <a:pt x="379" y="260"/>
                  <a:pt x="379" y="260"/>
                  <a:pt x="379" y="260"/>
                </a:cubicBezTo>
                <a:cubicBezTo>
                  <a:pt x="375" y="274"/>
                  <a:pt x="370" y="287"/>
                  <a:pt x="362" y="300"/>
                </a:cubicBezTo>
                <a:cubicBezTo>
                  <a:pt x="378" y="316"/>
                  <a:pt x="378" y="316"/>
                  <a:pt x="378" y="316"/>
                </a:cubicBezTo>
                <a:cubicBezTo>
                  <a:pt x="384" y="322"/>
                  <a:pt x="387" y="329"/>
                  <a:pt x="387" y="338"/>
                </a:cubicBezTo>
                <a:cubicBezTo>
                  <a:pt x="387" y="346"/>
                  <a:pt x="384" y="354"/>
                  <a:pt x="378" y="360"/>
                </a:cubicBezTo>
                <a:cubicBezTo>
                  <a:pt x="360" y="378"/>
                  <a:pt x="360" y="378"/>
                  <a:pt x="360" y="378"/>
                </a:cubicBezTo>
                <a:cubicBezTo>
                  <a:pt x="348" y="390"/>
                  <a:pt x="328" y="390"/>
                  <a:pt x="316" y="378"/>
                </a:cubicBezTo>
                <a:cubicBezTo>
                  <a:pt x="300" y="362"/>
                  <a:pt x="300" y="362"/>
                  <a:pt x="300" y="362"/>
                </a:cubicBezTo>
                <a:cubicBezTo>
                  <a:pt x="288" y="369"/>
                  <a:pt x="274" y="375"/>
                  <a:pt x="260" y="379"/>
                </a:cubicBezTo>
                <a:cubicBezTo>
                  <a:pt x="260" y="401"/>
                  <a:pt x="260" y="401"/>
                  <a:pt x="260" y="401"/>
                </a:cubicBezTo>
                <a:cubicBezTo>
                  <a:pt x="260" y="418"/>
                  <a:pt x="246" y="432"/>
                  <a:pt x="229" y="432"/>
                </a:cubicBezTo>
                <a:close/>
                <a:moveTo>
                  <a:pt x="131" y="348"/>
                </a:moveTo>
                <a:cubicBezTo>
                  <a:pt x="132" y="348"/>
                  <a:pt x="133" y="349"/>
                  <a:pt x="134" y="349"/>
                </a:cubicBezTo>
                <a:cubicBezTo>
                  <a:pt x="148" y="358"/>
                  <a:pt x="164" y="364"/>
                  <a:pt x="180" y="368"/>
                </a:cubicBezTo>
                <a:cubicBezTo>
                  <a:pt x="183" y="369"/>
                  <a:pt x="185" y="371"/>
                  <a:pt x="185" y="374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185" y="411"/>
                  <a:pt x="193" y="420"/>
                  <a:pt x="204" y="420"/>
                </a:cubicBezTo>
                <a:cubicBezTo>
                  <a:pt x="229" y="420"/>
                  <a:pt x="229" y="420"/>
                  <a:pt x="229" y="420"/>
                </a:cubicBezTo>
                <a:cubicBezTo>
                  <a:pt x="239" y="420"/>
                  <a:pt x="248" y="411"/>
                  <a:pt x="248" y="401"/>
                </a:cubicBezTo>
                <a:cubicBezTo>
                  <a:pt x="248" y="374"/>
                  <a:pt x="248" y="374"/>
                  <a:pt x="248" y="374"/>
                </a:cubicBezTo>
                <a:cubicBezTo>
                  <a:pt x="248" y="371"/>
                  <a:pt x="250" y="369"/>
                  <a:pt x="252" y="368"/>
                </a:cubicBezTo>
                <a:cubicBezTo>
                  <a:pt x="269" y="364"/>
                  <a:pt x="284" y="358"/>
                  <a:pt x="298" y="349"/>
                </a:cubicBezTo>
                <a:cubicBezTo>
                  <a:pt x="301" y="348"/>
                  <a:pt x="304" y="348"/>
                  <a:pt x="306" y="350"/>
                </a:cubicBezTo>
                <a:cubicBezTo>
                  <a:pt x="325" y="369"/>
                  <a:pt x="325" y="369"/>
                  <a:pt x="325" y="369"/>
                </a:cubicBezTo>
                <a:cubicBezTo>
                  <a:pt x="332" y="376"/>
                  <a:pt x="344" y="376"/>
                  <a:pt x="352" y="369"/>
                </a:cubicBezTo>
                <a:cubicBezTo>
                  <a:pt x="369" y="351"/>
                  <a:pt x="369" y="351"/>
                  <a:pt x="369" y="351"/>
                </a:cubicBezTo>
                <a:cubicBezTo>
                  <a:pt x="377" y="344"/>
                  <a:pt x="377" y="332"/>
                  <a:pt x="369" y="324"/>
                </a:cubicBezTo>
                <a:cubicBezTo>
                  <a:pt x="351" y="306"/>
                  <a:pt x="351" y="306"/>
                  <a:pt x="351" y="306"/>
                </a:cubicBezTo>
                <a:cubicBezTo>
                  <a:pt x="349" y="304"/>
                  <a:pt x="348" y="302"/>
                  <a:pt x="349" y="299"/>
                </a:cubicBezTo>
                <a:cubicBezTo>
                  <a:pt x="349" y="299"/>
                  <a:pt x="349" y="298"/>
                  <a:pt x="349" y="298"/>
                </a:cubicBezTo>
                <a:cubicBezTo>
                  <a:pt x="358" y="284"/>
                  <a:pt x="364" y="268"/>
                  <a:pt x="368" y="252"/>
                </a:cubicBezTo>
                <a:cubicBezTo>
                  <a:pt x="369" y="249"/>
                  <a:pt x="371" y="247"/>
                  <a:pt x="374" y="247"/>
                </a:cubicBezTo>
                <a:cubicBezTo>
                  <a:pt x="401" y="247"/>
                  <a:pt x="401" y="247"/>
                  <a:pt x="401" y="247"/>
                </a:cubicBezTo>
                <a:cubicBezTo>
                  <a:pt x="412" y="247"/>
                  <a:pt x="420" y="239"/>
                  <a:pt x="420" y="228"/>
                </a:cubicBezTo>
                <a:cubicBezTo>
                  <a:pt x="420" y="203"/>
                  <a:pt x="420" y="203"/>
                  <a:pt x="420" y="203"/>
                </a:cubicBezTo>
                <a:cubicBezTo>
                  <a:pt x="420" y="193"/>
                  <a:pt x="412" y="184"/>
                  <a:pt x="401" y="184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71" y="184"/>
                  <a:pt x="369" y="182"/>
                  <a:pt x="368" y="180"/>
                </a:cubicBezTo>
                <a:cubicBezTo>
                  <a:pt x="364" y="163"/>
                  <a:pt x="358" y="148"/>
                  <a:pt x="349" y="134"/>
                </a:cubicBezTo>
                <a:cubicBezTo>
                  <a:pt x="348" y="131"/>
                  <a:pt x="348" y="128"/>
                  <a:pt x="350" y="12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77" y="100"/>
                  <a:pt x="377" y="88"/>
                  <a:pt x="369" y="80"/>
                </a:cubicBezTo>
                <a:cubicBezTo>
                  <a:pt x="352" y="63"/>
                  <a:pt x="352" y="63"/>
                  <a:pt x="352" y="63"/>
                </a:cubicBezTo>
                <a:cubicBezTo>
                  <a:pt x="344" y="55"/>
                  <a:pt x="332" y="55"/>
                  <a:pt x="325" y="63"/>
                </a:cubicBezTo>
                <a:cubicBezTo>
                  <a:pt x="306" y="82"/>
                  <a:pt x="306" y="82"/>
                  <a:pt x="306" y="82"/>
                </a:cubicBezTo>
                <a:cubicBezTo>
                  <a:pt x="304" y="84"/>
                  <a:pt x="300" y="84"/>
                  <a:pt x="298" y="83"/>
                </a:cubicBezTo>
                <a:cubicBezTo>
                  <a:pt x="284" y="74"/>
                  <a:pt x="269" y="68"/>
                  <a:pt x="252" y="64"/>
                </a:cubicBezTo>
                <a:cubicBezTo>
                  <a:pt x="250" y="63"/>
                  <a:pt x="248" y="61"/>
                  <a:pt x="248" y="58"/>
                </a:cubicBezTo>
                <a:cubicBezTo>
                  <a:pt x="248" y="31"/>
                  <a:pt x="248" y="31"/>
                  <a:pt x="248" y="31"/>
                </a:cubicBezTo>
                <a:cubicBezTo>
                  <a:pt x="248" y="20"/>
                  <a:pt x="239" y="12"/>
                  <a:pt x="229" y="12"/>
                </a:cubicBezTo>
                <a:cubicBezTo>
                  <a:pt x="204" y="12"/>
                  <a:pt x="204" y="12"/>
                  <a:pt x="204" y="12"/>
                </a:cubicBezTo>
                <a:cubicBezTo>
                  <a:pt x="193" y="12"/>
                  <a:pt x="185" y="20"/>
                  <a:pt x="185" y="31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61"/>
                  <a:pt x="183" y="63"/>
                  <a:pt x="180" y="64"/>
                </a:cubicBezTo>
                <a:cubicBezTo>
                  <a:pt x="164" y="68"/>
                  <a:pt x="148" y="74"/>
                  <a:pt x="134" y="83"/>
                </a:cubicBezTo>
                <a:cubicBezTo>
                  <a:pt x="132" y="84"/>
                  <a:pt x="129" y="84"/>
                  <a:pt x="127" y="8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0" y="55"/>
                  <a:pt x="88" y="55"/>
                  <a:pt x="81" y="63"/>
                </a:cubicBezTo>
                <a:cubicBezTo>
                  <a:pt x="63" y="80"/>
                  <a:pt x="63" y="80"/>
                  <a:pt x="63" y="80"/>
                </a:cubicBezTo>
                <a:cubicBezTo>
                  <a:pt x="59" y="84"/>
                  <a:pt x="57" y="89"/>
                  <a:pt x="57" y="94"/>
                </a:cubicBezTo>
                <a:cubicBezTo>
                  <a:pt x="57" y="99"/>
                  <a:pt x="59" y="104"/>
                  <a:pt x="63" y="10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8"/>
                  <a:pt x="84" y="131"/>
                  <a:pt x="83" y="134"/>
                </a:cubicBezTo>
                <a:cubicBezTo>
                  <a:pt x="74" y="148"/>
                  <a:pt x="68" y="163"/>
                  <a:pt x="64" y="180"/>
                </a:cubicBezTo>
                <a:cubicBezTo>
                  <a:pt x="63" y="182"/>
                  <a:pt x="61" y="184"/>
                  <a:pt x="58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21" y="184"/>
                  <a:pt x="12" y="193"/>
                  <a:pt x="12" y="203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9"/>
                  <a:pt x="21" y="247"/>
                  <a:pt x="31" y="247"/>
                </a:cubicBezTo>
                <a:cubicBezTo>
                  <a:pt x="58" y="247"/>
                  <a:pt x="58" y="247"/>
                  <a:pt x="58" y="247"/>
                </a:cubicBezTo>
                <a:cubicBezTo>
                  <a:pt x="61" y="247"/>
                  <a:pt x="63" y="249"/>
                  <a:pt x="64" y="252"/>
                </a:cubicBezTo>
                <a:cubicBezTo>
                  <a:pt x="68" y="268"/>
                  <a:pt x="74" y="284"/>
                  <a:pt x="83" y="298"/>
                </a:cubicBezTo>
                <a:cubicBezTo>
                  <a:pt x="83" y="298"/>
                  <a:pt x="83" y="299"/>
                  <a:pt x="83" y="299"/>
                </a:cubicBezTo>
                <a:cubicBezTo>
                  <a:pt x="84" y="302"/>
                  <a:pt x="83" y="304"/>
                  <a:pt x="82" y="306"/>
                </a:cubicBezTo>
                <a:cubicBezTo>
                  <a:pt x="63" y="324"/>
                  <a:pt x="63" y="324"/>
                  <a:pt x="63" y="324"/>
                </a:cubicBezTo>
                <a:cubicBezTo>
                  <a:pt x="59" y="328"/>
                  <a:pt x="57" y="333"/>
                  <a:pt x="57" y="338"/>
                </a:cubicBezTo>
                <a:cubicBezTo>
                  <a:pt x="57" y="343"/>
                  <a:pt x="59" y="348"/>
                  <a:pt x="63" y="351"/>
                </a:cubicBezTo>
                <a:cubicBezTo>
                  <a:pt x="81" y="369"/>
                  <a:pt x="81" y="369"/>
                  <a:pt x="81" y="369"/>
                </a:cubicBezTo>
                <a:cubicBezTo>
                  <a:pt x="88" y="376"/>
                  <a:pt x="100" y="376"/>
                  <a:pt x="108" y="369"/>
                </a:cubicBezTo>
                <a:cubicBezTo>
                  <a:pt x="126" y="350"/>
                  <a:pt x="126" y="350"/>
                  <a:pt x="126" y="350"/>
                </a:cubicBezTo>
                <a:cubicBezTo>
                  <a:pt x="127" y="349"/>
                  <a:pt x="129" y="348"/>
                  <a:pt x="131" y="34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20" name="Freeform 156">
            <a:extLst>
              <a:ext uri="{FF2B5EF4-FFF2-40B4-BE49-F238E27FC236}">
                <a16:creationId xmlns:a16="http://schemas.microsoft.com/office/drawing/2014/main" id="{365D2701-A0E9-8136-276F-26CFFFCC9316}"/>
              </a:ext>
            </a:extLst>
          </p:cNvPr>
          <p:cNvSpPr>
            <a:spLocks noEditPoints="1"/>
          </p:cNvSpPr>
          <p:nvPr/>
        </p:nvSpPr>
        <p:spPr bwMode="auto">
          <a:xfrm>
            <a:off x="2303087" y="3065950"/>
            <a:ext cx="393687" cy="292812"/>
          </a:xfrm>
          <a:custGeom>
            <a:avLst/>
            <a:gdLst>
              <a:gd name="T0" fmla="*/ 90 w 218"/>
              <a:gd name="T1" fmla="*/ 163 h 163"/>
              <a:gd name="T2" fmla="*/ 86 w 218"/>
              <a:gd name="T3" fmla="*/ 161 h 163"/>
              <a:gd name="T4" fmla="*/ 2 w 218"/>
              <a:gd name="T5" fmla="*/ 77 h 163"/>
              <a:gd name="T6" fmla="*/ 2 w 218"/>
              <a:gd name="T7" fmla="*/ 68 h 163"/>
              <a:gd name="T8" fmla="*/ 31 w 218"/>
              <a:gd name="T9" fmla="*/ 39 h 163"/>
              <a:gd name="T10" fmla="*/ 40 w 218"/>
              <a:gd name="T11" fmla="*/ 39 h 163"/>
              <a:gd name="T12" fmla="*/ 90 w 218"/>
              <a:gd name="T13" fmla="*/ 90 h 163"/>
              <a:gd name="T14" fmla="*/ 177 w 218"/>
              <a:gd name="T15" fmla="*/ 2 h 163"/>
              <a:gd name="T16" fmla="*/ 186 w 218"/>
              <a:gd name="T17" fmla="*/ 2 h 163"/>
              <a:gd name="T18" fmla="*/ 215 w 218"/>
              <a:gd name="T19" fmla="*/ 32 h 163"/>
              <a:gd name="T20" fmla="*/ 215 w 218"/>
              <a:gd name="T21" fmla="*/ 40 h 163"/>
              <a:gd name="T22" fmla="*/ 95 w 218"/>
              <a:gd name="T23" fmla="*/ 161 h 163"/>
              <a:gd name="T24" fmla="*/ 90 w 218"/>
              <a:gd name="T25" fmla="*/ 163 h 163"/>
              <a:gd name="T26" fmla="*/ 15 w 218"/>
              <a:gd name="T27" fmla="*/ 73 h 163"/>
              <a:gd name="T28" fmla="*/ 90 w 218"/>
              <a:gd name="T29" fmla="*/ 148 h 163"/>
              <a:gd name="T30" fmla="*/ 202 w 218"/>
              <a:gd name="T31" fmla="*/ 36 h 163"/>
              <a:gd name="T32" fmla="*/ 182 w 218"/>
              <a:gd name="T33" fmla="*/ 15 h 163"/>
              <a:gd name="T34" fmla="*/ 95 w 218"/>
              <a:gd name="T35" fmla="*/ 103 h 163"/>
              <a:gd name="T36" fmla="*/ 86 w 218"/>
              <a:gd name="T37" fmla="*/ 103 h 163"/>
              <a:gd name="T38" fmla="*/ 35 w 218"/>
              <a:gd name="T39" fmla="*/ 52 h 163"/>
              <a:gd name="T40" fmla="*/ 15 w 218"/>
              <a:gd name="T41" fmla="*/ 7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8" h="163">
                <a:moveTo>
                  <a:pt x="90" y="163"/>
                </a:moveTo>
                <a:cubicBezTo>
                  <a:pt x="89" y="163"/>
                  <a:pt x="87" y="162"/>
                  <a:pt x="86" y="161"/>
                </a:cubicBezTo>
                <a:cubicBezTo>
                  <a:pt x="2" y="77"/>
                  <a:pt x="2" y="77"/>
                  <a:pt x="2" y="77"/>
                </a:cubicBezTo>
                <a:cubicBezTo>
                  <a:pt x="0" y="75"/>
                  <a:pt x="0" y="71"/>
                  <a:pt x="2" y="68"/>
                </a:cubicBezTo>
                <a:cubicBezTo>
                  <a:pt x="31" y="39"/>
                  <a:pt x="31" y="39"/>
                  <a:pt x="31" y="39"/>
                </a:cubicBezTo>
                <a:cubicBezTo>
                  <a:pt x="33" y="37"/>
                  <a:pt x="38" y="37"/>
                  <a:pt x="40" y="39"/>
                </a:cubicBezTo>
                <a:cubicBezTo>
                  <a:pt x="90" y="90"/>
                  <a:pt x="90" y="90"/>
                  <a:pt x="90" y="90"/>
                </a:cubicBezTo>
                <a:cubicBezTo>
                  <a:pt x="177" y="2"/>
                  <a:pt x="177" y="2"/>
                  <a:pt x="177" y="2"/>
                </a:cubicBezTo>
                <a:cubicBezTo>
                  <a:pt x="180" y="0"/>
                  <a:pt x="184" y="0"/>
                  <a:pt x="186" y="2"/>
                </a:cubicBezTo>
                <a:cubicBezTo>
                  <a:pt x="215" y="32"/>
                  <a:pt x="215" y="32"/>
                  <a:pt x="215" y="32"/>
                </a:cubicBezTo>
                <a:cubicBezTo>
                  <a:pt x="218" y="34"/>
                  <a:pt x="218" y="38"/>
                  <a:pt x="215" y="4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3" y="162"/>
                  <a:pt x="92" y="163"/>
                  <a:pt x="90" y="163"/>
                </a:cubicBezTo>
                <a:close/>
                <a:moveTo>
                  <a:pt x="15" y="73"/>
                </a:moveTo>
                <a:cubicBezTo>
                  <a:pt x="90" y="148"/>
                  <a:pt x="90" y="148"/>
                  <a:pt x="90" y="14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182" y="15"/>
                  <a:pt x="182" y="15"/>
                  <a:pt x="182" y="15"/>
                </a:cubicBezTo>
                <a:cubicBezTo>
                  <a:pt x="95" y="103"/>
                  <a:pt x="95" y="103"/>
                  <a:pt x="95" y="103"/>
                </a:cubicBezTo>
                <a:cubicBezTo>
                  <a:pt x="92" y="105"/>
                  <a:pt x="88" y="105"/>
                  <a:pt x="86" y="103"/>
                </a:cubicBezTo>
                <a:cubicBezTo>
                  <a:pt x="35" y="52"/>
                  <a:pt x="35" y="52"/>
                  <a:pt x="35" y="52"/>
                </a:cubicBezTo>
                <a:lnTo>
                  <a:pt x="15" y="7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21" name="Freeform 157">
            <a:extLst>
              <a:ext uri="{FF2B5EF4-FFF2-40B4-BE49-F238E27FC236}">
                <a16:creationId xmlns:a16="http://schemas.microsoft.com/office/drawing/2014/main" id="{207601B3-ACF5-6CFE-4EAE-6D4DD87E59CF}"/>
              </a:ext>
            </a:extLst>
          </p:cNvPr>
          <p:cNvSpPr>
            <a:spLocks noEditPoints="1"/>
          </p:cNvSpPr>
          <p:nvPr/>
        </p:nvSpPr>
        <p:spPr bwMode="auto">
          <a:xfrm>
            <a:off x="2106243" y="2805680"/>
            <a:ext cx="787372" cy="780821"/>
          </a:xfrm>
          <a:custGeom>
            <a:avLst/>
            <a:gdLst>
              <a:gd name="T0" fmla="*/ 191 w 436"/>
              <a:gd name="T1" fmla="*/ 422 h 433"/>
              <a:gd name="T2" fmla="*/ 116 w 436"/>
              <a:gd name="T3" fmla="*/ 397 h 433"/>
              <a:gd name="T4" fmla="*/ 93 w 436"/>
              <a:gd name="T5" fmla="*/ 381 h 433"/>
              <a:gd name="T6" fmla="*/ 55 w 436"/>
              <a:gd name="T7" fmla="*/ 344 h 433"/>
              <a:gd name="T8" fmla="*/ 20 w 436"/>
              <a:gd name="T9" fmla="*/ 301 h 433"/>
              <a:gd name="T10" fmla="*/ 20 w 436"/>
              <a:gd name="T11" fmla="*/ 272 h 433"/>
              <a:gd name="T12" fmla="*/ 14 w 436"/>
              <a:gd name="T13" fmla="*/ 244 h 433"/>
              <a:gd name="T14" fmla="*/ 19 w 436"/>
              <a:gd name="T15" fmla="*/ 165 h 433"/>
              <a:gd name="T16" fmla="*/ 40 w 436"/>
              <a:gd name="T17" fmla="*/ 116 h 433"/>
              <a:gd name="T18" fmla="*/ 55 w 436"/>
              <a:gd name="T19" fmla="*/ 93 h 433"/>
              <a:gd name="T20" fmla="*/ 115 w 436"/>
              <a:gd name="T21" fmla="*/ 40 h 433"/>
              <a:gd name="T22" fmla="*/ 164 w 436"/>
              <a:gd name="T23" fmla="*/ 21 h 433"/>
              <a:gd name="T24" fmla="*/ 191 w 436"/>
              <a:gd name="T25" fmla="*/ 15 h 433"/>
              <a:gd name="T26" fmla="*/ 271 w 436"/>
              <a:gd name="T27" fmla="*/ 20 h 433"/>
              <a:gd name="T28" fmla="*/ 319 w 436"/>
              <a:gd name="T29" fmla="*/ 41 h 433"/>
              <a:gd name="T30" fmla="*/ 343 w 436"/>
              <a:gd name="T31" fmla="*/ 56 h 433"/>
              <a:gd name="T32" fmla="*/ 395 w 436"/>
              <a:gd name="T33" fmla="*/ 116 h 433"/>
              <a:gd name="T34" fmla="*/ 415 w 436"/>
              <a:gd name="T35" fmla="*/ 164 h 433"/>
              <a:gd name="T36" fmla="*/ 420 w 436"/>
              <a:gd name="T37" fmla="*/ 191 h 433"/>
              <a:gd name="T38" fmla="*/ 421 w 436"/>
              <a:gd name="T39" fmla="*/ 244 h 433"/>
              <a:gd name="T40" fmla="*/ 416 w 436"/>
              <a:gd name="T41" fmla="*/ 271 h 433"/>
              <a:gd name="T42" fmla="*/ 395 w 436"/>
              <a:gd name="T43" fmla="*/ 320 h 433"/>
              <a:gd name="T44" fmla="*/ 380 w 436"/>
              <a:gd name="T45" fmla="*/ 344 h 433"/>
              <a:gd name="T46" fmla="*/ 320 w 436"/>
              <a:gd name="T47" fmla="*/ 396 h 433"/>
              <a:gd name="T48" fmla="*/ 272 w 436"/>
              <a:gd name="T49" fmla="*/ 416 h 433"/>
              <a:gd name="T50" fmla="*/ 244 w 436"/>
              <a:gd name="T51" fmla="*/ 421 h 433"/>
              <a:gd name="T52" fmla="*/ 218 w 436"/>
              <a:gd name="T53" fmla="*/ 433 h 433"/>
              <a:gd name="T54" fmla="*/ 200 w 436"/>
              <a:gd name="T55" fmla="*/ 413 h 433"/>
              <a:gd name="T56" fmla="*/ 236 w 436"/>
              <a:gd name="T57" fmla="*/ 412 h 433"/>
              <a:gd name="T58" fmla="*/ 277 w 436"/>
              <a:gd name="T59" fmla="*/ 405 h 433"/>
              <a:gd name="T60" fmla="*/ 309 w 436"/>
              <a:gd name="T61" fmla="*/ 391 h 433"/>
              <a:gd name="T62" fmla="*/ 368 w 436"/>
              <a:gd name="T63" fmla="*/ 344 h 433"/>
              <a:gd name="T64" fmla="*/ 390 w 436"/>
              <a:gd name="T65" fmla="*/ 309 h 433"/>
              <a:gd name="T66" fmla="*/ 404 w 436"/>
              <a:gd name="T67" fmla="*/ 276 h 433"/>
              <a:gd name="T68" fmla="*/ 412 w 436"/>
              <a:gd name="T69" fmla="*/ 201 h 433"/>
              <a:gd name="T70" fmla="*/ 404 w 436"/>
              <a:gd name="T71" fmla="*/ 160 h 433"/>
              <a:gd name="T72" fmla="*/ 404 w 436"/>
              <a:gd name="T73" fmla="*/ 140 h 433"/>
              <a:gd name="T74" fmla="*/ 368 w 436"/>
              <a:gd name="T75" fmla="*/ 93 h 433"/>
              <a:gd name="T76" fmla="*/ 342 w 436"/>
              <a:gd name="T77" fmla="*/ 68 h 433"/>
              <a:gd name="T78" fmla="*/ 308 w 436"/>
              <a:gd name="T79" fmla="*/ 45 h 433"/>
              <a:gd name="T80" fmla="*/ 235 w 436"/>
              <a:gd name="T81" fmla="*/ 23 h 433"/>
              <a:gd name="T82" fmla="*/ 199 w 436"/>
              <a:gd name="T83" fmla="*/ 24 h 433"/>
              <a:gd name="T84" fmla="*/ 159 w 436"/>
              <a:gd name="T85" fmla="*/ 32 h 433"/>
              <a:gd name="T86" fmla="*/ 92 w 436"/>
              <a:gd name="T87" fmla="*/ 68 h 433"/>
              <a:gd name="T88" fmla="*/ 67 w 436"/>
              <a:gd name="T89" fmla="*/ 94 h 433"/>
              <a:gd name="T90" fmla="*/ 44 w 436"/>
              <a:gd name="T91" fmla="*/ 128 h 433"/>
              <a:gd name="T92" fmla="*/ 23 w 436"/>
              <a:gd name="T93" fmla="*/ 201 h 433"/>
              <a:gd name="T94" fmla="*/ 23 w 436"/>
              <a:gd name="T95" fmla="*/ 236 h 433"/>
              <a:gd name="T96" fmla="*/ 31 w 436"/>
              <a:gd name="T97" fmla="*/ 277 h 433"/>
              <a:gd name="T98" fmla="*/ 44 w 436"/>
              <a:gd name="T99" fmla="*/ 309 h 433"/>
              <a:gd name="T100" fmla="*/ 92 w 436"/>
              <a:gd name="T101" fmla="*/ 368 h 433"/>
              <a:gd name="T102" fmla="*/ 127 w 436"/>
              <a:gd name="T103" fmla="*/ 391 h 433"/>
              <a:gd name="T104" fmla="*/ 160 w 436"/>
              <a:gd name="T105" fmla="*/ 405 h 433"/>
              <a:gd name="T106" fmla="*/ 417 w 436"/>
              <a:gd name="T107" fmla="*/ 240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433">
                <a:moveTo>
                  <a:pt x="218" y="433"/>
                </a:moveTo>
                <a:cubicBezTo>
                  <a:pt x="208" y="433"/>
                  <a:pt x="199" y="429"/>
                  <a:pt x="191" y="422"/>
                </a:cubicBezTo>
                <a:cubicBezTo>
                  <a:pt x="184" y="415"/>
                  <a:pt x="174" y="413"/>
                  <a:pt x="164" y="416"/>
                </a:cubicBezTo>
                <a:cubicBezTo>
                  <a:pt x="146" y="424"/>
                  <a:pt x="124" y="415"/>
                  <a:pt x="116" y="397"/>
                </a:cubicBezTo>
                <a:cubicBezTo>
                  <a:pt x="116" y="396"/>
                  <a:pt x="116" y="396"/>
                  <a:pt x="116" y="396"/>
                </a:cubicBezTo>
                <a:cubicBezTo>
                  <a:pt x="112" y="387"/>
                  <a:pt x="103" y="381"/>
                  <a:pt x="93" y="381"/>
                </a:cubicBezTo>
                <a:cubicBezTo>
                  <a:pt x="92" y="381"/>
                  <a:pt x="92" y="381"/>
                  <a:pt x="92" y="381"/>
                </a:cubicBezTo>
                <a:cubicBezTo>
                  <a:pt x="72" y="381"/>
                  <a:pt x="55" y="364"/>
                  <a:pt x="55" y="344"/>
                </a:cubicBezTo>
                <a:cubicBezTo>
                  <a:pt x="55" y="334"/>
                  <a:pt x="49" y="325"/>
                  <a:pt x="40" y="321"/>
                </a:cubicBezTo>
                <a:cubicBezTo>
                  <a:pt x="31" y="317"/>
                  <a:pt x="24" y="310"/>
                  <a:pt x="20" y="301"/>
                </a:cubicBezTo>
                <a:cubicBezTo>
                  <a:pt x="16" y="292"/>
                  <a:pt x="16" y="282"/>
                  <a:pt x="20" y="273"/>
                </a:cubicBezTo>
                <a:cubicBezTo>
                  <a:pt x="20" y="272"/>
                  <a:pt x="20" y="272"/>
                  <a:pt x="20" y="272"/>
                </a:cubicBezTo>
                <a:cubicBezTo>
                  <a:pt x="24" y="263"/>
                  <a:pt x="22" y="252"/>
                  <a:pt x="15" y="245"/>
                </a:cubicBezTo>
                <a:cubicBezTo>
                  <a:pt x="14" y="244"/>
                  <a:pt x="14" y="244"/>
                  <a:pt x="14" y="244"/>
                </a:cubicBezTo>
                <a:cubicBezTo>
                  <a:pt x="0" y="230"/>
                  <a:pt x="0" y="206"/>
                  <a:pt x="14" y="192"/>
                </a:cubicBezTo>
                <a:cubicBezTo>
                  <a:pt x="21" y="185"/>
                  <a:pt x="23" y="174"/>
                  <a:pt x="19" y="165"/>
                </a:cubicBezTo>
                <a:cubicBezTo>
                  <a:pt x="11" y="146"/>
                  <a:pt x="20" y="125"/>
                  <a:pt x="39" y="117"/>
                </a:cubicBezTo>
                <a:cubicBezTo>
                  <a:pt x="40" y="116"/>
                  <a:pt x="40" y="116"/>
                  <a:pt x="40" y="116"/>
                </a:cubicBezTo>
                <a:cubicBezTo>
                  <a:pt x="49" y="113"/>
                  <a:pt x="55" y="104"/>
                  <a:pt x="55" y="94"/>
                </a:cubicBezTo>
                <a:cubicBezTo>
                  <a:pt x="55" y="93"/>
                  <a:pt x="55" y="93"/>
                  <a:pt x="55" y="93"/>
                </a:cubicBezTo>
                <a:cubicBezTo>
                  <a:pt x="55" y="72"/>
                  <a:pt x="72" y="56"/>
                  <a:pt x="92" y="56"/>
                </a:cubicBezTo>
                <a:cubicBezTo>
                  <a:pt x="102" y="56"/>
                  <a:pt x="111" y="50"/>
                  <a:pt x="115" y="40"/>
                </a:cubicBezTo>
                <a:cubicBezTo>
                  <a:pt x="123" y="22"/>
                  <a:pt x="144" y="13"/>
                  <a:pt x="163" y="20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73" y="24"/>
                  <a:pt x="184" y="22"/>
                  <a:pt x="191" y="15"/>
                </a:cubicBezTo>
                <a:cubicBezTo>
                  <a:pt x="191" y="15"/>
                  <a:pt x="191" y="15"/>
                  <a:pt x="191" y="15"/>
                </a:cubicBezTo>
                <a:cubicBezTo>
                  <a:pt x="206" y="0"/>
                  <a:pt x="229" y="0"/>
                  <a:pt x="244" y="15"/>
                </a:cubicBezTo>
                <a:cubicBezTo>
                  <a:pt x="251" y="22"/>
                  <a:pt x="261" y="24"/>
                  <a:pt x="271" y="20"/>
                </a:cubicBezTo>
                <a:cubicBezTo>
                  <a:pt x="289" y="12"/>
                  <a:pt x="311" y="21"/>
                  <a:pt x="319" y="40"/>
                </a:cubicBezTo>
                <a:cubicBezTo>
                  <a:pt x="319" y="41"/>
                  <a:pt x="319" y="41"/>
                  <a:pt x="319" y="41"/>
                </a:cubicBezTo>
                <a:cubicBezTo>
                  <a:pt x="323" y="50"/>
                  <a:pt x="332" y="56"/>
                  <a:pt x="342" y="56"/>
                </a:cubicBezTo>
                <a:cubicBezTo>
                  <a:pt x="343" y="56"/>
                  <a:pt x="343" y="56"/>
                  <a:pt x="343" y="56"/>
                </a:cubicBezTo>
                <a:cubicBezTo>
                  <a:pt x="363" y="56"/>
                  <a:pt x="380" y="72"/>
                  <a:pt x="380" y="93"/>
                </a:cubicBezTo>
                <a:cubicBezTo>
                  <a:pt x="380" y="103"/>
                  <a:pt x="386" y="112"/>
                  <a:pt x="395" y="116"/>
                </a:cubicBezTo>
                <a:cubicBezTo>
                  <a:pt x="404" y="119"/>
                  <a:pt x="412" y="126"/>
                  <a:pt x="415" y="136"/>
                </a:cubicBezTo>
                <a:cubicBezTo>
                  <a:pt x="419" y="145"/>
                  <a:pt x="419" y="155"/>
                  <a:pt x="415" y="164"/>
                </a:cubicBezTo>
                <a:cubicBezTo>
                  <a:pt x="415" y="165"/>
                  <a:pt x="415" y="165"/>
                  <a:pt x="415" y="165"/>
                </a:cubicBezTo>
                <a:cubicBezTo>
                  <a:pt x="411" y="174"/>
                  <a:pt x="413" y="184"/>
                  <a:pt x="420" y="191"/>
                </a:cubicBezTo>
                <a:cubicBezTo>
                  <a:pt x="421" y="192"/>
                  <a:pt x="421" y="192"/>
                  <a:pt x="421" y="192"/>
                </a:cubicBezTo>
                <a:cubicBezTo>
                  <a:pt x="436" y="206"/>
                  <a:pt x="436" y="230"/>
                  <a:pt x="421" y="244"/>
                </a:cubicBezTo>
                <a:cubicBezTo>
                  <a:pt x="421" y="244"/>
                  <a:pt x="421" y="244"/>
                  <a:pt x="421" y="244"/>
                </a:cubicBezTo>
                <a:cubicBezTo>
                  <a:pt x="414" y="251"/>
                  <a:pt x="412" y="262"/>
                  <a:pt x="416" y="271"/>
                </a:cubicBezTo>
                <a:cubicBezTo>
                  <a:pt x="424" y="290"/>
                  <a:pt x="415" y="312"/>
                  <a:pt x="396" y="320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86" y="324"/>
                  <a:pt x="380" y="333"/>
                  <a:pt x="380" y="343"/>
                </a:cubicBezTo>
                <a:cubicBezTo>
                  <a:pt x="380" y="344"/>
                  <a:pt x="380" y="344"/>
                  <a:pt x="380" y="344"/>
                </a:cubicBezTo>
                <a:cubicBezTo>
                  <a:pt x="380" y="364"/>
                  <a:pt x="363" y="381"/>
                  <a:pt x="343" y="381"/>
                </a:cubicBezTo>
                <a:cubicBezTo>
                  <a:pt x="333" y="381"/>
                  <a:pt x="324" y="387"/>
                  <a:pt x="320" y="396"/>
                </a:cubicBezTo>
                <a:cubicBezTo>
                  <a:pt x="316" y="405"/>
                  <a:pt x="309" y="412"/>
                  <a:pt x="300" y="416"/>
                </a:cubicBezTo>
                <a:cubicBezTo>
                  <a:pt x="291" y="420"/>
                  <a:pt x="281" y="420"/>
                  <a:pt x="272" y="416"/>
                </a:cubicBezTo>
                <a:cubicBezTo>
                  <a:pt x="271" y="416"/>
                  <a:pt x="271" y="416"/>
                  <a:pt x="271" y="416"/>
                </a:cubicBezTo>
                <a:cubicBezTo>
                  <a:pt x="262" y="412"/>
                  <a:pt x="251" y="414"/>
                  <a:pt x="244" y="421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36" y="429"/>
                  <a:pt x="227" y="433"/>
                  <a:pt x="218" y="433"/>
                </a:cubicBezTo>
                <a:close/>
                <a:moveTo>
                  <a:pt x="174" y="402"/>
                </a:moveTo>
                <a:cubicBezTo>
                  <a:pt x="184" y="402"/>
                  <a:pt x="193" y="406"/>
                  <a:pt x="200" y="413"/>
                </a:cubicBezTo>
                <a:cubicBezTo>
                  <a:pt x="210" y="423"/>
                  <a:pt x="225" y="423"/>
                  <a:pt x="235" y="413"/>
                </a:cubicBezTo>
                <a:cubicBezTo>
                  <a:pt x="236" y="412"/>
                  <a:pt x="236" y="412"/>
                  <a:pt x="236" y="412"/>
                </a:cubicBezTo>
                <a:cubicBezTo>
                  <a:pt x="246" y="402"/>
                  <a:pt x="262" y="399"/>
                  <a:pt x="276" y="404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83" y="407"/>
                  <a:pt x="289" y="407"/>
                  <a:pt x="295" y="405"/>
                </a:cubicBezTo>
                <a:cubicBezTo>
                  <a:pt x="302" y="402"/>
                  <a:pt x="306" y="397"/>
                  <a:pt x="309" y="391"/>
                </a:cubicBezTo>
                <a:cubicBezTo>
                  <a:pt x="315" y="377"/>
                  <a:pt x="328" y="368"/>
                  <a:pt x="343" y="368"/>
                </a:cubicBezTo>
                <a:cubicBezTo>
                  <a:pt x="357" y="368"/>
                  <a:pt x="368" y="357"/>
                  <a:pt x="368" y="344"/>
                </a:cubicBezTo>
                <a:cubicBezTo>
                  <a:pt x="368" y="343"/>
                  <a:pt x="368" y="343"/>
                  <a:pt x="368" y="343"/>
                </a:cubicBezTo>
                <a:cubicBezTo>
                  <a:pt x="368" y="328"/>
                  <a:pt x="377" y="314"/>
                  <a:pt x="390" y="309"/>
                </a:cubicBezTo>
                <a:cubicBezTo>
                  <a:pt x="391" y="308"/>
                  <a:pt x="391" y="308"/>
                  <a:pt x="391" y="308"/>
                </a:cubicBezTo>
                <a:cubicBezTo>
                  <a:pt x="404" y="303"/>
                  <a:pt x="410" y="289"/>
                  <a:pt x="404" y="276"/>
                </a:cubicBezTo>
                <a:cubicBezTo>
                  <a:pt x="399" y="262"/>
                  <a:pt x="402" y="246"/>
                  <a:pt x="412" y="236"/>
                </a:cubicBezTo>
                <a:cubicBezTo>
                  <a:pt x="422" y="226"/>
                  <a:pt x="422" y="210"/>
                  <a:pt x="412" y="201"/>
                </a:cubicBezTo>
                <a:cubicBezTo>
                  <a:pt x="412" y="200"/>
                  <a:pt x="412" y="200"/>
                  <a:pt x="412" y="200"/>
                </a:cubicBezTo>
                <a:cubicBezTo>
                  <a:pt x="401" y="190"/>
                  <a:pt x="398" y="174"/>
                  <a:pt x="404" y="160"/>
                </a:cubicBezTo>
                <a:cubicBezTo>
                  <a:pt x="404" y="159"/>
                  <a:pt x="404" y="159"/>
                  <a:pt x="404" y="159"/>
                </a:cubicBezTo>
                <a:cubicBezTo>
                  <a:pt x="407" y="153"/>
                  <a:pt x="407" y="146"/>
                  <a:pt x="404" y="140"/>
                </a:cubicBezTo>
                <a:cubicBezTo>
                  <a:pt x="401" y="134"/>
                  <a:pt x="397" y="129"/>
                  <a:pt x="391" y="127"/>
                </a:cubicBezTo>
                <a:cubicBezTo>
                  <a:pt x="377" y="121"/>
                  <a:pt x="368" y="108"/>
                  <a:pt x="368" y="93"/>
                </a:cubicBezTo>
                <a:cubicBezTo>
                  <a:pt x="368" y="79"/>
                  <a:pt x="357" y="68"/>
                  <a:pt x="343" y="68"/>
                </a:cubicBezTo>
                <a:cubicBezTo>
                  <a:pt x="342" y="68"/>
                  <a:pt x="342" y="68"/>
                  <a:pt x="342" y="68"/>
                </a:cubicBezTo>
                <a:cubicBezTo>
                  <a:pt x="327" y="68"/>
                  <a:pt x="314" y="59"/>
                  <a:pt x="308" y="45"/>
                </a:cubicBezTo>
                <a:cubicBezTo>
                  <a:pt x="308" y="45"/>
                  <a:pt x="308" y="45"/>
                  <a:pt x="308" y="45"/>
                </a:cubicBezTo>
                <a:cubicBezTo>
                  <a:pt x="302" y="32"/>
                  <a:pt x="288" y="26"/>
                  <a:pt x="275" y="31"/>
                </a:cubicBezTo>
                <a:cubicBezTo>
                  <a:pt x="262" y="37"/>
                  <a:pt x="246" y="34"/>
                  <a:pt x="235" y="23"/>
                </a:cubicBezTo>
                <a:cubicBezTo>
                  <a:pt x="225" y="14"/>
                  <a:pt x="210" y="14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89" y="35"/>
                  <a:pt x="173" y="38"/>
                  <a:pt x="159" y="32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46" y="27"/>
                  <a:pt x="131" y="33"/>
                  <a:pt x="126" y="45"/>
                </a:cubicBezTo>
                <a:cubicBezTo>
                  <a:pt x="121" y="59"/>
                  <a:pt x="107" y="68"/>
                  <a:pt x="92" y="68"/>
                </a:cubicBezTo>
                <a:cubicBezTo>
                  <a:pt x="78" y="68"/>
                  <a:pt x="67" y="79"/>
                  <a:pt x="67" y="93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109"/>
                  <a:pt x="58" y="122"/>
                  <a:pt x="45" y="128"/>
                </a:cubicBezTo>
                <a:cubicBezTo>
                  <a:pt x="44" y="128"/>
                  <a:pt x="44" y="128"/>
                  <a:pt x="44" y="128"/>
                </a:cubicBezTo>
                <a:cubicBezTo>
                  <a:pt x="31" y="133"/>
                  <a:pt x="25" y="148"/>
                  <a:pt x="31" y="160"/>
                </a:cubicBezTo>
                <a:cubicBezTo>
                  <a:pt x="36" y="174"/>
                  <a:pt x="33" y="190"/>
                  <a:pt x="23" y="201"/>
                </a:cubicBezTo>
                <a:cubicBezTo>
                  <a:pt x="13" y="210"/>
                  <a:pt x="13" y="226"/>
                  <a:pt x="23" y="236"/>
                </a:cubicBezTo>
                <a:cubicBezTo>
                  <a:pt x="23" y="236"/>
                  <a:pt x="23" y="236"/>
                  <a:pt x="23" y="236"/>
                </a:cubicBezTo>
                <a:cubicBezTo>
                  <a:pt x="34" y="247"/>
                  <a:pt x="37" y="263"/>
                  <a:pt x="31" y="276"/>
                </a:cubicBezTo>
                <a:cubicBezTo>
                  <a:pt x="31" y="277"/>
                  <a:pt x="31" y="277"/>
                  <a:pt x="31" y="277"/>
                </a:cubicBezTo>
                <a:cubicBezTo>
                  <a:pt x="28" y="283"/>
                  <a:pt x="29" y="290"/>
                  <a:pt x="31" y="296"/>
                </a:cubicBezTo>
                <a:cubicBezTo>
                  <a:pt x="34" y="302"/>
                  <a:pt x="38" y="307"/>
                  <a:pt x="44" y="309"/>
                </a:cubicBezTo>
                <a:cubicBezTo>
                  <a:pt x="58" y="315"/>
                  <a:pt x="67" y="329"/>
                  <a:pt x="67" y="344"/>
                </a:cubicBezTo>
                <a:cubicBezTo>
                  <a:pt x="67" y="357"/>
                  <a:pt x="78" y="368"/>
                  <a:pt x="92" y="368"/>
                </a:cubicBezTo>
                <a:cubicBezTo>
                  <a:pt x="93" y="368"/>
                  <a:pt x="93" y="368"/>
                  <a:pt x="93" y="368"/>
                </a:cubicBezTo>
                <a:cubicBezTo>
                  <a:pt x="108" y="368"/>
                  <a:pt x="121" y="377"/>
                  <a:pt x="127" y="391"/>
                </a:cubicBezTo>
                <a:cubicBezTo>
                  <a:pt x="127" y="392"/>
                  <a:pt x="127" y="392"/>
                  <a:pt x="127" y="392"/>
                </a:cubicBezTo>
                <a:cubicBezTo>
                  <a:pt x="133" y="404"/>
                  <a:pt x="147" y="410"/>
                  <a:pt x="160" y="405"/>
                </a:cubicBezTo>
                <a:cubicBezTo>
                  <a:pt x="164" y="403"/>
                  <a:pt x="169" y="402"/>
                  <a:pt x="174" y="402"/>
                </a:cubicBezTo>
                <a:close/>
                <a:moveTo>
                  <a:pt x="417" y="240"/>
                </a:moveTo>
                <a:cubicBezTo>
                  <a:pt x="417" y="240"/>
                  <a:pt x="417" y="240"/>
                  <a:pt x="417" y="24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513218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4CA369-2C6E-FACE-14C6-A092723F31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20BB28FA-3FE9-C464-C895-658B102D3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BB28FA-3FE9-C464-C895-658B102D3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0393CEB-6528-91B2-3EDC-55DE07A71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06A1894-F2AC-CAD8-63D6-CE2BA47BFE6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Google Shape;2831;p45">
            <a:extLst>
              <a:ext uri="{FF2B5EF4-FFF2-40B4-BE49-F238E27FC236}">
                <a16:creationId xmlns:a16="http://schemas.microsoft.com/office/drawing/2014/main" id="{4086D4CB-8191-1EC5-B242-9DA5195E0BB0}"/>
              </a:ext>
            </a:extLst>
          </p:cNvPr>
          <p:cNvSpPr/>
          <p:nvPr/>
        </p:nvSpPr>
        <p:spPr>
          <a:xfrm>
            <a:off x="6062577" y="2273774"/>
            <a:ext cx="2732549" cy="390313"/>
          </a:xfrm>
          <a:prstGeom prst="chevron">
            <a:avLst>
              <a:gd name="adj" fmla="val 3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bg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" name="Google Shape;2832;p45">
            <a:extLst>
              <a:ext uri="{FF2B5EF4-FFF2-40B4-BE49-F238E27FC236}">
                <a16:creationId xmlns:a16="http://schemas.microsoft.com/office/drawing/2014/main" id="{F15B867D-D855-5C44-8EFD-E6BF9A0289DF}"/>
              </a:ext>
            </a:extLst>
          </p:cNvPr>
          <p:cNvSpPr/>
          <p:nvPr/>
        </p:nvSpPr>
        <p:spPr>
          <a:xfrm>
            <a:off x="3387183" y="2273774"/>
            <a:ext cx="2732549" cy="390313"/>
          </a:xfrm>
          <a:prstGeom prst="chevron">
            <a:avLst>
              <a:gd name="adj" fmla="val 3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bg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Google Shape;2835;p45">
            <a:extLst>
              <a:ext uri="{FF2B5EF4-FFF2-40B4-BE49-F238E27FC236}">
                <a16:creationId xmlns:a16="http://schemas.microsoft.com/office/drawing/2014/main" id="{1C476F12-2138-E8B7-7EA6-CC807766E2BE}"/>
              </a:ext>
            </a:extLst>
          </p:cNvPr>
          <p:cNvSpPr/>
          <p:nvPr/>
        </p:nvSpPr>
        <p:spPr>
          <a:xfrm>
            <a:off x="711798" y="2273774"/>
            <a:ext cx="2732549" cy="390313"/>
          </a:xfrm>
          <a:prstGeom prst="homePlate">
            <a:avLst>
              <a:gd name="adj" fmla="val 3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bg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9" name="Google Shape;2848;p45">
            <a:extLst>
              <a:ext uri="{FF2B5EF4-FFF2-40B4-BE49-F238E27FC236}">
                <a16:creationId xmlns:a16="http://schemas.microsoft.com/office/drawing/2014/main" id="{9EA023A2-EB58-C82E-A8A6-4FDEC8EB5D4A}"/>
              </a:ext>
            </a:extLst>
          </p:cNvPr>
          <p:cNvSpPr txBox="1"/>
          <p:nvPr/>
        </p:nvSpPr>
        <p:spPr>
          <a:xfrm>
            <a:off x="3462012" y="2772033"/>
            <a:ext cx="2582896" cy="261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47786" tIns="0" rIns="0" bIns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" name="Google Shape;2849;p45">
            <a:extLst>
              <a:ext uri="{FF2B5EF4-FFF2-40B4-BE49-F238E27FC236}">
                <a16:creationId xmlns:a16="http://schemas.microsoft.com/office/drawing/2014/main" id="{81A513E8-AA02-7C1F-1167-D42EA169CCD6}"/>
              </a:ext>
            </a:extLst>
          </p:cNvPr>
          <p:cNvSpPr txBox="1"/>
          <p:nvPr/>
        </p:nvSpPr>
        <p:spPr>
          <a:xfrm>
            <a:off x="786626" y="2772033"/>
            <a:ext cx="2582896" cy="261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47786" tIns="0" rIns="0" bIns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1" name="Google Shape;2850;p45">
            <a:extLst>
              <a:ext uri="{FF2B5EF4-FFF2-40B4-BE49-F238E27FC236}">
                <a16:creationId xmlns:a16="http://schemas.microsoft.com/office/drawing/2014/main" id="{6EC716DA-13D7-001F-57FB-D4D00A009BA2}"/>
              </a:ext>
            </a:extLst>
          </p:cNvPr>
          <p:cNvSpPr txBox="1"/>
          <p:nvPr/>
        </p:nvSpPr>
        <p:spPr>
          <a:xfrm>
            <a:off x="6137399" y="2772033"/>
            <a:ext cx="2582896" cy="261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47786" tIns="0" rIns="0" bIns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2" name="Google Shape;2831;p45">
            <a:extLst>
              <a:ext uri="{FF2B5EF4-FFF2-40B4-BE49-F238E27FC236}">
                <a16:creationId xmlns:a16="http://schemas.microsoft.com/office/drawing/2014/main" id="{CBE0CA4A-8B99-304E-D583-422AA275984D}"/>
              </a:ext>
            </a:extLst>
          </p:cNvPr>
          <p:cNvSpPr/>
          <p:nvPr/>
        </p:nvSpPr>
        <p:spPr>
          <a:xfrm>
            <a:off x="8737963" y="2273774"/>
            <a:ext cx="2732549" cy="390313"/>
          </a:xfrm>
          <a:prstGeom prst="chevron">
            <a:avLst>
              <a:gd name="adj" fmla="val 3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cxnSp>
        <p:nvCxnSpPr>
          <p:cNvPr id="7" name="Google Shape;2846;p45">
            <a:extLst>
              <a:ext uri="{FF2B5EF4-FFF2-40B4-BE49-F238E27FC236}">
                <a16:creationId xmlns:a16="http://schemas.microsoft.com/office/drawing/2014/main" id="{72023938-3026-A4F9-BCD7-0E0DF1A8093D}"/>
              </a:ext>
            </a:extLst>
          </p:cNvPr>
          <p:cNvCxnSpPr>
            <a:cxnSpLocks/>
          </p:cNvCxnSpPr>
          <p:nvPr/>
        </p:nvCxnSpPr>
        <p:spPr>
          <a:xfrm>
            <a:off x="3415765" y="2772034"/>
            <a:ext cx="0" cy="3344286"/>
          </a:xfrm>
          <a:prstGeom prst="straightConnector1">
            <a:avLst/>
          </a:prstGeom>
          <a:ln w="127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oogle Shape;2847;p45">
            <a:extLst>
              <a:ext uri="{FF2B5EF4-FFF2-40B4-BE49-F238E27FC236}">
                <a16:creationId xmlns:a16="http://schemas.microsoft.com/office/drawing/2014/main" id="{F1B900E8-A2A2-1388-2EAE-4B5D222CA23E}"/>
              </a:ext>
            </a:extLst>
          </p:cNvPr>
          <p:cNvCxnSpPr>
            <a:cxnSpLocks/>
          </p:cNvCxnSpPr>
          <p:nvPr/>
        </p:nvCxnSpPr>
        <p:spPr>
          <a:xfrm>
            <a:off x="6091151" y="2772034"/>
            <a:ext cx="0" cy="3344286"/>
          </a:xfrm>
          <a:prstGeom prst="straightConnector1">
            <a:avLst/>
          </a:prstGeom>
          <a:ln w="127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oogle Shape;2847;p45">
            <a:extLst>
              <a:ext uri="{FF2B5EF4-FFF2-40B4-BE49-F238E27FC236}">
                <a16:creationId xmlns:a16="http://schemas.microsoft.com/office/drawing/2014/main" id="{2260C0E1-5D6B-EDA3-30E9-F44735BBF989}"/>
              </a:ext>
            </a:extLst>
          </p:cNvPr>
          <p:cNvCxnSpPr>
            <a:cxnSpLocks/>
          </p:cNvCxnSpPr>
          <p:nvPr/>
        </p:nvCxnSpPr>
        <p:spPr>
          <a:xfrm>
            <a:off x="8766541" y="2772034"/>
            <a:ext cx="0" cy="3344286"/>
          </a:xfrm>
          <a:prstGeom prst="straightConnector1">
            <a:avLst/>
          </a:prstGeom>
          <a:ln w="127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2850;p45">
            <a:extLst>
              <a:ext uri="{FF2B5EF4-FFF2-40B4-BE49-F238E27FC236}">
                <a16:creationId xmlns:a16="http://schemas.microsoft.com/office/drawing/2014/main" id="{F26EFDCF-A386-C2E6-FBE7-44EAD9142D0E}"/>
              </a:ext>
            </a:extLst>
          </p:cNvPr>
          <p:cNvSpPr txBox="1"/>
          <p:nvPr/>
        </p:nvSpPr>
        <p:spPr>
          <a:xfrm>
            <a:off x="8795124" y="2772033"/>
            <a:ext cx="2582896" cy="261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47786" tIns="0" rIns="0" bIns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cxnSp>
        <p:nvCxnSpPr>
          <p:cNvPr id="15" name="Google Shape;2844;p45">
            <a:extLst>
              <a:ext uri="{FF2B5EF4-FFF2-40B4-BE49-F238E27FC236}">
                <a16:creationId xmlns:a16="http://schemas.microsoft.com/office/drawing/2014/main" id="{6880859A-C6CB-CBDF-1423-19E4E459909B}"/>
              </a:ext>
            </a:extLst>
          </p:cNvPr>
          <p:cNvCxnSpPr>
            <a:cxnSpLocks/>
            <a:stCxn id="37" idx="6"/>
            <a:endCxn id="32" idx="2"/>
          </p:cNvCxnSpPr>
          <p:nvPr/>
        </p:nvCxnSpPr>
        <p:spPr>
          <a:xfrm>
            <a:off x="2573724" y="1631373"/>
            <a:ext cx="1684087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6" name="Google Shape;2845;p45">
            <a:extLst>
              <a:ext uri="{FF2B5EF4-FFF2-40B4-BE49-F238E27FC236}">
                <a16:creationId xmlns:a16="http://schemas.microsoft.com/office/drawing/2014/main" id="{5E56633C-C066-E700-D974-C5CA85EFCAE9}"/>
              </a:ext>
            </a:extLst>
          </p:cNvPr>
          <p:cNvCxnSpPr>
            <a:cxnSpLocks/>
            <a:stCxn id="32" idx="6"/>
            <a:endCxn id="18" idx="2"/>
          </p:cNvCxnSpPr>
          <p:nvPr/>
        </p:nvCxnSpPr>
        <p:spPr>
          <a:xfrm>
            <a:off x="5249112" y="1631373"/>
            <a:ext cx="1684091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7" name="Google Shape;2845;p45">
            <a:extLst>
              <a:ext uri="{FF2B5EF4-FFF2-40B4-BE49-F238E27FC236}">
                <a16:creationId xmlns:a16="http://schemas.microsoft.com/office/drawing/2014/main" id="{D02895DA-87EE-218F-9317-9EDE59F5C05C}"/>
              </a:ext>
            </a:extLst>
          </p:cNvPr>
          <p:cNvCxnSpPr>
            <a:cxnSpLocks/>
            <a:stCxn id="18" idx="6"/>
            <a:endCxn id="41" idx="2"/>
          </p:cNvCxnSpPr>
          <p:nvPr/>
        </p:nvCxnSpPr>
        <p:spPr>
          <a:xfrm>
            <a:off x="7924500" y="1631373"/>
            <a:ext cx="1684087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18" name="Shape1_20220715_112204">
            <a:extLst>
              <a:ext uri="{FF2B5EF4-FFF2-40B4-BE49-F238E27FC236}">
                <a16:creationId xmlns:a16="http://schemas.microsoft.com/office/drawing/2014/main" id="{E3063884-C7A2-4CE0-CF0C-17B3CA8F8615}"/>
              </a:ext>
            </a:extLst>
          </p:cNvPr>
          <p:cNvSpPr/>
          <p:nvPr/>
        </p:nvSpPr>
        <p:spPr>
          <a:xfrm>
            <a:off x="6933201" y="1135725"/>
            <a:ext cx="991300" cy="991300"/>
          </a:xfrm>
          <a:prstGeom prst="ellipse">
            <a:avLst/>
          </a:prstGeom>
          <a:solidFill>
            <a:srgbClr val="E0E0E0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9" name="Google Shape;2841;p45">
            <a:extLst>
              <a:ext uri="{FF2B5EF4-FFF2-40B4-BE49-F238E27FC236}">
                <a16:creationId xmlns:a16="http://schemas.microsoft.com/office/drawing/2014/main" id="{7D2CB43C-EC88-276D-483E-C2EB3F1BC492}"/>
              </a:ext>
            </a:extLst>
          </p:cNvPr>
          <p:cNvSpPr/>
          <p:nvPr/>
        </p:nvSpPr>
        <p:spPr>
          <a:xfrm>
            <a:off x="7006964" y="1209490"/>
            <a:ext cx="843775" cy="84377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20" name="Freeform 1532">
            <a:extLst>
              <a:ext uri="{FF2B5EF4-FFF2-40B4-BE49-F238E27FC236}">
                <a16:creationId xmlns:a16="http://schemas.microsoft.com/office/drawing/2014/main" id="{54C485F0-4D62-52BC-4D36-7F6BF0450DE0}"/>
              </a:ext>
            </a:extLst>
          </p:cNvPr>
          <p:cNvSpPr>
            <a:spLocks noEditPoints="1"/>
          </p:cNvSpPr>
          <p:nvPr/>
        </p:nvSpPr>
        <p:spPr bwMode="auto">
          <a:xfrm>
            <a:off x="7497274" y="1698657"/>
            <a:ext cx="90189" cy="88688"/>
          </a:xfrm>
          <a:custGeom>
            <a:avLst/>
            <a:gdLst>
              <a:gd name="T0" fmla="*/ 16 w 41"/>
              <a:gd name="T1" fmla="*/ 41 h 41"/>
              <a:gd name="T2" fmla="*/ 13 w 41"/>
              <a:gd name="T3" fmla="*/ 40 h 41"/>
              <a:gd name="T4" fmla="*/ 1 w 41"/>
              <a:gd name="T5" fmla="*/ 28 h 41"/>
              <a:gd name="T6" fmla="*/ 0 w 41"/>
              <a:gd name="T7" fmla="*/ 24 h 41"/>
              <a:gd name="T8" fmla="*/ 5 w 41"/>
              <a:gd name="T9" fmla="*/ 7 h 41"/>
              <a:gd name="T10" fmla="*/ 7 w 41"/>
              <a:gd name="T11" fmla="*/ 5 h 41"/>
              <a:gd name="T12" fmla="*/ 24 w 41"/>
              <a:gd name="T13" fmla="*/ 0 h 41"/>
              <a:gd name="T14" fmla="*/ 28 w 41"/>
              <a:gd name="T15" fmla="*/ 1 h 41"/>
              <a:gd name="T16" fmla="*/ 40 w 41"/>
              <a:gd name="T17" fmla="*/ 14 h 41"/>
              <a:gd name="T18" fmla="*/ 40 w 41"/>
              <a:gd name="T19" fmla="*/ 14 h 41"/>
              <a:gd name="T20" fmla="*/ 41 w 41"/>
              <a:gd name="T21" fmla="*/ 17 h 41"/>
              <a:gd name="T22" fmla="*/ 36 w 41"/>
              <a:gd name="T23" fmla="*/ 34 h 41"/>
              <a:gd name="T24" fmla="*/ 34 w 41"/>
              <a:gd name="T25" fmla="*/ 37 h 41"/>
              <a:gd name="T26" fmla="*/ 17 w 41"/>
              <a:gd name="T27" fmla="*/ 41 h 41"/>
              <a:gd name="T28" fmla="*/ 16 w 41"/>
              <a:gd name="T29" fmla="*/ 41 h 41"/>
              <a:gd name="T30" fmla="*/ 5 w 41"/>
              <a:gd name="T31" fmla="*/ 25 h 41"/>
              <a:gd name="T32" fmla="*/ 16 w 41"/>
              <a:gd name="T33" fmla="*/ 36 h 41"/>
              <a:gd name="T34" fmla="*/ 32 w 41"/>
              <a:gd name="T35" fmla="*/ 32 h 41"/>
              <a:gd name="T36" fmla="*/ 36 w 41"/>
              <a:gd name="T37" fmla="*/ 17 h 41"/>
              <a:gd name="T38" fmla="*/ 25 w 41"/>
              <a:gd name="T39" fmla="*/ 5 h 41"/>
              <a:gd name="T40" fmla="*/ 9 w 41"/>
              <a:gd name="T41" fmla="*/ 9 h 41"/>
              <a:gd name="T42" fmla="*/ 5 w 41"/>
              <a:gd name="T43" fmla="*/ 25 h 41"/>
              <a:gd name="T44" fmla="*/ 32 w 41"/>
              <a:gd name="T45" fmla="*/ 33 h 41"/>
              <a:gd name="T46" fmla="*/ 32 w 41"/>
              <a:gd name="T47" fmla="*/ 33 h 41"/>
              <a:gd name="T48" fmla="*/ 5 w 41"/>
              <a:gd name="T49" fmla="*/ 26 h 41"/>
              <a:gd name="T50" fmla="*/ 5 w 41"/>
              <a:gd name="T51" fmla="*/ 26 h 41"/>
              <a:gd name="T52" fmla="*/ 5 w 41"/>
              <a:gd name="T53" fmla="*/ 26 h 41"/>
              <a:gd name="T54" fmla="*/ 36 w 41"/>
              <a:gd name="T55" fmla="*/ 16 h 41"/>
              <a:gd name="T56" fmla="*/ 36 w 41"/>
              <a:gd name="T57" fmla="*/ 16 h 41"/>
              <a:gd name="T58" fmla="*/ 9 w 41"/>
              <a:gd name="T59" fmla="*/ 9 h 41"/>
              <a:gd name="T60" fmla="*/ 9 w 41"/>
              <a:gd name="T61" fmla="*/ 9 h 41"/>
              <a:gd name="T62" fmla="*/ 9 w 41"/>
              <a:gd name="T63" fmla="*/ 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" h="41">
                <a:moveTo>
                  <a:pt x="16" y="41"/>
                </a:moveTo>
                <a:cubicBezTo>
                  <a:pt x="15" y="41"/>
                  <a:pt x="14" y="41"/>
                  <a:pt x="13" y="4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27"/>
                  <a:pt x="0" y="26"/>
                  <a:pt x="0" y="24"/>
                </a:cubicBezTo>
                <a:cubicBezTo>
                  <a:pt x="5" y="7"/>
                  <a:pt x="5" y="7"/>
                  <a:pt x="5" y="7"/>
                </a:cubicBezTo>
                <a:cubicBezTo>
                  <a:pt x="5" y="6"/>
                  <a:pt x="6" y="5"/>
                  <a:pt x="7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0"/>
                  <a:pt x="28" y="1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0" y="14"/>
                </a:cubicBezTo>
                <a:cubicBezTo>
                  <a:pt x="41" y="15"/>
                  <a:pt x="41" y="16"/>
                  <a:pt x="41" y="17"/>
                </a:cubicBezTo>
                <a:cubicBezTo>
                  <a:pt x="36" y="34"/>
                  <a:pt x="36" y="34"/>
                  <a:pt x="36" y="34"/>
                </a:cubicBezTo>
                <a:cubicBezTo>
                  <a:pt x="36" y="35"/>
                  <a:pt x="35" y="36"/>
                  <a:pt x="34" y="37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1"/>
                  <a:pt x="16" y="41"/>
                  <a:pt x="16" y="41"/>
                </a:cubicBezTo>
                <a:close/>
                <a:moveTo>
                  <a:pt x="5" y="25"/>
                </a:moveTo>
                <a:cubicBezTo>
                  <a:pt x="16" y="36"/>
                  <a:pt x="16" y="36"/>
                  <a:pt x="16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6" y="17"/>
                  <a:pt x="36" y="17"/>
                  <a:pt x="36" y="17"/>
                </a:cubicBezTo>
                <a:cubicBezTo>
                  <a:pt x="25" y="5"/>
                  <a:pt x="25" y="5"/>
                  <a:pt x="25" y="5"/>
                </a:cubicBezTo>
                <a:cubicBezTo>
                  <a:pt x="9" y="9"/>
                  <a:pt x="9" y="9"/>
                  <a:pt x="9" y="9"/>
                </a:cubicBezTo>
                <a:lnTo>
                  <a:pt x="5" y="25"/>
                </a:lnTo>
                <a:close/>
                <a:moveTo>
                  <a:pt x="32" y="33"/>
                </a:moveTo>
                <a:cubicBezTo>
                  <a:pt x="32" y="33"/>
                  <a:pt x="32" y="33"/>
                  <a:pt x="32" y="33"/>
                </a:cubicBezTo>
                <a:close/>
                <a:moveTo>
                  <a:pt x="5" y="26"/>
                </a:moveTo>
                <a:cubicBezTo>
                  <a:pt x="5" y="26"/>
                  <a:pt x="5" y="26"/>
                  <a:pt x="5" y="26"/>
                </a:cubicBezTo>
                <a:cubicBezTo>
                  <a:pt x="5" y="26"/>
                  <a:pt x="5" y="26"/>
                  <a:pt x="5" y="26"/>
                </a:cubicBezTo>
                <a:close/>
                <a:moveTo>
                  <a:pt x="36" y="16"/>
                </a:moveTo>
                <a:cubicBezTo>
                  <a:pt x="36" y="16"/>
                  <a:pt x="36" y="16"/>
                  <a:pt x="36" y="16"/>
                </a:cubicBezTo>
                <a:close/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1" name="Freeform 1533">
            <a:extLst>
              <a:ext uri="{FF2B5EF4-FFF2-40B4-BE49-F238E27FC236}">
                <a16:creationId xmlns:a16="http://schemas.microsoft.com/office/drawing/2014/main" id="{FE17D80A-7B75-BB99-00AF-DC401E645CE0}"/>
              </a:ext>
            </a:extLst>
          </p:cNvPr>
          <p:cNvSpPr>
            <a:spLocks/>
          </p:cNvSpPr>
          <p:nvPr/>
        </p:nvSpPr>
        <p:spPr bwMode="auto">
          <a:xfrm>
            <a:off x="7248473" y="1452474"/>
            <a:ext cx="101076" cy="99393"/>
          </a:xfrm>
          <a:custGeom>
            <a:avLst/>
            <a:gdLst>
              <a:gd name="T0" fmla="*/ 18 w 46"/>
              <a:gd name="T1" fmla="*/ 46 h 46"/>
              <a:gd name="T2" fmla="*/ 16 w 46"/>
              <a:gd name="T3" fmla="*/ 45 h 46"/>
              <a:gd name="T4" fmla="*/ 1 w 46"/>
              <a:gd name="T5" fmla="*/ 30 h 46"/>
              <a:gd name="T6" fmla="*/ 1 w 46"/>
              <a:gd name="T7" fmla="*/ 26 h 46"/>
              <a:gd name="T8" fmla="*/ 5 w 46"/>
              <a:gd name="T9" fmla="*/ 26 h 46"/>
              <a:gd name="T10" fmla="*/ 19 w 46"/>
              <a:gd name="T11" fmla="*/ 41 h 46"/>
              <a:gd name="T12" fmla="*/ 36 w 46"/>
              <a:gd name="T13" fmla="*/ 36 h 46"/>
              <a:gd name="T14" fmla="*/ 40 w 46"/>
              <a:gd name="T15" fmla="*/ 19 h 46"/>
              <a:gd name="T16" fmla="*/ 26 w 46"/>
              <a:gd name="T17" fmla="*/ 5 h 46"/>
              <a:gd name="T18" fmla="*/ 26 w 46"/>
              <a:gd name="T19" fmla="*/ 1 h 46"/>
              <a:gd name="T20" fmla="*/ 30 w 46"/>
              <a:gd name="T21" fmla="*/ 1 h 46"/>
              <a:gd name="T22" fmla="*/ 45 w 46"/>
              <a:gd name="T23" fmla="*/ 17 h 46"/>
              <a:gd name="T24" fmla="*/ 45 w 46"/>
              <a:gd name="T25" fmla="*/ 19 h 46"/>
              <a:gd name="T26" fmla="*/ 40 w 46"/>
              <a:gd name="T27" fmla="*/ 39 h 46"/>
              <a:gd name="T28" fmla="*/ 38 w 46"/>
              <a:gd name="T29" fmla="*/ 40 h 46"/>
              <a:gd name="T30" fmla="*/ 19 w 46"/>
              <a:gd name="T31" fmla="*/ 46 h 46"/>
              <a:gd name="T32" fmla="*/ 18 w 46"/>
              <a:gd name="T33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46">
                <a:moveTo>
                  <a:pt x="18" y="46"/>
                </a:moveTo>
                <a:cubicBezTo>
                  <a:pt x="18" y="46"/>
                  <a:pt x="17" y="46"/>
                  <a:pt x="16" y="45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29"/>
                  <a:pt x="0" y="27"/>
                  <a:pt x="1" y="26"/>
                </a:cubicBezTo>
                <a:cubicBezTo>
                  <a:pt x="2" y="25"/>
                  <a:pt x="4" y="25"/>
                  <a:pt x="5" y="26"/>
                </a:cubicBezTo>
                <a:cubicBezTo>
                  <a:pt x="19" y="41"/>
                  <a:pt x="19" y="41"/>
                  <a:pt x="19" y="41"/>
                </a:cubicBezTo>
                <a:cubicBezTo>
                  <a:pt x="36" y="36"/>
                  <a:pt x="36" y="36"/>
                  <a:pt x="36" y="36"/>
                </a:cubicBezTo>
                <a:cubicBezTo>
                  <a:pt x="40" y="19"/>
                  <a:pt x="40" y="19"/>
                  <a:pt x="40" y="19"/>
                </a:cubicBezTo>
                <a:cubicBezTo>
                  <a:pt x="26" y="5"/>
                  <a:pt x="26" y="5"/>
                  <a:pt x="26" y="5"/>
                </a:cubicBezTo>
                <a:cubicBezTo>
                  <a:pt x="25" y="4"/>
                  <a:pt x="25" y="2"/>
                  <a:pt x="26" y="1"/>
                </a:cubicBezTo>
                <a:cubicBezTo>
                  <a:pt x="27" y="0"/>
                  <a:pt x="29" y="0"/>
                  <a:pt x="30" y="1"/>
                </a:cubicBezTo>
                <a:cubicBezTo>
                  <a:pt x="45" y="17"/>
                  <a:pt x="45" y="17"/>
                  <a:pt x="45" y="17"/>
                </a:cubicBezTo>
                <a:cubicBezTo>
                  <a:pt x="45" y="17"/>
                  <a:pt x="46" y="18"/>
                  <a:pt x="45" y="1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40"/>
                  <a:pt x="39" y="40"/>
                  <a:pt x="38" y="40"/>
                </a:cubicBezTo>
                <a:cubicBezTo>
                  <a:pt x="19" y="46"/>
                  <a:pt x="19" y="46"/>
                  <a:pt x="19" y="46"/>
                </a:cubicBezTo>
                <a:cubicBezTo>
                  <a:pt x="19" y="46"/>
                  <a:pt x="18" y="46"/>
                  <a:pt x="18" y="4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2" name="Freeform 1534">
            <a:extLst>
              <a:ext uri="{FF2B5EF4-FFF2-40B4-BE49-F238E27FC236}">
                <a16:creationId xmlns:a16="http://schemas.microsoft.com/office/drawing/2014/main" id="{43266A15-D2E1-18D7-67A7-74911C7F19FD}"/>
              </a:ext>
            </a:extLst>
          </p:cNvPr>
          <p:cNvSpPr>
            <a:spLocks/>
          </p:cNvSpPr>
          <p:nvPr/>
        </p:nvSpPr>
        <p:spPr bwMode="auto">
          <a:xfrm>
            <a:off x="7245362" y="1505993"/>
            <a:ext cx="113517" cy="87158"/>
          </a:xfrm>
          <a:custGeom>
            <a:avLst/>
            <a:gdLst>
              <a:gd name="T0" fmla="*/ 33 w 51"/>
              <a:gd name="T1" fmla="*/ 40 h 40"/>
              <a:gd name="T2" fmla="*/ 11 w 51"/>
              <a:gd name="T3" fmla="*/ 30 h 40"/>
              <a:gd name="T4" fmla="*/ 1 w 51"/>
              <a:gd name="T5" fmla="*/ 3 h 40"/>
              <a:gd name="T6" fmla="*/ 4 w 51"/>
              <a:gd name="T7" fmla="*/ 1 h 40"/>
              <a:gd name="T8" fmla="*/ 6 w 51"/>
              <a:gd name="T9" fmla="*/ 3 h 40"/>
              <a:gd name="T10" fmla="*/ 14 w 51"/>
              <a:gd name="T11" fmla="*/ 27 h 40"/>
              <a:gd name="T12" fmla="*/ 47 w 51"/>
              <a:gd name="T13" fmla="*/ 31 h 40"/>
              <a:gd name="T14" fmla="*/ 50 w 51"/>
              <a:gd name="T15" fmla="*/ 32 h 40"/>
              <a:gd name="T16" fmla="*/ 50 w 51"/>
              <a:gd name="T17" fmla="*/ 35 h 40"/>
              <a:gd name="T18" fmla="*/ 33 w 51"/>
              <a:gd name="T1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" h="40">
                <a:moveTo>
                  <a:pt x="33" y="40"/>
                </a:moveTo>
                <a:cubicBezTo>
                  <a:pt x="25" y="40"/>
                  <a:pt x="17" y="36"/>
                  <a:pt x="11" y="30"/>
                </a:cubicBezTo>
                <a:cubicBezTo>
                  <a:pt x="3" y="23"/>
                  <a:pt x="0" y="13"/>
                  <a:pt x="1" y="3"/>
                </a:cubicBezTo>
                <a:cubicBezTo>
                  <a:pt x="2" y="1"/>
                  <a:pt x="3" y="0"/>
                  <a:pt x="4" y="1"/>
                </a:cubicBezTo>
                <a:cubicBezTo>
                  <a:pt x="6" y="1"/>
                  <a:pt x="7" y="2"/>
                  <a:pt x="6" y="3"/>
                </a:cubicBezTo>
                <a:cubicBezTo>
                  <a:pt x="5" y="12"/>
                  <a:pt x="8" y="21"/>
                  <a:pt x="14" y="27"/>
                </a:cubicBezTo>
                <a:cubicBezTo>
                  <a:pt x="23" y="36"/>
                  <a:pt x="36" y="37"/>
                  <a:pt x="47" y="31"/>
                </a:cubicBezTo>
                <a:cubicBezTo>
                  <a:pt x="48" y="30"/>
                  <a:pt x="50" y="31"/>
                  <a:pt x="50" y="32"/>
                </a:cubicBezTo>
                <a:cubicBezTo>
                  <a:pt x="51" y="33"/>
                  <a:pt x="51" y="34"/>
                  <a:pt x="50" y="35"/>
                </a:cubicBezTo>
                <a:cubicBezTo>
                  <a:pt x="45" y="38"/>
                  <a:pt x="39" y="40"/>
                  <a:pt x="33" y="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3" name="Freeform 1535">
            <a:extLst>
              <a:ext uri="{FF2B5EF4-FFF2-40B4-BE49-F238E27FC236}">
                <a16:creationId xmlns:a16="http://schemas.microsoft.com/office/drawing/2014/main" id="{F945B64D-9C96-9AF9-D191-218C25BB7DC6}"/>
              </a:ext>
            </a:extLst>
          </p:cNvPr>
          <p:cNvSpPr>
            <a:spLocks/>
          </p:cNvSpPr>
          <p:nvPr/>
        </p:nvSpPr>
        <p:spPr bwMode="auto">
          <a:xfrm>
            <a:off x="7302898" y="1449416"/>
            <a:ext cx="93299" cy="111625"/>
          </a:xfrm>
          <a:custGeom>
            <a:avLst/>
            <a:gdLst>
              <a:gd name="T0" fmla="*/ 33 w 42"/>
              <a:gd name="T1" fmla="*/ 51 h 51"/>
              <a:gd name="T2" fmla="*/ 31 w 42"/>
              <a:gd name="T3" fmla="*/ 51 h 51"/>
              <a:gd name="T4" fmla="*/ 31 w 42"/>
              <a:gd name="T5" fmla="*/ 47 h 51"/>
              <a:gd name="T6" fmla="*/ 26 w 42"/>
              <a:gd name="T7" fmla="*/ 14 h 51"/>
              <a:gd name="T8" fmla="*/ 3 w 42"/>
              <a:gd name="T9" fmla="*/ 7 h 51"/>
              <a:gd name="T10" fmla="*/ 0 w 42"/>
              <a:gd name="T11" fmla="*/ 5 h 51"/>
              <a:gd name="T12" fmla="*/ 2 w 42"/>
              <a:gd name="T13" fmla="*/ 2 h 51"/>
              <a:gd name="T14" fmla="*/ 30 w 42"/>
              <a:gd name="T15" fmla="*/ 11 h 51"/>
              <a:gd name="T16" fmla="*/ 35 w 42"/>
              <a:gd name="T17" fmla="*/ 50 h 51"/>
              <a:gd name="T18" fmla="*/ 33 w 42"/>
              <a:gd name="T19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51">
                <a:moveTo>
                  <a:pt x="33" y="51"/>
                </a:moveTo>
                <a:cubicBezTo>
                  <a:pt x="32" y="51"/>
                  <a:pt x="32" y="51"/>
                  <a:pt x="31" y="51"/>
                </a:cubicBezTo>
                <a:cubicBezTo>
                  <a:pt x="30" y="50"/>
                  <a:pt x="30" y="49"/>
                  <a:pt x="31" y="47"/>
                </a:cubicBezTo>
                <a:cubicBezTo>
                  <a:pt x="37" y="37"/>
                  <a:pt x="35" y="23"/>
                  <a:pt x="26" y="14"/>
                </a:cubicBezTo>
                <a:cubicBezTo>
                  <a:pt x="20" y="8"/>
                  <a:pt x="12" y="5"/>
                  <a:pt x="3" y="7"/>
                </a:cubicBezTo>
                <a:cubicBezTo>
                  <a:pt x="2" y="7"/>
                  <a:pt x="1" y="6"/>
                  <a:pt x="0" y="5"/>
                </a:cubicBezTo>
                <a:cubicBezTo>
                  <a:pt x="0" y="3"/>
                  <a:pt x="1" y="2"/>
                  <a:pt x="2" y="2"/>
                </a:cubicBezTo>
                <a:cubicBezTo>
                  <a:pt x="12" y="0"/>
                  <a:pt x="23" y="4"/>
                  <a:pt x="30" y="11"/>
                </a:cubicBezTo>
                <a:cubicBezTo>
                  <a:pt x="40" y="21"/>
                  <a:pt x="42" y="37"/>
                  <a:pt x="35" y="50"/>
                </a:cubicBezTo>
                <a:cubicBezTo>
                  <a:pt x="34" y="51"/>
                  <a:pt x="34" y="51"/>
                  <a:pt x="33" y="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4" name="Freeform 1536">
            <a:extLst>
              <a:ext uri="{FF2B5EF4-FFF2-40B4-BE49-F238E27FC236}">
                <a16:creationId xmlns:a16="http://schemas.microsoft.com/office/drawing/2014/main" id="{425F7E0F-5C54-9EB6-FA4C-8027BBDD13E2}"/>
              </a:ext>
            </a:extLst>
          </p:cNvPr>
          <p:cNvSpPr>
            <a:spLocks/>
          </p:cNvSpPr>
          <p:nvPr/>
        </p:nvSpPr>
        <p:spPr bwMode="auto">
          <a:xfrm>
            <a:off x="7347994" y="1574801"/>
            <a:ext cx="57537" cy="53519"/>
          </a:xfrm>
          <a:custGeom>
            <a:avLst/>
            <a:gdLst>
              <a:gd name="T0" fmla="*/ 23 w 26"/>
              <a:gd name="T1" fmla="*/ 25 h 25"/>
              <a:gd name="T2" fmla="*/ 21 w 26"/>
              <a:gd name="T3" fmla="*/ 25 h 25"/>
              <a:gd name="T4" fmla="*/ 1 w 26"/>
              <a:gd name="T5" fmla="*/ 4 h 25"/>
              <a:gd name="T6" fmla="*/ 1 w 26"/>
              <a:gd name="T7" fmla="*/ 1 h 25"/>
              <a:gd name="T8" fmla="*/ 5 w 26"/>
              <a:gd name="T9" fmla="*/ 1 h 25"/>
              <a:gd name="T10" fmla="*/ 25 w 26"/>
              <a:gd name="T11" fmla="*/ 21 h 25"/>
              <a:gd name="T12" fmla="*/ 25 w 26"/>
              <a:gd name="T13" fmla="*/ 25 h 25"/>
              <a:gd name="T14" fmla="*/ 23 w 26"/>
              <a:gd name="T1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25">
                <a:moveTo>
                  <a:pt x="23" y="25"/>
                </a:moveTo>
                <a:cubicBezTo>
                  <a:pt x="23" y="25"/>
                  <a:pt x="22" y="25"/>
                  <a:pt x="21" y="25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2"/>
                  <a:pt x="26" y="24"/>
                  <a:pt x="25" y="25"/>
                </a:cubicBezTo>
                <a:cubicBezTo>
                  <a:pt x="24" y="25"/>
                  <a:pt x="24" y="25"/>
                  <a:pt x="23" y="2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5" name="Freeform 1537">
            <a:extLst>
              <a:ext uri="{FF2B5EF4-FFF2-40B4-BE49-F238E27FC236}">
                <a16:creationId xmlns:a16="http://schemas.microsoft.com/office/drawing/2014/main" id="{353379A0-9077-FF7F-5E39-C284AEBCDBAC}"/>
              </a:ext>
            </a:extLst>
          </p:cNvPr>
          <p:cNvSpPr>
            <a:spLocks/>
          </p:cNvSpPr>
          <p:nvPr/>
        </p:nvSpPr>
        <p:spPr bwMode="auto">
          <a:xfrm>
            <a:off x="7433520" y="1658900"/>
            <a:ext cx="59089" cy="56579"/>
          </a:xfrm>
          <a:custGeom>
            <a:avLst/>
            <a:gdLst>
              <a:gd name="T0" fmla="*/ 24 w 27"/>
              <a:gd name="T1" fmla="*/ 26 h 26"/>
              <a:gd name="T2" fmla="*/ 22 w 27"/>
              <a:gd name="T3" fmla="*/ 26 h 26"/>
              <a:gd name="T4" fmla="*/ 1 w 27"/>
              <a:gd name="T5" fmla="*/ 4 h 26"/>
              <a:gd name="T6" fmla="*/ 1 w 27"/>
              <a:gd name="T7" fmla="*/ 1 h 26"/>
              <a:gd name="T8" fmla="*/ 5 w 27"/>
              <a:gd name="T9" fmla="*/ 1 h 26"/>
              <a:gd name="T10" fmla="*/ 26 w 27"/>
              <a:gd name="T11" fmla="*/ 22 h 26"/>
              <a:gd name="T12" fmla="*/ 26 w 27"/>
              <a:gd name="T13" fmla="*/ 26 h 26"/>
              <a:gd name="T14" fmla="*/ 24 w 27"/>
              <a:gd name="T15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6">
                <a:moveTo>
                  <a:pt x="24" y="26"/>
                </a:moveTo>
                <a:cubicBezTo>
                  <a:pt x="24" y="26"/>
                  <a:pt x="23" y="26"/>
                  <a:pt x="22" y="26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6" y="22"/>
                  <a:pt x="26" y="22"/>
                  <a:pt x="26" y="22"/>
                </a:cubicBezTo>
                <a:cubicBezTo>
                  <a:pt x="27" y="23"/>
                  <a:pt x="27" y="25"/>
                  <a:pt x="26" y="26"/>
                </a:cubicBezTo>
                <a:cubicBezTo>
                  <a:pt x="25" y="26"/>
                  <a:pt x="25" y="26"/>
                  <a:pt x="24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6" name="Freeform 1538">
            <a:extLst>
              <a:ext uri="{FF2B5EF4-FFF2-40B4-BE49-F238E27FC236}">
                <a16:creationId xmlns:a16="http://schemas.microsoft.com/office/drawing/2014/main" id="{E399C190-98E5-E4FC-68B9-BBF828588260}"/>
              </a:ext>
            </a:extLst>
          </p:cNvPr>
          <p:cNvSpPr>
            <a:spLocks/>
          </p:cNvSpPr>
          <p:nvPr/>
        </p:nvSpPr>
        <p:spPr bwMode="auto">
          <a:xfrm>
            <a:off x="7371317" y="1551863"/>
            <a:ext cx="144617" cy="142208"/>
          </a:xfrm>
          <a:custGeom>
            <a:avLst/>
            <a:gdLst>
              <a:gd name="T0" fmla="*/ 63 w 65"/>
              <a:gd name="T1" fmla="*/ 65 h 65"/>
              <a:gd name="T2" fmla="*/ 61 w 65"/>
              <a:gd name="T3" fmla="*/ 64 h 65"/>
              <a:gd name="T4" fmla="*/ 1 w 65"/>
              <a:gd name="T5" fmla="*/ 4 h 65"/>
              <a:gd name="T6" fmla="*/ 1 w 65"/>
              <a:gd name="T7" fmla="*/ 1 h 65"/>
              <a:gd name="T8" fmla="*/ 4 w 65"/>
              <a:gd name="T9" fmla="*/ 1 h 65"/>
              <a:gd name="T10" fmla="*/ 64 w 65"/>
              <a:gd name="T11" fmla="*/ 61 h 65"/>
              <a:gd name="T12" fmla="*/ 64 w 65"/>
              <a:gd name="T13" fmla="*/ 64 h 65"/>
              <a:gd name="T14" fmla="*/ 63 w 65"/>
              <a:gd name="T15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" h="65">
                <a:moveTo>
                  <a:pt x="63" y="65"/>
                </a:moveTo>
                <a:cubicBezTo>
                  <a:pt x="62" y="65"/>
                  <a:pt x="61" y="65"/>
                  <a:pt x="61" y="64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64" y="61"/>
                  <a:pt x="64" y="61"/>
                  <a:pt x="64" y="61"/>
                </a:cubicBezTo>
                <a:cubicBezTo>
                  <a:pt x="65" y="62"/>
                  <a:pt x="65" y="63"/>
                  <a:pt x="64" y="64"/>
                </a:cubicBezTo>
                <a:cubicBezTo>
                  <a:pt x="64" y="65"/>
                  <a:pt x="63" y="65"/>
                  <a:pt x="63" y="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7" name="Freeform 1539">
            <a:extLst>
              <a:ext uri="{FF2B5EF4-FFF2-40B4-BE49-F238E27FC236}">
                <a16:creationId xmlns:a16="http://schemas.microsoft.com/office/drawing/2014/main" id="{078AE3FB-1CF8-2F37-9862-FAD3E46579DC}"/>
              </a:ext>
            </a:extLst>
          </p:cNvPr>
          <p:cNvSpPr>
            <a:spLocks/>
          </p:cNvSpPr>
          <p:nvPr/>
        </p:nvSpPr>
        <p:spPr bwMode="auto">
          <a:xfrm>
            <a:off x="7466174" y="1668077"/>
            <a:ext cx="146170" cy="145264"/>
          </a:xfrm>
          <a:custGeom>
            <a:avLst/>
            <a:gdLst>
              <a:gd name="T0" fmla="*/ 34 w 66"/>
              <a:gd name="T1" fmla="*/ 67 h 67"/>
              <a:gd name="T2" fmla="*/ 12 w 66"/>
              <a:gd name="T3" fmla="*/ 57 h 67"/>
              <a:gd name="T4" fmla="*/ 7 w 66"/>
              <a:gd name="T5" fmla="*/ 19 h 67"/>
              <a:gd name="T6" fmla="*/ 10 w 66"/>
              <a:gd name="T7" fmla="*/ 18 h 67"/>
              <a:gd name="T8" fmla="*/ 11 w 66"/>
              <a:gd name="T9" fmla="*/ 21 h 67"/>
              <a:gd name="T10" fmla="*/ 16 w 66"/>
              <a:gd name="T11" fmla="*/ 54 h 67"/>
              <a:gd name="T12" fmla="*/ 34 w 66"/>
              <a:gd name="T13" fmla="*/ 62 h 67"/>
              <a:gd name="T14" fmla="*/ 53 w 66"/>
              <a:gd name="T15" fmla="*/ 54 h 67"/>
              <a:gd name="T16" fmla="*/ 61 w 66"/>
              <a:gd name="T17" fmla="*/ 35 h 67"/>
              <a:gd name="T18" fmla="*/ 53 w 66"/>
              <a:gd name="T19" fmla="*/ 16 h 67"/>
              <a:gd name="T20" fmla="*/ 21 w 66"/>
              <a:gd name="T21" fmla="*/ 12 h 67"/>
              <a:gd name="T22" fmla="*/ 18 w 66"/>
              <a:gd name="T23" fmla="*/ 11 h 67"/>
              <a:gd name="T24" fmla="*/ 18 w 66"/>
              <a:gd name="T25" fmla="*/ 7 h 67"/>
              <a:gd name="T26" fmla="*/ 57 w 66"/>
              <a:gd name="T27" fmla="*/ 12 h 67"/>
              <a:gd name="T28" fmla="*/ 66 w 66"/>
              <a:gd name="T29" fmla="*/ 35 h 67"/>
              <a:gd name="T30" fmla="*/ 57 w 66"/>
              <a:gd name="T31" fmla="*/ 57 h 67"/>
              <a:gd name="T32" fmla="*/ 34 w 66"/>
              <a:gd name="T33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6" h="67">
                <a:moveTo>
                  <a:pt x="34" y="67"/>
                </a:moveTo>
                <a:cubicBezTo>
                  <a:pt x="26" y="67"/>
                  <a:pt x="18" y="63"/>
                  <a:pt x="12" y="57"/>
                </a:cubicBezTo>
                <a:cubicBezTo>
                  <a:pt x="2" y="47"/>
                  <a:pt x="0" y="31"/>
                  <a:pt x="7" y="19"/>
                </a:cubicBezTo>
                <a:cubicBezTo>
                  <a:pt x="8" y="18"/>
                  <a:pt x="9" y="17"/>
                  <a:pt x="10" y="18"/>
                </a:cubicBezTo>
                <a:cubicBezTo>
                  <a:pt x="12" y="19"/>
                  <a:pt x="12" y="20"/>
                  <a:pt x="11" y="21"/>
                </a:cubicBezTo>
                <a:cubicBezTo>
                  <a:pt x="5" y="32"/>
                  <a:pt x="7" y="45"/>
                  <a:pt x="16" y="54"/>
                </a:cubicBezTo>
                <a:cubicBezTo>
                  <a:pt x="21" y="59"/>
                  <a:pt x="27" y="62"/>
                  <a:pt x="34" y="62"/>
                </a:cubicBezTo>
                <a:cubicBezTo>
                  <a:pt x="42" y="62"/>
                  <a:pt x="48" y="59"/>
                  <a:pt x="53" y="54"/>
                </a:cubicBezTo>
                <a:cubicBezTo>
                  <a:pt x="59" y="49"/>
                  <a:pt x="61" y="42"/>
                  <a:pt x="61" y="35"/>
                </a:cubicBezTo>
                <a:cubicBezTo>
                  <a:pt x="61" y="28"/>
                  <a:pt x="59" y="21"/>
                  <a:pt x="53" y="16"/>
                </a:cubicBezTo>
                <a:cubicBezTo>
                  <a:pt x="45" y="7"/>
                  <a:pt x="31" y="5"/>
                  <a:pt x="21" y="12"/>
                </a:cubicBezTo>
                <a:cubicBezTo>
                  <a:pt x="20" y="12"/>
                  <a:pt x="18" y="12"/>
                  <a:pt x="18" y="11"/>
                </a:cubicBezTo>
                <a:cubicBezTo>
                  <a:pt x="17" y="10"/>
                  <a:pt x="17" y="8"/>
                  <a:pt x="18" y="7"/>
                </a:cubicBezTo>
                <a:cubicBezTo>
                  <a:pt x="31" y="0"/>
                  <a:pt x="47" y="2"/>
                  <a:pt x="57" y="12"/>
                </a:cubicBezTo>
                <a:cubicBezTo>
                  <a:pt x="63" y="18"/>
                  <a:pt x="66" y="26"/>
                  <a:pt x="66" y="35"/>
                </a:cubicBezTo>
                <a:cubicBezTo>
                  <a:pt x="66" y="43"/>
                  <a:pt x="63" y="51"/>
                  <a:pt x="57" y="57"/>
                </a:cubicBezTo>
                <a:cubicBezTo>
                  <a:pt x="51" y="63"/>
                  <a:pt x="43" y="67"/>
                  <a:pt x="34" y="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8" name="Freeform 1540">
            <a:extLst>
              <a:ext uri="{FF2B5EF4-FFF2-40B4-BE49-F238E27FC236}">
                <a16:creationId xmlns:a16="http://schemas.microsoft.com/office/drawing/2014/main" id="{F0628BE8-1AF9-AC89-33EC-1A0FEB694FFA}"/>
              </a:ext>
            </a:extLst>
          </p:cNvPr>
          <p:cNvSpPr>
            <a:spLocks/>
          </p:cNvSpPr>
          <p:nvPr/>
        </p:nvSpPr>
        <p:spPr bwMode="auto">
          <a:xfrm>
            <a:off x="7417965" y="1464705"/>
            <a:ext cx="181935" cy="181961"/>
          </a:xfrm>
          <a:custGeom>
            <a:avLst/>
            <a:gdLst>
              <a:gd name="T0" fmla="*/ 2 w 82"/>
              <a:gd name="T1" fmla="*/ 83 h 83"/>
              <a:gd name="T2" fmla="*/ 1 w 82"/>
              <a:gd name="T3" fmla="*/ 82 h 83"/>
              <a:gd name="T4" fmla="*/ 1 w 82"/>
              <a:gd name="T5" fmla="*/ 78 h 83"/>
              <a:gd name="T6" fmla="*/ 78 w 82"/>
              <a:gd name="T7" fmla="*/ 1 h 83"/>
              <a:gd name="T8" fmla="*/ 81 w 82"/>
              <a:gd name="T9" fmla="*/ 1 h 83"/>
              <a:gd name="T10" fmla="*/ 81 w 82"/>
              <a:gd name="T11" fmla="*/ 5 h 83"/>
              <a:gd name="T12" fmla="*/ 4 w 82"/>
              <a:gd name="T13" fmla="*/ 82 h 83"/>
              <a:gd name="T14" fmla="*/ 2 w 82"/>
              <a:gd name="T15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83">
                <a:moveTo>
                  <a:pt x="2" y="83"/>
                </a:moveTo>
                <a:cubicBezTo>
                  <a:pt x="2" y="83"/>
                  <a:pt x="1" y="82"/>
                  <a:pt x="1" y="82"/>
                </a:cubicBezTo>
                <a:cubicBezTo>
                  <a:pt x="0" y="81"/>
                  <a:pt x="0" y="79"/>
                  <a:pt x="1" y="78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0"/>
                  <a:pt x="80" y="0"/>
                  <a:pt x="81" y="1"/>
                </a:cubicBezTo>
                <a:cubicBezTo>
                  <a:pt x="82" y="2"/>
                  <a:pt x="82" y="4"/>
                  <a:pt x="81" y="5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2"/>
                  <a:pt x="3" y="83"/>
                  <a:pt x="2" y="8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9" name="Freeform 1541">
            <a:extLst>
              <a:ext uri="{FF2B5EF4-FFF2-40B4-BE49-F238E27FC236}">
                <a16:creationId xmlns:a16="http://schemas.microsoft.com/office/drawing/2014/main" id="{66F0FF5C-D16B-5243-9BD0-4611B14791DF}"/>
              </a:ext>
            </a:extLst>
          </p:cNvPr>
          <p:cNvSpPr>
            <a:spLocks noEditPoints="1"/>
          </p:cNvSpPr>
          <p:nvPr/>
        </p:nvSpPr>
        <p:spPr bwMode="auto">
          <a:xfrm>
            <a:off x="7250027" y="1637493"/>
            <a:ext cx="177270" cy="169731"/>
          </a:xfrm>
          <a:custGeom>
            <a:avLst/>
            <a:gdLst>
              <a:gd name="T0" fmla="*/ 26 w 80"/>
              <a:gd name="T1" fmla="*/ 78 h 78"/>
              <a:gd name="T2" fmla="*/ 20 w 80"/>
              <a:gd name="T3" fmla="*/ 76 h 78"/>
              <a:gd name="T4" fmla="*/ 4 w 80"/>
              <a:gd name="T5" fmla="*/ 60 h 78"/>
              <a:gd name="T6" fmla="*/ 4 w 80"/>
              <a:gd name="T7" fmla="*/ 48 h 78"/>
              <a:gd name="T8" fmla="*/ 49 w 80"/>
              <a:gd name="T9" fmla="*/ 3 h 78"/>
              <a:gd name="T10" fmla="*/ 55 w 80"/>
              <a:gd name="T11" fmla="*/ 0 h 78"/>
              <a:gd name="T12" fmla="*/ 61 w 80"/>
              <a:gd name="T13" fmla="*/ 3 h 78"/>
              <a:gd name="T14" fmla="*/ 77 w 80"/>
              <a:gd name="T15" fmla="*/ 19 h 78"/>
              <a:gd name="T16" fmla="*/ 77 w 80"/>
              <a:gd name="T17" fmla="*/ 31 h 78"/>
              <a:gd name="T18" fmla="*/ 32 w 80"/>
              <a:gd name="T19" fmla="*/ 76 h 78"/>
              <a:gd name="T20" fmla="*/ 26 w 80"/>
              <a:gd name="T21" fmla="*/ 78 h 78"/>
              <a:gd name="T22" fmla="*/ 55 w 80"/>
              <a:gd name="T23" fmla="*/ 5 h 78"/>
              <a:gd name="T24" fmla="*/ 52 w 80"/>
              <a:gd name="T25" fmla="*/ 7 h 78"/>
              <a:gd name="T26" fmla="*/ 7 w 80"/>
              <a:gd name="T27" fmla="*/ 51 h 78"/>
              <a:gd name="T28" fmla="*/ 7 w 80"/>
              <a:gd name="T29" fmla="*/ 57 h 78"/>
              <a:gd name="T30" fmla="*/ 23 w 80"/>
              <a:gd name="T31" fmla="*/ 72 h 78"/>
              <a:gd name="T32" fmla="*/ 28 w 80"/>
              <a:gd name="T33" fmla="*/ 72 h 78"/>
              <a:gd name="T34" fmla="*/ 73 w 80"/>
              <a:gd name="T35" fmla="*/ 28 h 78"/>
              <a:gd name="T36" fmla="*/ 73 w 80"/>
              <a:gd name="T37" fmla="*/ 22 h 78"/>
              <a:gd name="T38" fmla="*/ 58 w 80"/>
              <a:gd name="T39" fmla="*/ 7 h 78"/>
              <a:gd name="T40" fmla="*/ 55 w 80"/>
              <a:gd name="T41" fmla="*/ 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78">
                <a:moveTo>
                  <a:pt x="26" y="78"/>
                </a:moveTo>
                <a:cubicBezTo>
                  <a:pt x="23" y="78"/>
                  <a:pt x="21" y="77"/>
                  <a:pt x="20" y="76"/>
                </a:cubicBezTo>
                <a:cubicBezTo>
                  <a:pt x="4" y="60"/>
                  <a:pt x="4" y="60"/>
                  <a:pt x="4" y="60"/>
                </a:cubicBezTo>
                <a:cubicBezTo>
                  <a:pt x="0" y="57"/>
                  <a:pt x="0" y="51"/>
                  <a:pt x="4" y="48"/>
                </a:cubicBezTo>
                <a:cubicBezTo>
                  <a:pt x="49" y="3"/>
                  <a:pt x="49" y="3"/>
                  <a:pt x="49" y="3"/>
                </a:cubicBezTo>
                <a:cubicBezTo>
                  <a:pt x="50" y="1"/>
                  <a:pt x="52" y="0"/>
                  <a:pt x="55" y="0"/>
                </a:cubicBezTo>
                <a:cubicBezTo>
                  <a:pt x="57" y="0"/>
                  <a:pt x="59" y="1"/>
                  <a:pt x="61" y="3"/>
                </a:cubicBezTo>
                <a:cubicBezTo>
                  <a:pt x="77" y="19"/>
                  <a:pt x="77" y="19"/>
                  <a:pt x="77" y="19"/>
                </a:cubicBezTo>
                <a:cubicBezTo>
                  <a:pt x="80" y="22"/>
                  <a:pt x="80" y="28"/>
                  <a:pt x="77" y="31"/>
                </a:cubicBezTo>
                <a:cubicBezTo>
                  <a:pt x="32" y="76"/>
                  <a:pt x="32" y="76"/>
                  <a:pt x="32" y="76"/>
                </a:cubicBezTo>
                <a:cubicBezTo>
                  <a:pt x="30" y="77"/>
                  <a:pt x="28" y="78"/>
                  <a:pt x="26" y="78"/>
                </a:cubicBezTo>
                <a:close/>
                <a:moveTo>
                  <a:pt x="55" y="5"/>
                </a:moveTo>
                <a:cubicBezTo>
                  <a:pt x="54" y="5"/>
                  <a:pt x="53" y="6"/>
                  <a:pt x="52" y="7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3"/>
                  <a:pt x="6" y="55"/>
                  <a:pt x="7" y="57"/>
                </a:cubicBezTo>
                <a:cubicBezTo>
                  <a:pt x="23" y="72"/>
                  <a:pt x="23" y="72"/>
                  <a:pt x="23" y="72"/>
                </a:cubicBezTo>
                <a:cubicBezTo>
                  <a:pt x="24" y="74"/>
                  <a:pt x="27" y="74"/>
                  <a:pt x="28" y="72"/>
                </a:cubicBezTo>
                <a:cubicBezTo>
                  <a:pt x="73" y="28"/>
                  <a:pt x="73" y="28"/>
                  <a:pt x="73" y="28"/>
                </a:cubicBezTo>
                <a:cubicBezTo>
                  <a:pt x="75" y="26"/>
                  <a:pt x="75" y="24"/>
                  <a:pt x="73" y="2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6"/>
                  <a:pt x="56" y="5"/>
                  <a:pt x="55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30" name="Freeform 1542">
            <a:extLst>
              <a:ext uri="{FF2B5EF4-FFF2-40B4-BE49-F238E27FC236}">
                <a16:creationId xmlns:a16="http://schemas.microsoft.com/office/drawing/2014/main" id="{E8E75C9D-B095-5E93-BBC9-70DCC4F3556E}"/>
              </a:ext>
            </a:extLst>
          </p:cNvPr>
          <p:cNvSpPr>
            <a:spLocks noEditPoints="1"/>
          </p:cNvSpPr>
          <p:nvPr/>
        </p:nvSpPr>
        <p:spPr bwMode="auto">
          <a:xfrm>
            <a:off x="7375981" y="1617614"/>
            <a:ext cx="71529" cy="67280"/>
          </a:xfrm>
          <a:custGeom>
            <a:avLst/>
            <a:gdLst>
              <a:gd name="T0" fmla="*/ 19 w 32"/>
              <a:gd name="T1" fmla="*/ 31 h 31"/>
              <a:gd name="T2" fmla="*/ 14 w 32"/>
              <a:gd name="T3" fmla="*/ 29 h 31"/>
              <a:gd name="T4" fmla="*/ 2 w 32"/>
              <a:gd name="T5" fmla="*/ 17 h 31"/>
              <a:gd name="T6" fmla="*/ 0 w 32"/>
              <a:gd name="T7" fmla="*/ 12 h 31"/>
              <a:gd name="T8" fmla="*/ 2 w 32"/>
              <a:gd name="T9" fmla="*/ 7 h 31"/>
              <a:gd name="T10" fmla="*/ 7 w 32"/>
              <a:gd name="T11" fmla="*/ 3 h 31"/>
              <a:gd name="T12" fmla="*/ 12 w 32"/>
              <a:gd name="T13" fmla="*/ 0 h 31"/>
              <a:gd name="T14" fmla="*/ 17 w 32"/>
              <a:gd name="T15" fmla="*/ 3 h 31"/>
              <a:gd name="T16" fmla="*/ 29 w 32"/>
              <a:gd name="T17" fmla="*/ 14 h 31"/>
              <a:gd name="T18" fmla="*/ 29 w 32"/>
              <a:gd name="T19" fmla="*/ 24 h 31"/>
              <a:gd name="T20" fmla="*/ 24 w 32"/>
              <a:gd name="T21" fmla="*/ 29 h 31"/>
              <a:gd name="T22" fmla="*/ 19 w 32"/>
              <a:gd name="T23" fmla="*/ 31 h 31"/>
              <a:gd name="T24" fmla="*/ 12 w 32"/>
              <a:gd name="T25" fmla="*/ 5 h 31"/>
              <a:gd name="T26" fmla="*/ 11 w 32"/>
              <a:gd name="T27" fmla="*/ 6 h 31"/>
              <a:gd name="T28" fmla="*/ 6 w 32"/>
              <a:gd name="T29" fmla="*/ 11 h 31"/>
              <a:gd name="T30" fmla="*/ 5 w 32"/>
              <a:gd name="T31" fmla="*/ 12 h 31"/>
              <a:gd name="T32" fmla="*/ 6 w 32"/>
              <a:gd name="T33" fmla="*/ 14 h 31"/>
              <a:gd name="T34" fmla="*/ 18 w 32"/>
              <a:gd name="T35" fmla="*/ 26 h 31"/>
              <a:gd name="T36" fmla="*/ 21 w 32"/>
              <a:gd name="T37" fmla="*/ 26 h 31"/>
              <a:gd name="T38" fmla="*/ 24 w 32"/>
              <a:gd name="T39" fmla="*/ 23 h 31"/>
              <a:gd name="T40" fmla="*/ 24 w 32"/>
              <a:gd name="T41" fmla="*/ 23 h 31"/>
              <a:gd name="T42" fmla="*/ 26 w 32"/>
              <a:gd name="T43" fmla="*/ 21 h 31"/>
              <a:gd name="T44" fmla="*/ 26 w 32"/>
              <a:gd name="T45" fmla="*/ 18 h 31"/>
              <a:gd name="T46" fmla="*/ 14 w 32"/>
              <a:gd name="T47" fmla="*/ 6 h 31"/>
              <a:gd name="T48" fmla="*/ 12 w 32"/>
              <a:gd name="T4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31">
                <a:moveTo>
                  <a:pt x="19" y="31"/>
                </a:moveTo>
                <a:cubicBezTo>
                  <a:pt x="17" y="31"/>
                  <a:pt x="16" y="31"/>
                  <a:pt x="14" y="29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6"/>
                  <a:pt x="0" y="14"/>
                  <a:pt x="0" y="12"/>
                </a:cubicBezTo>
                <a:cubicBezTo>
                  <a:pt x="0" y="10"/>
                  <a:pt x="1" y="9"/>
                  <a:pt x="2" y="7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2" y="0"/>
                </a:cubicBezTo>
                <a:cubicBezTo>
                  <a:pt x="14" y="0"/>
                  <a:pt x="16" y="1"/>
                  <a:pt x="17" y="3"/>
                </a:cubicBezTo>
                <a:cubicBezTo>
                  <a:pt x="29" y="14"/>
                  <a:pt x="29" y="14"/>
                  <a:pt x="29" y="14"/>
                </a:cubicBezTo>
                <a:cubicBezTo>
                  <a:pt x="32" y="17"/>
                  <a:pt x="32" y="22"/>
                  <a:pt x="29" y="24"/>
                </a:cubicBezTo>
                <a:cubicBezTo>
                  <a:pt x="24" y="29"/>
                  <a:pt x="24" y="29"/>
                  <a:pt x="24" y="29"/>
                </a:cubicBezTo>
                <a:cubicBezTo>
                  <a:pt x="23" y="31"/>
                  <a:pt x="21" y="31"/>
                  <a:pt x="19" y="31"/>
                </a:cubicBezTo>
                <a:close/>
                <a:moveTo>
                  <a:pt x="12" y="5"/>
                </a:moveTo>
                <a:cubicBezTo>
                  <a:pt x="12" y="5"/>
                  <a:pt x="11" y="6"/>
                  <a:pt x="11" y="6"/>
                </a:cubicBezTo>
                <a:cubicBezTo>
                  <a:pt x="6" y="11"/>
                  <a:pt x="6" y="11"/>
                  <a:pt x="6" y="11"/>
                </a:cubicBezTo>
                <a:cubicBezTo>
                  <a:pt x="5" y="11"/>
                  <a:pt x="5" y="12"/>
                  <a:pt x="5" y="12"/>
                </a:cubicBezTo>
                <a:cubicBezTo>
                  <a:pt x="5" y="13"/>
                  <a:pt x="5" y="13"/>
                  <a:pt x="6" y="14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7"/>
                  <a:pt x="20" y="27"/>
                  <a:pt x="21" y="26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0"/>
                  <a:pt x="27" y="19"/>
                  <a:pt x="26" y="1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5"/>
                  <a:pt x="1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31" name="Freeform 1543">
            <a:extLst>
              <a:ext uri="{FF2B5EF4-FFF2-40B4-BE49-F238E27FC236}">
                <a16:creationId xmlns:a16="http://schemas.microsoft.com/office/drawing/2014/main" id="{97BE03A0-6ACE-9B6D-42BF-6556E8952BE0}"/>
              </a:ext>
            </a:extLst>
          </p:cNvPr>
          <p:cNvSpPr>
            <a:spLocks/>
          </p:cNvSpPr>
          <p:nvPr/>
        </p:nvSpPr>
        <p:spPr bwMode="auto">
          <a:xfrm>
            <a:off x="7570356" y="1464705"/>
            <a:ext cx="31100" cy="30584"/>
          </a:xfrm>
          <a:custGeom>
            <a:avLst/>
            <a:gdLst>
              <a:gd name="T0" fmla="*/ 4 w 14"/>
              <a:gd name="T1" fmla="*/ 14 h 14"/>
              <a:gd name="T2" fmla="*/ 1 w 14"/>
              <a:gd name="T3" fmla="*/ 13 h 14"/>
              <a:gd name="T4" fmla="*/ 1 w 14"/>
              <a:gd name="T5" fmla="*/ 13 h 14"/>
              <a:gd name="T6" fmla="*/ 1 w 14"/>
              <a:gd name="T7" fmla="*/ 8 h 14"/>
              <a:gd name="T8" fmla="*/ 8 w 14"/>
              <a:gd name="T9" fmla="*/ 1 h 14"/>
              <a:gd name="T10" fmla="*/ 13 w 14"/>
              <a:gd name="T11" fmla="*/ 1 h 14"/>
              <a:gd name="T12" fmla="*/ 14 w 14"/>
              <a:gd name="T13" fmla="*/ 3 h 14"/>
              <a:gd name="T14" fmla="*/ 13 w 14"/>
              <a:gd name="T15" fmla="*/ 6 h 14"/>
              <a:gd name="T16" fmla="*/ 6 w 14"/>
              <a:gd name="T17" fmla="*/ 13 h 14"/>
              <a:gd name="T18" fmla="*/ 4 w 14"/>
              <a:gd name="T19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4">
                <a:moveTo>
                  <a:pt x="4" y="14"/>
                </a:moveTo>
                <a:cubicBezTo>
                  <a:pt x="3" y="14"/>
                  <a:pt x="2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1"/>
                  <a:pt x="0" y="9"/>
                  <a:pt x="1" y="8"/>
                </a:cubicBezTo>
                <a:cubicBezTo>
                  <a:pt x="8" y="1"/>
                  <a:pt x="8" y="1"/>
                  <a:pt x="8" y="1"/>
                </a:cubicBezTo>
                <a:cubicBezTo>
                  <a:pt x="9" y="0"/>
                  <a:pt x="11" y="0"/>
                  <a:pt x="13" y="1"/>
                </a:cubicBezTo>
                <a:cubicBezTo>
                  <a:pt x="13" y="2"/>
                  <a:pt x="14" y="3"/>
                  <a:pt x="14" y="3"/>
                </a:cubicBezTo>
                <a:cubicBezTo>
                  <a:pt x="14" y="4"/>
                  <a:pt x="13" y="5"/>
                  <a:pt x="13" y="6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4"/>
                  <a:pt x="4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32" name="Shape2_20220715_112204">
            <a:extLst>
              <a:ext uri="{FF2B5EF4-FFF2-40B4-BE49-F238E27FC236}">
                <a16:creationId xmlns:a16="http://schemas.microsoft.com/office/drawing/2014/main" id="{31A632B1-69AF-A19E-52C4-25283E844899}"/>
              </a:ext>
            </a:extLst>
          </p:cNvPr>
          <p:cNvSpPr/>
          <p:nvPr/>
        </p:nvSpPr>
        <p:spPr>
          <a:xfrm>
            <a:off x="4257810" y="1135725"/>
            <a:ext cx="991300" cy="991300"/>
          </a:xfrm>
          <a:prstGeom prst="ellipse">
            <a:avLst/>
          </a:prstGeom>
          <a:solidFill>
            <a:srgbClr val="E0E0E0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33" name="Google Shape;2839;p45">
            <a:extLst>
              <a:ext uri="{FF2B5EF4-FFF2-40B4-BE49-F238E27FC236}">
                <a16:creationId xmlns:a16="http://schemas.microsoft.com/office/drawing/2014/main" id="{684866DA-ADE6-B114-9880-23FBA6BFAD8A}"/>
              </a:ext>
            </a:extLst>
          </p:cNvPr>
          <p:cNvSpPr/>
          <p:nvPr/>
        </p:nvSpPr>
        <p:spPr>
          <a:xfrm>
            <a:off x="4331572" y="1209490"/>
            <a:ext cx="843775" cy="8437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34" name="Freeform 380">
            <a:extLst>
              <a:ext uri="{FF2B5EF4-FFF2-40B4-BE49-F238E27FC236}">
                <a16:creationId xmlns:a16="http://schemas.microsoft.com/office/drawing/2014/main" id="{02D54FEE-E7EE-4605-A919-E7E62849E10C}"/>
              </a:ext>
            </a:extLst>
          </p:cNvPr>
          <p:cNvSpPr>
            <a:spLocks noEditPoints="1"/>
          </p:cNvSpPr>
          <p:nvPr/>
        </p:nvSpPr>
        <p:spPr bwMode="auto">
          <a:xfrm>
            <a:off x="4582226" y="1458430"/>
            <a:ext cx="267122" cy="270548"/>
          </a:xfrm>
          <a:custGeom>
            <a:avLst/>
            <a:gdLst>
              <a:gd name="T0" fmla="*/ 142 w 285"/>
              <a:gd name="T1" fmla="*/ 285 h 285"/>
              <a:gd name="T2" fmla="*/ 0 w 285"/>
              <a:gd name="T3" fmla="*/ 143 h 285"/>
              <a:gd name="T4" fmla="*/ 142 w 285"/>
              <a:gd name="T5" fmla="*/ 0 h 285"/>
              <a:gd name="T6" fmla="*/ 285 w 285"/>
              <a:gd name="T7" fmla="*/ 143 h 285"/>
              <a:gd name="T8" fmla="*/ 142 w 285"/>
              <a:gd name="T9" fmla="*/ 285 h 285"/>
              <a:gd name="T10" fmla="*/ 142 w 285"/>
              <a:gd name="T11" fmla="*/ 12 h 285"/>
              <a:gd name="T12" fmla="*/ 12 w 285"/>
              <a:gd name="T13" fmla="*/ 143 h 285"/>
              <a:gd name="T14" fmla="*/ 142 w 285"/>
              <a:gd name="T15" fmla="*/ 273 h 285"/>
              <a:gd name="T16" fmla="*/ 273 w 285"/>
              <a:gd name="T17" fmla="*/ 143 h 285"/>
              <a:gd name="T18" fmla="*/ 142 w 285"/>
              <a:gd name="T19" fmla="*/ 1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5" h="285">
                <a:moveTo>
                  <a:pt x="142" y="285"/>
                </a:moveTo>
                <a:cubicBezTo>
                  <a:pt x="64" y="285"/>
                  <a:pt x="0" y="221"/>
                  <a:pt x="0" y="143"/>
                </a:cubicBezTo>
                <a:cubicBezTo>
                  <a:pt x="0" y="64"/>
                  <a:pt x="64" y="0"/>
                  <a:pt x="142" y="0"/>
                </a:cubicBezTo>
                <a:cubicBezTo>
                  <a:pt x="221" y="0"/>
                  <a:pt x="285" y="64"/>
                  <a:pt x="285" y="143"/>
                </a:cubicBezTo>
                <a:cubicBezTo>
                  <a:pt x="285" y="221"/>
                  <a:pt x="221" y="285"/>
                  <a:pt x="142" y="285"/>
                </a:cubicBezTo>
                <a:close/>
                <a:moveTo>
                  <a:pt x="142" y="12"/>
                </a:moveTo>
                <a:cubicBezTo>
                  <a:pt x="70" y="12"/>
                  <a:pt x="12" y="71"/>
                  <a:pt x="12" y="143"/>
                </a:cubicBezTo>
                <a:cubicBezTo>
                  <a:pt x="12" y="214"/>
                  <a:pt x="70" y="273"/>
                  <a:pt x="142" y="273"/>
                </a:cubicBezTo>
                <a:cubicBezTo>
                  <a:pt x="214" y="273"/>
                  <a:pt x="273" y="214"/>
                  <a:pt x="273" y="143"/>
                </a:cubicBezTo>
                <a:cubicBezTo>
                  <a:pt x="273" y="71"/>
                  <a:pt x="214" y="12"/>
                  <a:pt x="142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35" name="Freeform 381">
            <a:extLst>
              <a:ext uri="{FF2B5EF4-FFF2-40B4-BE49-F238E27FC236}">
                <a16:creationId xmlns:a16="http://schemas.microsoft.com/office/drawing/2014/main" id="{B54EF5B2-2D61-85C7-04CD-8B788B314DC3}"/>
              </a:ext>
            </a:extLst>
          </p:cNvPr>
          <p:cNvSpPr>
            <a:spLocks noEditPoints="1"/>
          </p:cNvSpPr>
          <p:nvPr/>
        </p:nvSpPr>
        <p:spPr bwMode="auto">
          <a:xfrm>
            <a:off x="4787705" y="1663910"/>
            <a:ext cx="136988" cy="140413"/>
          </a:xfrm>
          <a:custGeom>
            <a:avLst/>
            <a:gdLst>
              <a:gd name="T0" fmla="*/ 119 w 145"/>
              <a:gd name="T1" fmla="*/ 146 h 146"/>
              <a:gd name="T2" fmla="*/ 100 w 145"/>
              <a:gd name="T3" fmla="*/ 138 h 146"/>
              <a:gd name="T4" fmla="*/ 2 w 145"/>
              <a:gd name="T5" fmla="*/ 40 h 146"/>
              <a:gd name="T6" fmla="*/ 2 w 145"/>
              <a:gd name="T7" fmla="*/ 32 h 146"/>
              <a:gd name="T8" fmla="*/ 31 w 145"/>
              <a:gd name="T9" fmla="*/ 3 h 146"/>
              <a:gd name="T10" fmla="*/ 40 w 145"/>
              <a:gd name="T11" fmla="*/ 3 h 146"/>
              <a:gd name="T12" fmla="*/ 138 w 145"/>
              <a:gd name="T13" fmla="*/ 100 h 146"/>
              <a:gd name="T14" fmla="*/ 145 w 145"/>
              <a:gd name="T15" fmla="*/ 119 h 146"/>
              <a:gd name="T16" fmla="*/ 138 w 145"/>
              <a:gd name="T17" fmla="*/ 138 h 146"/>
              <a:gd name="T18" fmla="*/ 119 w 145"/>
              <a:gd name="T19" fmla="*/ 146 h 146"/>
              <a:gd name="T20" fmla="*/ 15 w 145"/>
              <a:gd name="T21" fmla="*/ 36 h 146"/>
              <a:gd name="T22" fmla="*/ 109 w 145"/>
              <a:gd name="T23" fmla="*/ 129 h 146"/>
              <a:gd name="T24" fmla="*/ 109 w 145"/>
              <a:gd name="T25" fmla="*/ 129 h 146"/>
              <a:gd name="T26" fmla="*/ 129 w 145"/>
              <a:gd name="T27" fmla="*/ 129 h 146"/>
              <a:gd name="T28" fmla="*/ 133 w 145"/>
              <a:gd name="T29" fmla="*/ 119 h 146"/>
              <a:gd name="T30" fmla="*/ 129 w 145"/>
              <a:gd name="T31" fmla="*/ 109 h 146"/>
              <a:gd name="T32" fmla="*/ 36 w 145"/>
              <a:gd name="T33" fmla="*/ 16 h 146"/>
              <a:gd name="T34" fmla="*/ 15 w 145"/>
              <a:gd name="T35" fmla="*/ 3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45" h="146">
                <a:moveTo>
                  <a:pt x="119" y="146"/>
                </a:moveTo>
                <a:cubicBezTo>
                  <a:pt x="112" y="146"/>
                  <a:pt x="105" y="143"/>
                  <a:pt x="100" y="138"/>
                </a:cubicBezTo>
                <a:cubicBezTo>
                  <a:pt x="2" y="40"/>
                  <a:pt x="2" y="40"/>
                  <a:pt x="2" y="40"/>
                </a:cubicBezTo>
                <a:cubicBezTo>
                  <a:pt x="0" y="38"/>
                  <a:pt x="0" y="34"/>
                  <a:pt x="2" y="32"/>
                </a:cubicBezTo>
                <a:cubicBezTo>
                  <a:pt x="31" y="3"/>
                  <a:pt x="31" y="3"/>
                  <a:pt x="31" y="3"/>
                </a:cubicBezTo>
                <a:cubicBezTo>
                  <a:pt x="34" y="0"/>
                  <a:pt x="38" y="0"/>
                  <a:pt x="40" y="3"/>
                </a:cubicBezTo>
                <a:cubicBezTo>
                  <a:pt x="138" y="100"/>
                  <a:pt x="138" y="100"/>
                  <a:pt x="138" y="100"/>
                </a:cubicBezTo>
                <a:cubicBezTo>
                  <a:pt x="143" y="105"/>
                  <a:pt x="145" y="112"/>
                  <a:pt x="145" y="119"/>
                </a:cubicBezTo>
                <a:cubicBezTo>
                  <a:pt x="145" y="126"/>
                  <a:pt x="143" y="133"/>
                  <a:pt x="138" y="138"/>
                </a:cubicBezTo>
                <a:cubicBezTo>
                  <a:pt x="132" y="143"/>
                  <a:pt x="126" y="146"/>
                  <a:pt x="119" y="146"/>
                </a:cubicBezTo>
                <a:close/>
                <a:moveTo>
                  <a:pt x="15" y="36"/>
                </a:moveTo>
                <a:cubicBezTo>
                  <a:pt x="109" y="129"/>
                  <a:pt x="109" y="129"/>
                  <a:pt x="109" y="129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14" y="135"/>
                  <a:pt x="123" y="135"/>
                  <a:pt x="129" y="129"/>
                </a:cubicBezTo>
                <a:cubicBezTo>
                  <a:pt x="132" y="126"/>
                  <a:pt x="133" y="123"/>
                  <a:pt x="133" y="119"/>
                </a:cubicBezTo>
                <a:cubicBezTo>
                  <a:pt x="133" y="115"/>
                  <a:pt x="132" y="112"/>
                  <a:pt x="129" y="109"/>
                </a:cubicBezTo>
                <a:cubicBezTo>
                  <a:pt x="36" y="16"/>
                  <a:pt x="36" y="16"/>
                  <a:pt x="36" y="16"/>
                </a:cubicBezTo>
                <a:lnTo>
                  <a:pt x="15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36" name="Freeform 382">
            <a:extLst>
              <a:ext uri="{FF2B5EF4-FFF2-40B4-BE49-F238E27FC236}">
                <a16:creationId xmlns:a16="http://schemas.microsoft.com/office/drawing/2014/main" id="{913FF1CC-4A7E-1C45-30EF-6D76F57591B4}"/>
              </a:ext>
            </a:extLst>
          </p:cNvPr>
          <p:cNvSpPr>
            <a:spLocks/>
          </p:cNvSpPr>
          <p:nvPr/>
        </p:nvSpPr>
        <p:spPr bwMode="auto">
          <a:xfrm>
            <a:off x="4626745" y="1502950"/>
            <a:ext cx="95892" cy="95892"/>
          </a:xfrm>
          <a:custGeom>
            <a:avLst/>
            <a:gdLst>
              <a:gd name="T0" fmla="*/ 6 w 99"/>
              <a:gd name="T1" fmla="*/ 100 h 100"/>
              <a:gd name="T2" fmla="*/ 0 w 99"/>
              <a:gd name="T3" fmla="*/ 94 h 100"/>
              <a:gd name="T4" fmla="*/ 93 w 99"/>
              <a:gd name="T5" fmla="*/ 0 h 100"/>
              <a:gd name="T6" fmla="*/ 99 w 99"/>
              <a:gd name="T7" fmla="*/ 6 h 100"/>
              <a:gd name="T8" fmla="*/ 93 w 99"/>
              <a:gd name="T9" fmla="*/ 12 h 100"/>
              <a:gd name="T10" fmla="*/ 12 w 99"/>
              <a:gd name="T11" fmla="*/ 94 h 100"/>
              <a:gd name="T12" fmla="*/ 6 w 99"/>
              <a:gd name="T13" fmla="*/ 10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" h="100">
                <a:moveTo>
                  <a:pt x="6" y="100"/>
                </a:moveTo>
                <a:cubicBezTo>
                  <a:pt x="3" y="100"/>
                  <a:pt x="0" y="97"/>
                  <a:pt x="0" y="94"/>
                </a:cubicBezTo>
                <a:cubicBezTo>
                  <a:pt x="0" y="42"/>
                  <a:pt x="42" y="0"/>
                  <a:pt x="93" y="0"/>
                </a:cubicBezTo>
                <a:cubicBezTo>
                  <a:pt x="97" y="0"/>
                  <a:pt x="99" y="3"/>
                  <a:pt x="99" y="6"/>
                </a:cubicBezTo>
                <a:cubicBezTo>
                  <a:pt x="99" y="10"/>
                  <a:pt x="97" y="12"/>
                  <a:pt x="93" y="12"/>
                </a:cubicBezTo>
                <a:cubicBezTo>
                  <a:pt x="48" y="12"/>
                  <a:pt x="12" y="49"/>
                  <a:pt x="12" y="94"/>
                </a:cubicBezTo>
                <a:cubicBezTo>
                  <a:pt x="12" y="97"/>
                  <a:pt x="9" y="100"/>
                  <a:pt x="6" y="10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37" name="Shape0_20220715_112204">
            <a:extLst>
              <a:ext uri="{FF2B5EF4-FFF2-40B4-BE49-F238E27FC236}">
                <a16:creationId xmlns:a16="http://schemas.microsoft.com/office/drawing/2014/main" id="{10C543DA-4AA4-F00A-9E65-1A4C8874DF14}"/>
              </a:ext>
            </a:extLst>
          </p:cNvPr>
          <p:cNvSpPr/>
          <p:nvPr/>
        </p:nvSpPr>
        <p:spPr>
          <a:xfrm>
            <a:off x="1582424" y="1135725"/>
            <a:ext cx="991300" cy="991300"/>
          </a:xfrm>
          <a:prstGeom prst="ellipse">
            <a:avLst/>
          </a:prstGeom>
          <a:solidFill>
            <a:srgbClr val="E0E0E0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38" name="Google Shape;2834;p45">
            <a:extLst>
              <a:ext uri="{FF2B5EF4-FFF2-40B4-BE49-F238E27FC236}">
                <a16:creationId xmlns:a16="http://schemas.microsoft.com/office/drawing/2014/main" id="{BB0445E4-2B33-B4CC-1559-153FB1E9FBB3}"/>
              </a:ext>
            </a:extLst>
          </p:cNvPr>
          <p:cNvSpPr/>
          <p:nvPr/>
        </p:nvSpPr>
        <p:spPr>
          <a:xfrm>
            <a:off x="1656186" y="1209490"/>
            <a:ext cx="843775" cy="8437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39" name="Freeform 44">
            <a:extLst>
              <a:ext uri="{FF2B5EF4-FFF2-40B4-BE49-F238E27FC236}">
                <a16:creationId xmlns:a16="http://schemas.microsoft.com/office/drawing/2014/main" id="{CB3951ED-A990-CFC9-05F8-27CA75623EC0}"/>
              </a:ext>
            </a:extLst>
          </p:cNvPr>
          <p:cNvSpPr>
            <a:spLocks noEditPoints="1"/>
          </p:cNvSpPr>
          <p:nvPr/>
        </p:nvSpPr>
        <p:spPr bwMode="auto">
          <a:xfrm>
            <a:off x="1985623" y="1540365"/>
            <a:ext cx="182015" cy="182015"/>
          </a:xfrm>
          <a:custGeom>
            <a:avLst/>
            <a:gdLst>
              <a:gd name="T0" fmla="*/ 114 w 228"/>
              <a:gd name="T1" fmla="*/ 228 h 228"/>
              <a:gd name="T2" fmla="*/ 0 w 228"/>
              <a:gd name="T3" fmla="*/ 114 h 228"/>
              <a:gd name="T4" fmla="*/ 114 w 228"/>
              <a:gd name="T5" fmla="*/ 0 h 228"/>
              <a:gd name="T6" fmla="*/ 228 w 228"/>
              <a:gd name="T7" fmla="*/ 114 h 228"/>
              <a:gd name="T8" fmla="*/ 114 w 228"/>
              <a:gd name="T9" fmla="*/ 228 h 228"/>
              <a:gd name="T10" fmla="*/ 114 w 228"/>
              <a:gd name="T11" fmla="*/ 12 h 228"/>
              <a:gd name="T12" fmla="*/ 12 w 228"/>
              <a:gd name="T13" fmla="*/ 114 h 228"/>
              <a:gd name="T14" fmla="*/ 114 w 228"/>
              <a:gd name="T15" fmla="*/ 216 h 228"/>
              <a:gd name="T16" fmla="*/ 216 w 228"/>
              <a:gd name="T17" fmla="*/ 114 h 228"/>
              <a:gd name="T18" fmla="*/ 114 w 228"/>
              <a:gd name="T19" fmla="*/ 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28">
                <a:moveTo>
                  <a:pt x="114" y="228"/>
                </a:moveTo>
                <a:cubicBezTo>
                  <a:pt x="51" y="228"/>
                  <a:pt x="0" y="177"/>
                  <a:pt x="0" y="114"/>
                </a:cubicBezTo>
                <a:cubicBezTo>
                  <a:pt x="0" y="51"/>
                  <a:pt x="51" y="0"/>
                  <a:pt x="114" y="0"/>
                </a:cubicBezTo>
                <a:cubicBezTo>
                  <a:pt x="177" y="0"/>
                  <a:pt x="228" y="51"/>
                  <a:pt x="228" y="114"/>
                </a:cubicBezTo>
                <a:cubicBezTo>
                  <a:pt x="228" y="177"/>
                  <a:pt x="177" y="228"/>
                  <a:pt x="114" y="228"/>
                </a:cubicBezTo>
                <a:close/>
                <a:moveTo>
                  <a:pt x="114" y="12"/>
                </a:moveTo>
                <a:cubicBezTo>
                  <a:pt x="58" y="12"/>
                  <a:pt x="12" y="58"/>
                  <a:pt x="12" y="114"/>
                </a:cubicBezTo>
                <a:cubicBezTo>
                  <a:pt x="12" y="170"/>
                  <a:pt x="58" y="216"/>
                  <a:pt x="114" y="216"/>
                </a:cubicBezTo>
                <a:cubicBezTo>
                  <a:pt x="170" y="216"/>
                  <a:pt x="216" y="170"/>
                  <a:pt x="216" y="114"/>
                </a:cubicBezTo>
                <a:cubicBezTo>
                  <a:pt x="216" y="58"/>
                  <a:pt x="170" y="12"/>
                  <a:pt x="114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40" name="Freeform 45">
            <a:extLst>
              <a:ext uri="{FF2B5EF4-FFF2-40B4-BE49-F238E27FC236}">
                <a16:creationId xmlns:a16="http://schemas.microsoft.com/office/drawing/2014/main" id="{8EE9A549-C45C-8341-B64B-4DAD33BF10A0}"/>
              </a:ext>
            </a:extLst>
          </p:cNvPr>
          <p:cNvSpPr>
            <a:spLocks noEditPoints="1"/>
          </p:cNvSpPr>
          <p:nvPr/>
        </p:nvSpPr>
        <p:spPr bwMode="auto">
          <a:xfrm>
            <a:off x="1904730" y="1459472"/>
            <a:ext cx="346692" cy="343806"/>
          </a:xfrm>
          <a:custGeom>
            <a:avLst/>
            <a:gdLst>
              <a:gd name="T0" fmla="*/ 204 w 432"/>
              <a:gd name="T1" fmla="*/ 432 h 432"/>
              <a:gd name="T2" fmla="*/ 172 w 432"/>
              <a:gd name="T3" fmla="*/ 379 h 432"/>
              <a:gd name="T4" fmla="*/ 116 w 432"/>
              <a:gd name="T5" fmla="*/ 378 h 432"/>
              <a:gd name="T6" fmla="*/ 54 w 432"/>
              <a:gd name="T7" fmla="*/ 360 h 432"/>
              <a:gd name="T8" fmla="*/ 54 w 432"/>
              <a:gd name="T9" fmla="*/ 316 h 432"/>
              <a:gd name="T10" fmla="*/ 53 w 432"/>
              <a:gd name="T11" fmla="*/ 260 h 432"/>
              <a:gd name="T12" fmla="*/ 0 w 432"/>
              <a:gd name="T13" fmla="*/ 228 h 432"/>
              <a:gd name="T14" fmla="*/ 31 w 432"/>
              <a:gd name="T15" fmla="*/ 172 h 432"/>
              <a:gd name="T16" fmla="*/ 70 w 432"/>
              <a:gd name="T17" fmla="*/ 132 h 432"/>
              <a:gd name="T18" fmla="*/ 45 w 432"/>
              <a:gd name="T19" fmla="*/ 94 h 432"/>
              <a:gd name="T20" fmla="*/ 72 w 432"/>
              <a:gd name="T21" fmla="*/ 54 h 432"/>
              <a:gd name="T22" fmla="*/ 132 w 432"/>
              <a:gd name="T23" fmla="*/ 70 h 432"/>
              <a:gd name="T24" fmla="*/ 172 w 432"/>
              <a:gd name="T25" fmla="*/ 31 h 432"/>
              <a:gd name="T26" fmla="*/ 229 w 432"/>
              <a:gd name="T27" fmla="*/ 0 h 432"/>
              <a:gd name="T28" fmla="*/ 260 w 432"/>
              <a:gd name="T29" fmla="*/ 53 h 432"/>
              <a:gd name="T30" fmla="*/ 316 w 432"/>
              <a:gd name="T31" fmla="*/ 54 h 432"/>
              <a:gd name="T32" fmla="*/ 378 w 432"/>
              <a:gd name="T33" fmla="*/ 72 h 432"/>
              <a:gd name="T34" fmla="*/ 378 w 432"/>
              <a:gd name="T35" fmla="*/ 116 h 432"/>
              <a:gd name="T36" fmla="*/ 379 w 432"/>
              <a:gd name="T37" fmla="*/ 172 h 432"/>
              <a:gd name="T38" fmla="*/ 432 w 432"/>
              <a:gd name="T39" fmla="*/ 203 h 432"/>
              <a:gd name="T40" fmla="*/ 401 w 432"/>
              <a:gd name="T41" fmla="*/ 260 h 432"/>
              <a:gd name="T42" fmla="*/ 362 w 432"/>
              <a:gd name="T43" fmla="*/ 300 h 432"/>
              <a:gd name="T44" fmla="*/ 387 w 432"/>
              <a:gd name="T45" fmla="*/ 338 h 432"/>
              <a:gd name="T46" fmla="*/ 360 w 432"/>
              <a:gd name="T47" fmla="*/ 378 h 432"/>
              <a:gd name="T48" fmla="*/ 300 w 432"/>
              <a:gd name="T49" fmla="*/ 362 h 432"/>
              <a:gd name="T50" fmla="*/ 260 w 432"/>
              <a:gd name="T51" fmla="*/ 401 h 432"/>
              <a:gd name="T52" fmla="*/ 131 w 432"/>
              <a:gd name="T53" fmla="*/ 348 h 432"/>
              <a:gd name="T54" fmla="*/ 180 w 432"/>
              <a:gd name="T55" fmla="*/ 368 h 432"/>
              <a:gd name="T56" fmla="*/ 185 w 432"/>
              <a:gd name="T57" fmla="*/ 401 h 432"/>
              <a:gd name="T58" fmla="*/ 229 w 432"/>
              <a:gd name="T59" fmla="*/ 420 h 432"/>
              <a:gd name="T60" fmla="*/ 248 w 432"/>
              <a:gd name="T61" fmla="*/ 374 h 432"/>
              <a:gd name="T62" fmla="*/ 298 w 432"/>
              <a:gd name="T63" fmla="*/ 349 h 432"/>
              <a:gd name="T64" fmla="*/ 325 w 432"/>
              <a:gd name="T65" fmla="*/ 369 h 432"/>
              <a:gd name="T66" fmla="*/ 369 w 432"/>
              <a:gd name="T67" fmla="*/ 351 h 432"/>
              <a:gd name="T68" fmla="*/ 351 w 432"/>
              <a:gd name="T69" fmla="*/ 306 h 432"/>
              <a:gd name="T70" fmla="*/ 349 w 432"/>
              <a:gd name="T71" fmla="*/ 298 h 432"/>
              <a:gd name="T72" fmla="*/ 374 w 432"/>
              <a:gd name="T73" fmla="*/ 247 h 432"/>
              <a:gd name="T74" fmla="*/ 420 w 432"/>
              <a:gd name="T75" fmla="*/ 228 h 432"/>
              <a:gd name="T76" fmla="*/ 401 w 432"/>
              <a:gd name="T77" fmla="*/ 184 h 432"/>
              <a:gd name="T78" fmla="*/ 368 w 432"/>
              <a:gd name="T79" fmla="*/ 180 h 432"/>
              <a:gd name="T80" fmla="*/ 350 w 432"/>
              <a:gd name="T81" fmla="*/ 126 h 432"/>
              <a:gd name="T82" fmla="*/ 369 w 432"/>
              <a:gd name="T83" fmla="*/ 80 h 432"/>
              <a:gd name="T84" fmla="*/ 325 w 432"/>
              <a:gd name="T85" fmla="*/ 63 h 432"/>
              <a:gd name="T86" fmla="*/ 298 w 432"/>
              <a:gd name="T87" fmla="*/ 83 h 432"/>
              <a:gd name="T88" fmla="*/ 248 w 432"/>
              <a:gd name="T89" fmla="*/ 58 h 432"/>
              <a:gd name="T90" fmla="*/ 229 w 432"/>
              <a:gd name="T91" fmla="*/ 12 h 432"/>
              <a:gd name="T92" fmla="*/ 185 w 432"/>
              <a:gd name="T93" fmla="*/ 31 h 432"/>
              <a:gd name="T94" fmla="*/ 180 w 432"/>
              <a:gd name="T95" fmla="*/ 64 h 432"/>
              <a:gd name="T96" fmla="*/ 127 w 432"/>
              <a:gd name="T97" fmla="*/ 82 h 432"/>
              <a:gd name="T98" fmla="*/ 81 w 432"/>
              <a:gd name="T99" fmla="*/ 63 h 432"/>
              <a:gd name="T100" fmla="*/ 57 w 432"/>
              <a:gd name="T101" fmla="*/ 94 h 432"/>
              <a:gd name="T102" fmla="*/ 82 w 432"/>
              <a:gd name="T103" fmla="*/ 126 h 432"/>
              <a:gd name="T104" fmla="*/ 64 w 432"/>
              <a:gd name="T105" fmla="*/ 180 h 432"/>
              <a:gd name="T106" fmla="*/ 31 w 432"/>
              <a:gd name="T107" fmla="*/ 184 h 432"/>
              <a:gd name="T108" fmla="*/ 12 w 432"/>
              <a:gd name="T109" fmla="*/ 228 h 432"/>
              <a:gd name="T110" fmla="*/ 58 w 432"/>
              <a:gd name="T111" fmla="*/ 247 h 432"/>
              <a:gd name="T112" fmla="*/ 83 w 432"/>
              <a:gd name="T113" fmla="*/ 298 h 432"/>
              <a:gd name="T114" fmla="*/ 82 w 432"/>
              <a:gd name="T115" fmla="*/ 306 h 432"/>
              <a:gd name="T116" fmla="*/ 57 w 432"/>
              <a:gd name="T117" fmla="*/ 338 h 432"/>
              <a:gd name="T118" fmla="*/ 81 w 432"/>
              <a:gd name="T119" fmla="*/ 369 h 432"/>
              <a:gd name="T120" fmla="*/ 126 w 432"/>
              <a:gd name="T121" fmla="*/ 35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2" h="432">
                <a:moveTo>
                  <a:pt x="229" y="432"/>
                </a:moveTo>
                <a:cubicBezTo>
                  <a:pt x="204" y="432"/>
                  <a:pt x="204" y="432"/>
                  <a:pt x="204" y="432"/>
                </a:cubicBezTo>
                <a:cubicBezTo>
                  <a:pt x="186" y="432"/>
                  <a:pt x="172" y="418"/>
                  <a:pt x="172" y="401"/>
                </a:cubicBezTo>
                <a:cubicBezTo>
                  <a:pt x="172" y="379"/>
                  <a:pt x="172" y="379"/>
                  <a:pt x="172" y="379"/>
                </a:cubicBezTo>
                <a:cubicBezTo>
                  <a:pt x="158" y="375"/>
                  <a:pt x="145" y="369"/>
                  <a:pt x="132" y="362"/>
                </a:cubicBezTo>
                <a:cubicBezTo>
                  <a:pt x="116" y="378"/>
                  <a:pt x="116" y="378"/>
                  <a:pt x="116" y="378"/>
                </a:cubicBezTo>
                <a:cubicBezTo>
                  <a:pt x="104" y="390"/>
                  <a:pt x="84" y="390"/>
                  <a:pt x="72" y="378"/>
                </a:cubicBezTo>
                <a:cubicBezTo>
                  <a:pt x="54" y="360"/>
                  <a:pt x="54" y="360"/>
                  <a:pt x="54" y="360"/>
                </a:cubicBezTo>
                <a:cubicBezTo>
                  <a:pt x="48" y="354"/>
                  <a:pt x="45" y="346"/>
                  <a:pt x="45" y="338"/>
                </a:cubicBezTo>
                <a:cubicBezTo>
                  <a:pt x="45" y="329"/>
                  <a:pt x="48" y="322"/>
                  <a:pt x="54" y="316"/>
                </a:cubicBezTo>
                <a:cubicBezTo>
                  <a:pt x="70" y="300"/>
                  <a:pt x="70" y="300"/>
                  <a:pt x="70" y="300"/>
                </a:cubicBezTo>
                <a:cubicBezTo>
                  <a:pt x="63" y="287"/>
                  <a:pt x="57" y="274"/>
                  <a:pt x="53" y="260"/>
                </a:cubicBezTo>
                <a:cubicBezTo>
                  <a:pt x="31" y="260"/>
                  <a:pt x="31" y="260"/>
                  <a:pt x="31" y="260"/>
                </a:cubicBezTo>
                <a:cubicBezTo>
                  <a:pt x="14" y="260"/>
                  <a:pt x="0" y="246"/>
                  <a:pt x="0" y="228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186"/>
                  <a:pt x="14" y="172"/>
                  <a:pt x="31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7" y="158"/>
                  <a:pt x="63" y="144"/>
                  <a:pt x="70" y="132"/>
                </a:cubicBezTo>
                <a:cubicBezTo>
                  <a:pt x="54" y="116"/>
                  <a:pt x="54" y="116"/>
                  <a:pt x="54" y="116"/>
                </a:cubicBezTo>
                <a:cubicBezTo>
                  <a:pt x="48" y="110"/>
                  <a:pt x="45" y="102"/>
                  <a:pt x="45" y="94"/>
                </a:cubicBezTo>
                <a:cubicBezTo>
                  <a:pt x="45" y="85"/>
                  <a:pt x="48" y="78"/>
                  <a:pt x="54" y="72"/>
                </a:cubicBezTo>
                <a:cubicBezTo>
                  <a:pt x="72" y="54"/>
                  <a:pt x="72" y="54"/>
                  <a:pt x="72" y="54"/>
                </a:cubicBezTo>
                <a:cubicBezTo>
                  <a:pt x="84" y="42"/>
                  <a:pt x="104" y="42"/>
                  <a:pt x="116" y="54"/>
                </a:cubicBezTo>
                <a:cubicBezTo>
                  <a:pt x="132" y="70"/>
                  <a:pt x="132" y="70"/>
                  <a:pt x="132" y="70"/>
                </a:cubicBezTo>
                <a:cubicBezTo>
                  <a:pt x="145" y="62"/>
                  <a:pt x="158" y="57"/>
                  <a:pt x="172" y="53"/>
                </a:cubicBezTo>
                <a:cubicBezTo>
                  <a:pt x="172" y="31"/>
                  <a:pt x="172" y="31"/>
                  <a:pt x="172" y="31"/>
                </a:cubicBezTo>
                <a:cubicBezTo>
                  <a:pt x="172" y="14"/>
                  <a:pt x="186" y="0"/>
                  <a:pt x="204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46" y="0"/>
                  <a:pt x="260" y="14"/>
                  <a:pt x="260" y="31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74" y="57"/>
                  <a:pt x="288" y="62"/>
                  <a:pt x="300" y="70"/>
                </a:cubicBezTo>
                <a:cubicBezTo>
                  <a:pt x="316" y="54"/>
                  <a:pt x="316" y="54"/>
                  <a:pt x="316" y="54"/>
                </a:cubicBezTo>
                <a:cubicBezTo>
                  <a:pt x="328" y="42"/>
                  <a:pt x="348" y="42"/>
                  <a:pt x="360" y="54"/>
                </a:cubicBezTo>
                <a:cubicBezTo>
                  <a:pt x="378" y="72"/>
                  <a:pt x="378" y="72"/>
                  <a:pt x="378" y="72"/>
                </a:cubicBezTo>
                <a:cubicBezTo>
                  <a:pt x="384" y="78"/>
                  <a:pt x="387" y="85"/>
                  <a:pt x="387" y="94"/>
                </a:cubicBezTo>
                <a:cubicBezTo>
                  <a:pt x="387" y="102"/>
                  <a:pt x="384" y="110"/>
                  <a:pt x="378" y="116"/>
                </a:cubicBezTo>
                <a:cubicBezTo>
                  <a:pt x="362" y="132"/>
                  <a:pt x="362" y="132"/>
                  <a:pt x="362" y="132"/>
                </a:cubicBezTo>
                <a:cubicBezTo>
                  <a:pt x="370" y="144"/>
                  <a:pt x="375" y="158"/>
                  <a:pt x="379" y="172"/>
                </a:cubicBezTo>
                <a:cubicBezTo>
                  <a:pt x="401" y="172"/>
                  <a:pt x="401" y="172"/>
                  <a:pt x="401" y="172"/>
                </a:cubicBezTo>
                <a:cubicBezTo>
                  <a:pt x="418" y="172"/>
                  <a:pt x="432" y="186"/>
                  <a:pt x="432" y="203"/>
                </a:cubicBezTo>
                <a:cubicBezTo>
                  <a:pt x="432" y="228"/>
                  <a:pt x="432" y="228"/>
                  <a:pt x="432" y="228"/>
                </a:cubicBezTo>
                <a:cubicBezTo>
                  <a:pt x="432" y="246"/>
                  <a:pt x="418" y="260"/>
                  <a:pt x="401" y="260"/>
                </a:cubicBezTo>
                <a:cubicBezTo>
                  <a:pt x="379" y="260"/>
                  <a:pt x="379" y="260"/>
                  <a:pt x="379" y="260"/>
                </a:cubicBezTo>
                <a:cubicBezTo>
                  <a:pt x="375" y="274"/>
                  <a:pt x="370" y="287"/>
                  <a:pt x="362" y="300"/>
                </a:cubicBezTo>
                <a:cubicBezTo>
                  <a:pt x="378" y="316"/>
                  <a:pt x="378" y="316"/>
                  <a:pt x="378" y="316"/>
                </a:cubicBezTo>
                <a:cubicBezTo>
                  <a:pt x="384" y="322"/>
                  <a:pt x="387" y="329"/>
                  <a:pt x="387" y="338"/>
                </a:cubicBezTo>
                <a:cubicBezTo>
                  <a:pt x="387" y="346"/>
                  <a:pt x="384" y="354"/>
                  <a:pt x="378" y="360"/>
                </a:cubicBezTo>
                <a:cubicBezTo>
                  <a:pt x="360" y="378"/>
                  <a:pt x="360" y="378"/>
                  <a:pt x="360" y="378"/>
                </a:cubicBezTo>
                <a:cubicBezTo>
                  <a:pt x="348" y="390"/>
                  <a:pt x="328" y="390"/>
                  <a:pt x="316" y="378"/>
                </a:cubicBezTo>
                <a:cubicBezTo>
                  <a:pt x="300" y="362"/>
                  <a:pt x="300" y="362"/>
                  <a:pt x="300" y="362"/>
                </a:cubicBezTo>
                <a:cubicBezTo>
                  <a:pt x="288" y="369"/>
                  <a:pt x="274" y="375"/>
                  <a:pt x="260" y="379"/>
                </a:cubicBezTo>
                <a:cubicBezTo>
                  <a:pt x="260" y="401"/>
                  <a:pt x="260" y="401"/>
                  <a:pt x="260" y="401"/>
                </a:cubicBezTo>
                <a:cubicBezTo>
                  <a:pt x="260" y="418"/>
                  <a:pt x="246" y="432"/>
                  <a:pt x="229" y="432"/>
                </a:cubicBezTo>
                <a:close/>
                <a:moveTo>
                  <a:pt x="131" y="348"/>
                </a:moveTo>
                <a:cubicBezTo>
                  <a:pt x="132" y="348"/>
                  <a:pt x="133" y="349"/>
                  <a:pt x="134" y="349"/>
                </a:cubicBezTo>
                <a:cubicBezTo>
                  <a:pt x="148" y="358"/>
                  <a:pt x="164" y="364"/>
                  <a:pt x="180" y="368"/>
                </a:cubicBezTo>
                <a:cubicBezTo>
                  <a:pt x="183" y="369"/>
                  <a:pt x="185" y="371"/>
                  <a:pt x="185" y="374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185" y="411"/>
                  <a:pt x="193" y="420"/>
                  <a:pt x="204" y="420"/>
                </a:cubicBezTo>
                <a:cubicBezTo>
                  <a:pt x="229" y="420"/>
                  <a:pt x="229" y="420"/>
                  <a:pt x="229" y="420"/>
                </a:cubicBezTo>
                <a:cubicBezTo>
                  <a:pt x="239" y="420"/>
                  <a:pt x="248" y="411"/>
                  <a:pt x="248" y="401"/>
                </a:cubicBezTo>
                <a:cubicBezTo>
                  <a:pt x="248" y="374"/>
                  <a:pt x="248" y="374"/>
                  <a:pt x="248" y="374"/>
                </a:cubicBezTo>
                <a:cubicBezTo>
                  <a:pt x="248" y="371"/>
                  <a:pt x="250" y="369"/>
                  <a:pt x="252" y="368"/>
                </a:cubicBezTo>
                <a:cubicBezTo>
                  <a:pt x="269" y="364"/>
                  <a:pt x="284" y="358"/>
                  <a:pt x="298" y="349"/>
                </a:cubicBezTo>
                <a:cubicBezTo>
                  <a:pt x="301" y="348"/>
                  <a:pt x="304" y="348"/>
                  <a:pt x="306" y="350"/>
                </a:cubicBezTo>
                <a:cubicBezTo>
                  <a:pt x="325" y="369"/>
                  <a:pt x="325" y="369"/>
                  <a:pt x="325" y="369"/>
                </a:cubicBezTo>
                <a:cubicBezTo>
                  <a:pt x="332" y="376"/>
                  <a:pt x="344" y="376"/>
                  <a:pt x="352" y="369"/>
                </a:cubicBezTo>
                <a:cubicBezTo>
                  <a:pt x="369" y="351"/>
                  <a:pt x="369" y="351"/>
                  <a:pt x="369" y="351"/>
                </a:cubicBezTo>
                <a:cubicBezTo>
                  <a:pt x="377" y="344"/>
                  <a:pt x="377" y="332"/>
                  <a:pt x="369" y="324"/>
                </a:cubicBezTo>
                <a:cubicBezTo>
                  <a:pt x="351" y="306"/>
                  <a:pt x="351" y="306"/>
                  <a:pt x="351" y="306"/>
                </a:cubicBezTo>
                <a:cubicBezTo>
                  <a:pt x="349" y="304"/>
                  <a:pt x="348" y="302"/>
                  <a:pt x="349" y="299"/>
                </a:cubicBezTo>
                <a:cubicBezTo>
                  <a:pt x="349" y="299"/>
                  <a:pt x="349" y="298"/>
                  <a:pt x="349" y="298"/>
                </a:cubicBezTo>
                <a:cubicBezTo>
                  <a:pt x="358" y="284"/>
                  <a:pt x="364" y="268"/>
                  <a:pt x="368" y="252"/>
                </a:cubicBezTo>
                <a:cubicBezTo>
                  <a:pt x="369" y="249"/>
                  <a:pt x="371" y="247"/>
                  <a:pt x="374" y="247"/>
                </a:cubicBezTo>
                <a:cubicBezTo>
                  <a:pt x="401" y="247"/>
                  <a:pt x="401" y="247"/>
                  <a:pt x="401" y="247"/>
                </a:cubicBezTo>
                <a:cubicBezTo>
                  <a:pt x="412" y="247"/>
                  <a:pt x="420" y="239"/>
                  <a:pt x="420" y="228"/>
                </a:cubicBezTo>
                <a:cubicBezTo>
                  <a:pt x="420" y="203"/>
                  <a:pt x="420" y="203"/>
                  <a:pt x="420" y="203"/>
                </a:cubicBezTo>
                <a:cubicBezTo>
                  <a:pt x="420" y="193"/>
                  <a:pt x="412" y="184"/>
                  <a:pt x="401" y="184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71" y="184"/>
                  <a:pt x="369" y="182"/>
                  <a:pt x="368" y="180"/>
                </a:cubicBezTo>
                <a:cubicBezTo>
                  <a:pt x="364" y="163"/>
                  <a:pt x="358" y="148"/>
                  <a:pt x="349" y="134"/>
                </a:cubicBezTo>
                <a:cubicBezTo>
                  <a:pt x="348" y="131"/>
                  <a:pt x="348" y="128"/>
                  <a:pt x="350" y="12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77" y="100"/>
                  <a:pt x="377" y="88"/>
                  <a:pt x="369" y="80"/>
                </a:cubicBezTo>
                <a:cubicBezTo>
                  <a:pt x="352" y="63"/>
                  <a:pt x="352" y="63"/>
                  <a:pt x="352" y="63"/>
                </a:cubicBezTo>
                <a:cubicBezTo>
                  <a:pt x="344" y="55"/>
                  <a:pt x="332" y="55"/>
                  <a:pt x="325" y="63"/>
                </a:cubicBezTo>
                <a:cubicBezTo>
                  <a:pt x="306" y="82"/>
                  <a:pt x="306" y="82"/>
                  <a:pt x="306" y="82"/>
                </a:cubicBezTo>
                <a:cubicBezTo>
                  <a:pt x="304" y="84"/>
                  <a:pt x="300" y="84"/>
                  <a:pt x="298" y="83"/>
                </a:cubicBezTo>
                <a:cubicBezTo>
                  <a:pt x="284" y="74"/>
                  <a:pt x="269" y="68"/>
                  <a:pt x="252" y="64"/>
                </a:cubicBezTo>
                <a:cubicBezTo>
                  <a:pt x="250" y="63"/>
                  <a:pt x="248" y="61"/>
                  <a:pt x="248" y="58"/>
                </a:cubicBezTo>
                <a:cubicBezTo>
                  <a:pt x="248" y="31"/>
                  <a:pt x="248" y="31"/>
                  <a:pt x="248" y="31"/>
                </a:cubicBezTo>
                <a:cubicBezTo>
                  <a:pt x="248" y="20"/>
                  <a:pt x="239" y="12"/>
                  <a:pt x="229" y="12"/>
                </a:cubicBezTo>
                <a:cubicBezTo>
                  <a:pt x="204" y="12"/>
                  <a:pt x="204" y="12"/>
                  <a:pt x="204" y="12"/>
                </a:cubicBezTo>
                <a:cubicBezTo>
                  <a:pt x="193" y="12"/>
                  <a:pt x="185" y="20"/>
                  <a:pt x="185" y="31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61"/>
                  <a:pt x="183" y="63"/>
                  <a:pt x="180" y="64"/>
                </a:cubicBezTo>
                <a:cubicBezTo>
                  <a:pt x="164" y="68"/>
                  <a:pt x="148" y="74"/>
                  <a:pt x="134" y="83"/>
                </a:cubicBezTo>
                <a:cubicBezTo>
                  <a:pt x="132" y="84"/>
                  <a:pt x="129" y="84"/>
                  <a:pt x="127" y="8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0" y="55"/>
                  <a:pt x="88" y="55"/>
                  <a:pt x="81" y="63"/>
                </a:cubicBezTo>
                <a:cubicBezTo>
                  <a:pt x="63" y="80"/>
                  <a:pt x="63" y="80"/>
                  <a:pt x="63" y="80"/>
                </a:cubicBezTo>
                <a:cubicBezTo>
                  <a:pt x="59" y="84"/>
                  <a:pt x="57" y="89"/>
                  <a:pt x="57" y="94"/>
                </a:cubicBezTo>
                <a:cubicBezTo>
                  <a:pt x="57" y="99"/>
                  <a:pt x="59" y="104"/>
                  <a:pt x="63" y="10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8"/>
                  <a:pt x="84" y="131"/>
                  <a:pt x="83" y="134"/>
                </a:cubicBezTo>
                <a:cubicBezTo>
                  <a:pt x="74" y="148"/>
                  <a:pt x="68" y="163"/>
                  <a:pt x="64" y="180"/>
                </a:cubicBezTo>
                <a:cubicBezTo>
                  <a:pt x="63" y="182"/>
                  <a:pt x="61" y="184"/>
                  <a:pt x="58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21" y="184"/>
                  <a:pt x="12" y="193"/>
                  <a:pt x="12" y="203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9"/>
                  <a:pt x="21" y="247"/>
                  <a:pt x="31" y="247"/>
                </a:cubicBezTo>
                <a:cubicBezTo>
                  <a:pt x="58" y="247"/>
                  <a:pt x="58" y="247"/>
                  <a:pt x="58" y="247"/>
                </a:cubicBezTo>
                <a:cubicBezTo>
                  <a:pt x="61" y="247"/>
                  <a:pt x="63" y="249"/>
                  <a:pt x="64" y="252"/>
                </a:cubicBezTo>
                <a:cubicBezTo>
                  <a:pt x="68" y="268"/>
                  <a:pt x="74" y="284"/>
                  <a:pt x="83" y="298"/>
                </a:cubicBezTo>
                <a:cubicBezTo>
                  <a:pt x="83" y="298"/>
                  <a:pt x="83" y="299"/>
                  <a:pt x="83" y="299"/>
                </a:cubicBezTo>
                <a:cubicBezTo>
                  <a:pt x="84" y="302"/>
                  <a:pt x="83" y="304"/>
                  <a:pt x="82" y="306"/>
                </a:cubicBezTo>
                <a:cubicBezTo>
                  <a:pt x="63" y="324"/>
                  <a:pt x="63" y="324"/>
                  <a:pt x="63" y="324"/>
                </a:cubicBezTo>
                <a:cubicBezTo>
                  <a:pt x="59" y="328"/>
                  <a:pt x="57" y="333"/>
                  <a:pt x="57" y="338"/>
                </a:cubicBezTo>
                <a:cubicBezTo>
                  <a:pt x="57" y="343"/>
                  <a:pt x="59" y="348"/>
                  <a:pt x="63" y="351"/>
                </a:cubicBezTo>
                <a:cubicBezTo>
                  <a:pt x="81" y="369"/>
                  <a:pt x="81" y="369"/>
                  <a:pt x="81" y="369"/>
                </a:cubicBezTo>
                <a:cubicBezTo>
                  <a:pt x="88" y="376"/>
                  <a:pt x="100" y="376"/>
                  <a:pt x="108" y="369"/>
                </a:cubicBezTo>
                <a:cubicBezTo>
                  <a:pt x="126" y="350"/>
                  <a:pt x="126" y="350"/>
                  <a:pt x="126" y="350"/>
                </a:cubicBezTo>
                <a:cubicBezTo>
                  <a:pt x="127" y="349"/>
                  <a:pt x="129" y="348"/>
                  <a:pt x="131" y="3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41" name="Shape3_20220715_112204">
            <a:extLst>
              <a:ext uri="{FF2B5EF4-FFF2-40B4-BE49-F238E27FC236}">
                <a16:creationId xmlns:a16="http://schemas.microsoft.com/office/drawing/2014/main" id="{EFB552B4-35BF-63A5-2AFF-9D07B016FFA0}"/>
              </a:ext>
            </a:extLst>
          </p:cNvPr>
          <p:cNvSpPr/>
          <p:nvPr/>
        </p:nvSpPr>
        <p:spPr>
          <a:xfrm>
            <a:off x="9608590" y="1135725"/>
            <a:ext cx="991300" cy="991300"/>
          </a:xfrm>
          <a:prstGeom prst="ellipse">
            <a:avLst/>
          </a:prstGeom>
          <a:solidFill>
            <a:srgbClr val="E0E0E0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42" name="Google Shape;2841;p45">
            <a:extLst>
              <a:ext uri="{FF2B5EF4-FFF2-40B4-BE49-F238E27FC236}">
                <a16:creationId xmlns:a16="http://schemas.microsoft.com/office/drawing/2014/main" id="{9737CAAB-733F-8BD6-19A0-EBB1F1DEAD56}"/>
              </a:ext>
            </a:extLst>
          </p:cNvPr>
          <p:cNvSpPr/>
          <p:nvPr/>
        </p:nvSpPr>
        <p:spPr>
          <a:xfrm>
            <a:off x="9682353" y="1209490"/>
            <a:ext cx="843775" cy="84377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43" name="Freeform 156">
            <a:extLst>
              <a:ext uri="{FF2B5EF4-FFF2-40B4-BE49-F238E27FC236}">
                <a16:creationId xmlns:a16="http://schemas.microsoft.com/office/drawing/2014/main" id="{5C1F2F2C-F9C6-6DB5-4311-7271433809EA}"/>
              </a:ext>
            </a:extLst>
          </p:cNvPr>
          <p:cNvSpPr>
            <a:spLocks noEditPoints="1"/>
          </p:cNvSpPr>
          <p:nvPr/>
        </p:nvSpPr>
        <p:spPr bwMode="auto">
          <a:xfrm>
            <a:off x="10010557" y="1569441"/>
            <a:ext cx="187368" cy="139356"/>
          </a:xfrm>
          <a:custGeom>
            <a:avLst/>
            <a:gdLst>
              <a:gd name="T0" fmla="*/ 90 w 218"/>
              <a:gd name="T1" fmla="*/ 163 h 163"/>
              <a:gd name="T2" fmla="*/ 86 w 218"/>
              <a:gd name="T3" fmla="*/ 161 h 163"/>
              <a:gd name="T4" fmla="*/ 2 w 218"/>
              <a:gd name="T5" fmla="*/ 77 h 163"/>
              <a:gd name="T6" fmla="*/ 2 w 218"/>
              <a:gd name="T7" fmla="*/ 68 h 163"/>
              <a:gd name="T8" fmla="*/ 31 w 218"/>
              <a:gd name="T9" fmla="*/ 39 h 163"/>
              <a:gd name="T10" fmla="*/ 40 w 218"/>
              <a:gd name="T11" fmla="*/ 39 h 163"/>
              <a:gd name="T12" fmla="*/ 90 w 218"/>
              <a:gd name="T13" fmla="*/ 90 h 163"/>
              <a:gd name="T14" fmla="*/ 177 w 218"/>
              <a:gd name="T15" fmla="*/ 2 h 163"/>
              <a:gd name="T16" fmla="*/ 186 w 218"/>
              <a:gd name="T17" fmla="*/ 2 h 163"/>
              <a:gd name="T18" fmla="*/ 215 w 218"/>
              <a:gd name="T19" fmla="*/ 32 h 163"/>
              <a:gd name="T20" fmla="*/ 215 w 218"/>
              <a:gd name="T21" fmla="*/ 40 h 163"/>
              <a:gd name="T22" fmla="*/ 95 w 218"/>
              <a:gd name="T23" fmla="*/ 161 h 163"/>
              <a:gd name="T24" fmla="*/ 90 w 218"/>
              <a:gd name="T25" fmla="*/ 163 h 163"/>
              <a:gd name="T26" fmla="*/ 15 w 218"/>
              <a:gd name="T27" fmla="*/ 73 h 163"/>
              <a:gd name="T28" fmla="*/ 90 w 218"/>
              <a:gd name="T29" fmla="*/ 148 h 163"/>
              <a:gd name="T30" fmla="*/ 202 w 218"/>
              <a:gd name="T31" fmla="*/ 36 h 163"/>
              <a:gd name="T32" fmla="*/ 182 w 218"/>
              <a:gd name="T33" fmla="*/ 15 h 163"/>
              <a:gd name="T34" fmla="*/ 95 w 218"/>
              <a:gd name="T35" fmla="*/ 103 h 163"/>
              <a:gd name="T36" fmla="*/ 86 w 218"/>
              <a:gd name="T37" fmla="*/ 103 h 163"/>
              <a:gd name="T38" fmla="*/ 35 w 218"/>
              <a:gd name="T39" fmla="*/ 52 h 163"/>
              <a:gd name="T40" fmla="*/ 15 w 218"/>
              <a:gd name="T41" fmla="*/ 7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8" h="163">
                <a:moveTo>
                  <a:pt x="90" y="163"/>
                </a:moveTo>
                <a:cubicBezTo>
                  <a:pt x="89" y="163"/>
                  <a:pt x="87" y="162"/>
                  <a:pt x="86" y="161"/>
                </a:cubicBezTo>
                <a:cubicBezTo>
                  <a:pt x="2" y="77"/>
                  <a:pt x="2" y="77"/>
                  <a:pt x="2" y="77"/>
                </a:cubicBezTo>
                <a:cubicBezTo>
                  <a:pt x="0" y="75"/>
                  <a:pt x="0" y="71"/>
                  <a:pt x="2" y="68"/>
                </a:cubicBezTo>
                <a:cubicBezTo>
                  <a:pt x="31" y="39"/>
                  <a:pt x="31" y="39"/>
                  <a:pt x="31" y="39"/>
                </a:cubicBezTo>
                <a:cubicBezTo>
                  <a:pt x="33" y="37"/>
                  <a:pt x="38" y="37"/>
                  <a:pt x="40" y="39"/>
                </a:cubicBezTo>
                <a:cubicBezTo>
                  <a:pt x="90" y="90"/>
                  <a:pt x="90" y="90"/>
                  <a:pt x="90" y="90"/>
                </a:cubicBezTo>
                <a:cubicBezTo>
                  <a:pt x="177" y="2"/>
                  <a:pt x="177" y="2"/>
                  <a:pt x="177" y="2"/>
                </a:cubicBezTo>
                <a:cubicBezTo>
                  <a:pt x="180" y="0"/>
                  <a:pt x="184" y="0"/>
                  <a:pt x="186" y="2"/>
                </a:cubicBezTo>
                <a:cubicBezTo>
                  <a:pt x="215" y="32"/>
                  <a:pt x="215" y="32"/>
                  <a:pt x="215" y="32"/>
                </a:cubicBezTo>
                <a:cubicBezTo>
                  <a:pt x="218" y="34"/>
                  <a:pt x="218" y="38"/>
                  <a:pt x="215" y="4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3" y="162"/>
                  <a:pt x="92" y="163"/>
                  <a:pt x="90" y="163"/>
                </a:cubicBezTo>
                <a:close/>
                <a:moveTo>
                  <a:pt x="15" y="73"/>
                </a:moveTo>
                <a:cubicBezTo>
                  <a:pt x="90" y="148"/>
                  <a:pt x="90" y="148"/>
                  <a:pt x="90" y="14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182" y="15"/>
                  <a:pt x="182" y="15"/>
                  <a:pt x="182" y="15"/>
                </a:cubicBezTo>
                <a:cubicBezTo>
                  <a:pt x="95" y="103"/>
                  <a:pt x="95" y="103"/>
                  <a:pt x="95" y="103"/>
                </a:cubicBezTo>
                <a:cubicBezTo>
                  <a:pt x="92" y="105"/>
                  <a:pt x="88" y="105"/>
                  <a:pt x="86" y="103"/>
                </a:cubicBezTo>
                <a:cubicBezTo>
                  <a:pt x="35" y="52"/>
                  <a:pt x="35" y="52"/>
                  <a:pt x="35" y="52"/>
                </a:cubicBezTo>
                <a:lnTo>
                  <a:pt x="15" y="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44" name="Freeform 157">
            <a:extLst>
              <a:ext uri="{FF2B5EF4-FFF2-40B4-BE49-F238E27FC236}">
                <a16:creationId xmlns:a16="http://schemas.microsoft.com/office/drawing/2014/main" id="{600E18D7-C397-5CEA-77B8-204814E7D104}"/>
              </a:ext>
            </a:extLst>
          </p:cNvPr>
          <p:cNvSpPr>
            <a:spLocks noEditPoints="1"/>
          </p:cNvSpPr>
          <p:nvPr/>
        </p:nvSpPr>
        <p:spPr bwMode="auto">
          <a:xfrm>
            <a:off x="9916873" y="1445567"/>
            <a:ext cx="374736" cy="371618"/>
          </a:xfrm>
          <a:custGeom>
            <a:avLst/>
            <a:gdLst>
              <a:gd name="T0" fmla="*/ 191 w 436"/>
              <a:gd name="T1" fmla="*/ 422 h 433"/>
              <a:gd name="T2" fmla="*/ 116 w 436"/>
              <a:gd name="T3" fmla="*/ 397 h 433"/>
              <a:gd name="T4" fmla="*/ 93 w 436"/>
              <a:gd name="T5" fmla="*/ 381 h 433"/>
              <a:gd name="T6" fmla="*/ 55 w 436"/>
              <a:gd name="T7" fmla="*/ 344 h 433"/>
              <a:gd name="T8" fmla="*/ 20 w 436"/>
              <a:gd name="T9" fmla="*/ 301 h 433"/>
              <a:gd name="T10" fmla="*/ 20 w 436"/>
              <a:gd name="T11" fmla="*/ 272 h 433"/>
              <a:gd name="T12" fmla="*/ 14 w 436"/>
              <a:gd name="T13" fmla="*/ 244 h 433"/>
              <a:gd name="T14" fmla="*/ 19 w 436"/>
              <a:gd name="T15" fmla="*/ 165 h 433"/>
              <a:gd name="T16" fmla="*/ 40 w 436"/>
              <a:gd name="T17" fmla="*/ 116 h 433"/>
              <a:gd name="T18" fmla="*/ 55 w 436"/>
              <a:gd name="T19" fmla="*/ 93 h 433"/>
              <a:gd name="T20" fmla="*/ 115 w 436"/>
              <a:gd name="T21" fmla="*/ 40 h 433"/>
              <a:gd name="T22" fmla="*/ 164 w 436"/>
              <a:gd name="T23" fmla="*/ 21 h 433"/>
              <a:gd name="T24" fmla="*/ 191 w 436"/>
              <a:gd name="T25" fmla="*/ 15 h 433"/>
              <a:gd name="T26" fmla="*/ 271 w 436"/>
              <a:gd name="T27" fmla="*/ 20 h 433"/>
              <a:gd name="T28" fmla="*/ 319 w 436"/>
              <a:gd name="T29" fmla="*/ 41 h 433"/>
              <a:gd name="T30" fmla="*/ 343 w 436"/>
              <a:gd name="T31" fmla="*/ 56 h 433"/>
              <a:gd name="T32" fmla="*/ 395 w 436"/>
              <a:gd name="T33" fmla="*/ 116 h 433"/>
              <a:gd name="T34" fmla="*/ 415 w 436"/>
              <a:gd name="T35" fmla="*/ 164 h 433"/>
              <a:gd name="T36" fmla="*/ 420 w 436"/>
              <a:gd name="T37" fmla="*/ 191 h 433"/>
              <a:gd name="T38" fmla="*/ 421 w 436"/>
              <a:gd name="T39" fmla="*/ 244 h 433"/>
              <a:gd name="T40" fmla="*/ 416 w 436"/>
              <a:gd name="T41" fmla="*/ 271 h 433"/>
              <a:gd name="T42" fmla="*/ 395 w 436"/>
              <a:gd name="T43" fmla="*/ 320 h 433"/>
              <a:gd name="T44" fmla="*/ 380 w 436"/>
              <a:gd name="T45" fmla="*/ 344 h 433"/>
              <a:gd name="T46" fmla="*/ 320 w 436"/>
              <a:gd name="T47" fmla="*/ 396 h 433"/>
              <a:gd name="T48" fmla="*/ 272 w 436"/>
              <a:gd name="T49" fmla="*/ 416 h 433"/>
              <a:gd name="T50" fmla="*/ 244 w 436"/>
              <a:gd name="T51" fmla="*/ 421 h 433"/>
              <a:gd name="T52" fmla="*/ 218 w 436"/>
              <a:gd name="T53" fmla="*/ 433 h 433"/>
              <a:gd name="T54" fmla="*/ 200 w 436"/>
              <a:gd name="T55" fmla="*/ 413 h 433"/>
              <a:gd name="T56" fmla="*/ 236 w 436"/>
              <a:gd name="T57" fmla="*/ 412 h 433"/>
              <a:gd name="T58" fmla="*/ 277 w 436"/>
              <a:gd name="T59" fmla="*/ 405 h 433"/>
              <a:gd name="T60" fmla="*/ 309 w 436"/>
              <a:gd name="T61" fmla="*/ 391 h 433"/>
              <a:gd name="T62" fmla="*/ 368 w 436"/>
              <a:gd name="T63" fmla="*/ 344 h 433"/>
              <a:gd name="T64" fmla="*/ 390 w 436"/>
              <a:gd name="T65" fmla="*/ 309 h 433"/>
              <a:gd name="T66" fmla="*/ 404 w 436"/>
              <a:gd name="T67" fmla="*/ 276 h 433"/>
              <a:gd name="T68" fmla="*/ 412 w 436"/>
              <a:gd name="T69" fmla="*/ 201 h 433"/>
              <a:gd name="T70" fmla="*/ 404 w 436"/>
              <a:gd name="T71" fmla="*/ 160 h 433"/>
              <a:gd name="T72" fmla="*/ 404 w 436"/>
              <a:gd name="T73" fmla="*/ 140 h 433"/>
              <a:gd name="T74" fmla="*/ 368 w 436"/>
              <a:gd name="T75" fmla="*/ 93 h 433"/>
              <a:gd name="T76" fmla="*/ 342 w 436"/>
              <a:gd name="T77" fmla="*/ 68 h 433"/>
              <a:gd name="T78" fmla="*/ 308 w 436"/>
              <a:gd name="T79" fmla="*/ 45 h 433"/>
              <a:gd name="T80" fmla="*/ 235 w 436"/>
              <a:gd name="T81" fmla="*/ 23 h 433"/>
              <a:gd name="T82" fmla="*/ 199 w 436"/>
              <a:gd name="T83" fmla="*/ 24 h 433"/>
              <a:gd name="T84" fmla="*/ 159 w 436"/>
              <a:gd name="T85" fmla="*/ 32 h 433"/>
              <a:gd name="T86" fmla="*/ 92 w 436"/>
              <a:gd name="T87" fmla="*/ 68 h 433"/>
              <a:gd name="T88" fmla="*/ 67 w 436"/>
              <a:gd name="T89" fmla="*/ 94 h 433"/>
              <a:gd name="T90" fmla="*/ 44 w 436"/>
              <a:gd name="T91" fmla="*/ 128 h 433"/>
              <a:gd name="T92" fmla="*/ 23 w 436"/>
              <a:gd name="T93" fmla="*/ 201 h 433"/>
              <a:gd name="T94" fmla="*/ 23 w 436"/>
              <a:gd name="T95" fmla="*/ 236 h 433"/>
              <a:gd name="T96" fmla="*/ 31 w 436"/>
              <a:gd name="T97" fmla="*/ 277 h 433"/>
              <a:gd name="T98" fmla="*/ 44 w 436"/>
              <a:gd name="T99" fmla="*/ 309 h 433"/>
              <a:gd name="T100" fmla="*/ 92 w 436"/>
              <a:gd name="T101" fmla="*/ 368 h 433"/>
              <a:gd name="T102" fmla="*/ 127 w 436"/>
              <a:gd name="T103" fmla="*/ 391 h 433"/>
              <a:gd name="T104" fmla="*/ 160 w 436"/>
              <a:gd name="T105" fmla="*/ 405 h 433"/>
              <a:gd name="T106" fmla="*/ 417 w 436"/>
              <a:gd name="T107" fmla="*/ 240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433">
                <a:moveTo>
                  <a:pt x="218" y="433"/>
                </a:moveTo>
                <a:cubicBezTo>
                  <a:pt x="208" y="433"/>
                  <a:pt x="199" y="429"/>
                  <a:pt x="191" y="422"/>
                </a:cubicBezTo>
                <a:cubicBezTo>
                  <a:pt x="184" y="415"/>
                  <a:pt x="174" y="413"/>
                  <a:pt x="164" y="416"/>
                </a:cubicBezTo>
                <a:cubicBezTo>
                  <a:pt x="146" y="424"/>
                  <a:pt x="124" y="415"/>
                  <a:pt x="116" y="397"/>
                </a:cubicBezTo>
                <a:cubicBezTo>
                  <a:pt x="116" y="396"/>
                  <a:pt x="116" y="396"/>
                  <a:pt x="116" y="396"/>
                </a:cubicBezTo>
                <a:cubicBezTo>
                  <a:pt x="112" y="387"/>
                  <a:pt x="103" y="381"/>
                  <a:pt x="93" y="381"/>
                </a:cubicBezTo>
                <a:cubicBezTo>
                  <a:pt x="92" y="381"/>
                  <a:pt x="92" y="381"/>
                  <a:pt x="92" y="381"/>
                </a:cubicBezTo>
                <a:cubicBezTo>
                  <a:pt x="72" y="381"/>
                  <a:pt x="55" y="364"/>
                  <a:pt x="55" y="344"/>
                </a:cubicBezTo>
                <a:cubicBezTo>
                  <a:pt x="55" y="334"/>
                  <a:pt x="49" y="325"/>
                  <a:pt x="40" y="321"/>
                </a:cubicBezTo>
                <a:cubicBezTo>
                  <a:pt x="31" y="317"/>
                  <a:pt x="24" y="310"/>
                  <a:pt x="20" y="301"/>
                </a:cubicBezTo>
                <a:cubicBezTo>
                  <a:pt x="16" y="292"/>
                  <a:pt x="16" y="282"/>
                  <a:pt x="20" y="273"/>
                </a:cubicBezTo>
                <a:cubicBezTo>
                  <a:pt x="20" y="272"/>
                  <a:pt x="20" y="272"/>
                  <a:pt x="20" y="272"/>
                </a:cubicBezTo>
                <a:cubicBezTo>
                  <a:pt x="24" y="263"/>
                  <a:pt x="22" y="252"/>
                  <a:pt x="15" y="245"/>
                </a:cubicBezTo>
                <a:cubicBezTo>
                  <a:pt x="14" y="244"/>
                  <a:pt x="14" y="244"/>
                  <a:pt x="14" y="244"/>
                </a:cubicBezTo>
                <a:cubicBezTo>
                  <a:pt x="0" y="230"/>
                  <a:pt x="0" y="206"/>
                  <a:pt x="14" y="192"/>
                </a:cubicBezTo>
                <a:cubicBezTo>
                  <a:pt x="21" y="185"/>
                  <a:pt x="23" y="174"/>
                  <a:pt x="19" y="165"/>
                </a:cubicBezTo>
                <a:cubicBezTo>
                  <a:pt x="11" y="146"/>
                  <a:pt x="20" y="125"/>
                  <a:pt x="39" y="117"/>
                </a:cubicBezTo>
                <a:cubicBezTo>
                  <a:pt x="40" y="116"/>
                  <a:pt x="40" y="116"/>
                  <a:pt x="40" y="116"/>
                </a:cubicBezTo>
                <a:cubicBezTo>
                  <a:pt x="49" y="113"/>
                  <a:pt x="55" y="104"/>
                  <a:pt x="55" y="94"/>
                </a:cubicBezTo>
                <a:cubicBezTo>
                  <a:pt x="55" y="93"/>
                  <a:pt x="55" y="93"/>
                  <a:pt x="55" y="93"/>
                </a:cubicBezTo>
                <a:cubicBezTo>
                  <a:pt x="55" y="72"/>
                  <a:pt x="72" y="56"/>
                  <a:pt x="92" y="56"/>
                </a:cubicBezTo>
                <a:cubicBezTo>
                  <a:pt x="102" y="56"/>
                  <a:pt x="111" y="50"/>
                  <a:pt x="115" y="40"/>
                </a:cubicBezTo>
                <a:cubicBezTo>
                  <a:pt x="123" y="22"/>
                  <a:pt x="144" y="13"/>
                  <a:pt x="163" y="20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73" y="24"/>
                  <a:pt x="184" y="22"/>
                  <a:pt x="191" y="15"/>
                </a:cubicBezTo>
                <a:cubicBezTo>
                  <a:pt x="191" y="15"/>
                  <a:pt x="191" y="15"/>
                  <a:pt x="191" y="15"/>
                </a:cubicBezTo>
                <a:cubicBezTo>
                  <a:pt x="206" y="0"/>
                  <a:pt x="229" y="0"/>
                  <a:pt x="244" y="15"/>
                </a:cubicBezTo>
                <a:cubicBezTo>
                  <a:pt x="251" y="22"/>
                  <a:pt x="261" y="24"/>
                  <a:pt x="271" y="20"/>
                </a:cubicBezTo>
                <a:cubicBezTo>
                  <a:pt x="289" y="12"/>
                  <a:pt x="311" y="21"/>
                  <a:pt x="319" y="40"/>
                </a:cubicBezTo>
                <a:cubicBezTo>
                  <a:pt x="319" y="41"/>
                  <a:pt x="319" y="41"/>
                  <a:pt x="319" y="41"/>
                </a:cubicBezTo>
                <a:cubicBezTo>
                  <a:pt x="323" y="50"/>
                  <a:pt x="332" y="56"/>
                  <a:pt x="342" y="56"/>
                </a:cubicBezTo>
                <a:cubicBezTo>
                  <a:pt x="343" y="56"/>
                  <a:pt x="343" y="56"/>
                  <a:pt x="343" y="56"/>
                </a:cubicBezTo>
                <a:cubicBezTo>
                  <a:pt x="363" y="56"/>
                  <a:pt x="380" y="72"/>
                  <a:pt x="380" y="93"/>
                </a:cubicBezTo>
                <a:cubicBezTo>
                  <a:pt x="380" y="103"/>
                  <a:pt x="386" y="112"/>
                  <a:pt x="395" y="116"/>
                </a:cubicBezTo>
                <a:cubicBezTo>
                  <a:pt x="404" y="119"/>
                  <a:pt x="412" y="126"/>
                  <a:pt x="415" y="136"/>
                </a:cubicBezTo>
                <a:cubicBezTo>
                  <a:pt x="419" y="145"/>
                  <a:pt x="419" y="155"/>
                  <a:pt x="415" y="164"/>
                </a:cubicBezTo>
                <a:cubicBezTo>
                  <a:pt x="415" y="165"/>
                  <a:pt x="415" y="165"/>
                  <a:pt x="415" y="165"/>
                </a:cubicBezTo>
                <a:cubicBezTo>
                  <a:pt x="411" y="174"/>
                  <a:pt x="413" y="184"/>
                  <a:pt x="420" y="191"/>
                </a:cubicBezTo>
                <a:cubicBezTo>
                  <a:pt x="421" y="192"/>
                  <a:pt x="421" y="192"/>
                  <a:pt x="421" y="192"/>
                </a:cubicBezTo>
                <a:cubicBezTo>
                  <a:pt x="436" y="206"/>
                  <a:pt x="436" y="230"/>
                  <a:pt x="421" y="244"/>
                </a:cubicBezTo>
                <a:cubicBezTo>
                  <a:pt x="421" y="244"/>
                  <a:pt x="421" y="244"/>
                  <a:pt x="421" y="244"/>
                </a:cubicBezTo>
                <a:cubicBezTo>
                  <a:pt x="414" y="251"/>
                  <a:pt x="412" y="262"/>
                  <a:pt x="416" y="271"/>
                </a:cubicBezTo>
                <a:cubicBezTo>
                  <a:pt x="424" y="290"/>
                  <a:pt x="415" y="312"/>
                  <a:pt x="396" y="320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86" y="324"/>
                  <a:pt x="380" y="333"/>
                  <a:pt x="380" y="343"/>
                </a:cubicBezTo>
                <a:cubicBezTo>
                  <a:pt x="380" y="344"/>
                  <a:pt x="380" y="344"/>
                  <a:pt x="380" y="344"/>
                </a:cubicBezTo>
                <a:cubicBezTo>
                  <a:pt x="380" y="364"/>
                  <a:pt x="363" y="381"/>
                  <a:pt x="343" y="381"/>
                </a:cubicBezTo>
                <a:cubicBezTo>
                  <a:pt x="333" y="381"/>
                  <a:pt x="324" y="387"/>
                  <a:pt x="320" y="396"/>
                </a:cubicBezTo>
                <a:cubicBezTo>
                  <a:pt x="316" y="405"/>
                  <a:pt x="309" y="412"/>
                  <a:pt x="300" y="416"/>
                </a:cubicBezTo>
                <a:cubicBezTo>
                  <a:pt x="291" y="420"/>
                  <a:pt x="281" y="420"/>
                  <a:pt x="272" y="416"/>
                </a:cubicBezTo>
                <a:cubicBezTo>
                  <a:pt x="271" y="416"/>
                  <a:pt x="271" y="416"/>
                  <a:pt x="271" y="416"/>
                </a:cubicBezTo>
                <a:cubicBezTo>
                  <a:pt x="262" y="412"/>
                  <a:pt x="251" y="414"/>
                  <a:pt x="244" y="421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36" y="429"/>
                  <a:pt x="227" y="433"/>
                  <a:pt x="218" y="433"/>
                </a:cubicBezTo>
                <a:close/>
                <a:moveTo>
                  <a:pt x="174" y="402"/>
                </a:moveTo>
                <a:cubicBezTo>
                  <a:pt x="184" y="402"/>
                  <a:pt x="193" y="406"/>
                  <a:pt x="200" y="413"/>
                </a:cubicBezTo>
                <a:cubicBezTo>
                  <a:pt x="210" y="423"/>
                  <a:pt x="225" y="423"/>
                  <a:pt x="235" y="413"/>
                </a:cubicBezTo>
                <a:cubicBezTo>
                  <a:pt x="236" y="412"/>
                  <a:pt x="236" y="412"/>
                  <a:pt x="236" y="412"/>
                </a:cubicBezTo>
                <a:cubicBezTo>
                  <a:pt x="246" y="402"/>
                  <a:pt x="262" y="399"/>
                  <a:pt x="276" y="404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83" y="407"/>
                  <a:pt x="289" y="407"/>
                  <a:pt x="295" y="405"/>
                </a:cubicBezTo>
                <a:cubicBezTo>
                  <a:pt x="302" y="402"/>
                  <a:pt x="306" y="397"/>
                  <a:pt x="309" y="391"/>
                </a:cubicBezTo>
                <a:cubicBezTo>
                  <a:pt x="315" y="377"/>
                  <a:pt x="328" y="368"/>
                  <a:pt x="343" y="368"/>
                </a:cubicBezTo>
                <a:cubicBezTo>
                  <a:pt x="357" y="368"/>
                  <a:pt x="368" y="357"/>
                  <a:pt x="368" y="344"/>
                </a:cubicBezTo>
                <a:cubicBezTo>
                  <a:pt x="368" y="343"/>
                  <a:pt x="368" y="343"/>
                  <a:pt x="368" y="343"/>
                </a:cubicBezTo>
                <a:cubicBezTo>
                  <a:pt x="368" y="328"/>
                  <a:pt x="377" y="314"/>
                  <a:pt x="390" y="309"/>
                </a:cubicBezTo>
                <a:cubicBezTo>
                  <a:pt x="391" y="308"/>
                  <a:pt x="391" y="308"/>
                  <a:pt x="391" y="308"/>
                </a:cubicBezTo>
                <a:cubicBezTo>
                  <a:pt x="404" y="303"/>
                  <a:pt x="410" y="289"/>
                  <a:pt x="404" y="276"/>
                </a:cubicBezTo>
                <a:cubicBezTo>
                  <a:pt x="399" y="262"/>
                  <a:pt x="402" y="246"/>
                  <a:pt x="412" y="236"/>
                </a:cubicBezTo>
                <a:cubicBezTo>
                  <a:pt x="422" y="226"/>
                  <a:pt x="422" y="210"/>
                  <a:pt x="412" y="201"/>
                </a:cubicBezTo>
                <a:cubicBezTo>
                  <a:pt x="412" y="200"/>
                  <a:pt x="412" y="200"/>
                  <a:pt x="412" y="200"/>
                </a:cubicBezTo>
                <a:cubicBezTo>
                  <a:pt x="401" y="190"/>
                  <a:pt x="398" y="174"/>
                  <a:pt x="404" y="160"/>
                </a:cubicBezTo>
                <a:cubicBezTo>
                  <a:pt x="404" y="159"/>
                  <a:pt x="404" y="159"/>
                  <a:pt x="404" y="159"/>
                </a:cubicBezTo>
                <a:cubicBezTo>
                  <a:pt x="407" y="153"/>
                  <a:pt x="407" y="146"/>
                  <a:pt x="404" y="140"/>
                </a:cubicBezTo>
                <a:cubicBezTo>
                  <a:pt x="401" y="134"/>
                  <a:pt x="397" y="129"/>
                  <a:pt x="391" y="127"/>
                </a:cubicBezTo>
                <a:cubicBezTo>
                  <a:pt x="377" y="121"/>
                  <a:pt x="368" y="108"/>
                  <a:pt x="368" y="93"/>
                </a:cubicBezTo>
                <a:cubicBezTo>
                  <a:pt x="368" y="79"/>
                  <a:pt x="357" y="68"/>
                  <a:pt x="343" y="68"/>
                </a:cubicBezTo>
                <a:cubicBezTo>
                  <a:pt x="342" y="68"/>
                  <a:pt x="342" y="68"/>
                  <a:pt x="342" y="68"/>
                </a:cubicBezTo>
                <a:cubicBezTo>
                  <a:pt x="327" y="68"/>
                  <a:pt x="314" y="59"/>
                  <a:pt x="308" y="45"/>
                </a:cubicBezTo>
                <a:cubicBezTo>
                  <a:pt x="308" y="45"/>
                  <a:pt x="308" y="45"/>
                  <a:pt x="308" y="45"/>
                </a:cubicBezTo>
                <a:cubicBezTo>
                  <a:pt x="302" y="32"/>
                  <a:pt x="288" y="26"/>
                  <a:pt x="275" y="31"/>
                </a:cubicBezTo>
                <a:cubicBezTo>
                  <a:pt x="262" y="37"/>
                  <a:pt x="246" y="34"/>
                  <a:pt x="235" y="23"/>
                </a:cubicBezTo>
                <a:cubicBezTo>
                  <a:pt x="225" y="14"/>
                  <a:pt x="210" y="14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89" y="35"/>
                  <a:pt x="173" y="38"/>
                  <a:pt x="159" y="32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46" y="27"/>
                  <a:pt x="131" y="33"/>
                  <a:pt x="126" y="45"/>
                </a:cubicBezTo>
                <a:cubicBezTo>
                  <a:pt x="121" y="59"/>
                  <a:pt x="107" y="68"/>
                  <a:pt x="92" y="68"/>
                </a:cubicBezTo>
                <a:cubicBezTo>
                  <a:pt x="78" y="68"/>
                  <a:pt x="67" y="79"/>
                  <a:pt x="67" y="93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109"/>
                  <a:pt x="58" y="122"/>
                  <a:pt x="45" y="128"/>
                </a:cubicBezTo>
                <a:cubicBezTo>
                  <a:pt x="44" y="128"/>
                  <a:pt x="44" y="128"/>
                  <a:pt x="44" y="128"/>
                </a:cubicBezTo>
                <a:cubicBezTo>
                  <a:pt x="31" y="133"/>
                  <a:pt x="25" y="148"/>
                  <a:pt x="31" y="160"/>
                </a:cubicBezTo>
                <a:cubicBezTo>
                  <a:pt x="36" y="174"/>
                  <a:pt x="33" y="190"/>
                  <a:pt x="23" y="201"/>
                </a:cubicBezTo>
                <a:cubicBezTo>
                  <a:pt x="13" y="210"/>
                  <a:pt x="13" y="226"/>
                  <a:pt x="23" y="236"/>
                </a:cubicBezTo>
                <a:cubicBezTo>
                  <a:pt x="23" y="236"/>
                  <a:pt x="23" y="236"/>
                  <a:pt x="23" y="236"/>
                </a:cubicBezTo>
                <a:cubicBezTo>
                  <a:pt x="34" y="247"/>
                  <a:pt x="37" y="263"/>
                  <a:pt x="31" y="276"/>
                </a:cubicBezTo>
                <a:cubicBezTo>
                  <a:pt x="31" y="277"/>
                  <a:pt x="31" y="277"/>
                  <a:pt x="31" y="277"/>
                </a:cubicBezTo>
                <a:cubicBezTo>
                  <a:pt x="28" y="283"/>
                  <a:pt x="29" y="290"/>
                  <a:pt x="31" y="296"/>
                </a:cubicBezTo>
                <a:cubicBezTo>
                  <a:pt x="34" y="302"/>
                  <a:pt x="38" y="307"/>
                  <a:pt x="44" y="309"/>
                </a:cubicBezTo>
                <a:cubicBezTo>
                  <a:pt x="58" y="315"/>
                  <a:pt x="67" y="329"/>
                  <a:pt x="67" y="344"/>
                </a:cubicBezTo>
                <a:cubicBezTo>
                  <a:pt x="67" y="357"/>
                  <a:pt x="78" y="368"/>
                  <a:pt x="92" y="368"/>
                </a:cubicBezTo>
                <a:cubicBezTo>
                  <a:pt x="93" y="368"/>
                  <a:pt x="93" y="368"/>
                  <a:pt x="93" y="368"/>
                </a:cubicBezTo>
                <a:cubicBezTo>
                  <a:pt x="108" y="368"/>
                  <a:pt x="121" y="377"/>
                  <a:pt x="127" y="391"/>
                </a:cubicBezTo>
                <a:cubicBezTo>
                  <a:pt x="127" y="392"/>
                  <a:pt x="127" y="392"/>
                  <a:pt x="127" y="392"/>
                </a:cubicBezTo>
                <a:cubicBezTo>
                  <a:pt x="133" y="404"/>
                  <a:pt x="147" y="410"/>
                  <a:pt x="160" y="405"/>
                </a:cubicBezTo>
                <a:cubicBezTo>
                  <a:pt x="164" y="403"/>
                  <a:pt x="169" y="402"/>
                  <a:pt x="174" y="402"/>
                </a:cubicBezTo>
                <a:close/>
                <a:moveTo>
                  <a:pt x="417" y="240"/>
                </a:moveTo>
                <a:cubicBezTo>
                  <a:pt x="417" y="240"/>
                  <a:pt x="417" y="240"/>
                  <a:pt x="417" y="2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672916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54F65-3575-FDF5-D236-A0F7ACA48E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AAF450B-A125-DB56-9043-6578B8530C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828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7BB28D-B89A-226C-DCF6-62533AAEC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F54727C-E2DB-0E39-5822-380C88CB6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7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BFA9DF7-B79C-F084-C96B-D1C9AEC327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imeline </a:t>
            </a:r>
          </a:p>
        </p:txBody>
      </p:sp>
    </p:spTree>
    <p:extLst>
      <p:ext uri="{BB962C8B-B14F-4D97-AF65-F5344CB8AC3E}">
        <p14:creationId xmlns:p14="http://schemas.microsoft.com/office/powerpoint/2010/main" val="3517748760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F90178-3612-CC10-3737-78B88B37FB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5270FFE-52D1-1C32-5DE9-D79EED098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8996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6F80B8-F211-543D-122C-6A6C8DC79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8C3CD0-F819-9CBC-0ED4-6DBC787BF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93816A3-14FA-46B0-C579-1D2E33BCE997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8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07D6C1E-6296-50BF-6F20-36052AE4EDD0}"/>
              </a:ext>
            </a:extLst>
          </p:cNvPr>
          <p:cNvGrpSpPr/>
          <p:nvPr/>
        </p:nvGrpSpPr>
        <p:grpSpPr>
          <a:xfrm>
            <a:off x="626322" y="2195858"/>
            <a:ext cx="11136889" cy="402479"/>
            <a:chOff x="609600" y="1520825"/>
            <a:chExt cx="10972800" cy="396549"/>
          </a:xfrm>
        </p:grpSpPr>
        <p:sp>
          <p:nvSpPr>
            <p:cNvPr id="49" name="Google Shape;706;p15">
              <a:extLst>
                <a:ext uri="{FF2B5EF4-FFF2-40B4-BE49-F238E27FC236}">
                  <a16:creationId xmlns:a16="http://schemas.microsoft.com/office/drawing/2014/main" id="{58F9522A-0D64-B885-B64D-7EBFC1FC7DA6}"/>
                </a:ext>
              </a:extLst>
            </p:cNvPr>
            <p:cNvSpPr/>
            <p:nvPr/>
          </p:nvSpPr>
          <p:spPr>
            <a:xfrm>
              <a:off x="6733777" y="1668028"/>
              <a:ext cx="4739028" cy="102141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</p:spPr>
          <p:txBody>
            <a:bodyPr spcFirstLastPara="1" wrap="square" lIns="200166" tIns="100085" rIns="200166" bIns="100085" anchor="t" anchorCtr="0"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sz="2000" dirty="0">
                <a:cs typeface="Arial" panose="020B0604020202020204" pitchFamily="34" charset="0"/>
              </a:endParaRPr>
            </a:p>
          </p:txBody>
        </p:sp>
        <p:sp>
          <p:nvSpPr>
            <p:cNvPr id="50" name="Google Shape;716;p15">
              <a:extLst>
                <a:ext uri="{FF2B5EF4-FFF2-40B4-BE49-F238E27FC236}">
                  <a16:creationId xmlns:a16="http://schemas.microsoft.com/office/drawing/2014/main" id="{BA31086F-34DF-7057-0649-32A0CAC57465}"/>
                </a:ext>
              </a:extLst>
            </p:cNvPr>
            <p:cNvSpPr/>
            <p:nvPr/>
          </p:nvSpPr>
          <p:spPr>
            <a:xfrm>
              <a:off x="11344114" y="1520825"/>
              <a:ext cx="238286" cy="396549"/>
            </a:xfrm>
            <a:custGeom>
              <a:avLst/>
              <a:gdLst/>
              <a:ahLst/>
              <a:cxnLst/>
              <a:rect l="l" t="t" r="r" b="b"/>
              <a:pathLst>
                <a:path w="170" h="283" extrusionOk="0">
                  <a:moveTo>
                    <a:pt x="170" y="142"/>
                  </a:moveTo>
                  <a:cubicBezTo>
                    <a:pt x="50" y="13"/>
                    <a:pt x="50" y="13"/>
                    <a:pt x="50" y="13"/>
                  </a:cubicBezTo>
                  <a:cubicBezTo>
                    <a:pt x="39" y="1"/>
                    <a:pt x="21" y="0"/>
                    <a:pt x="9" y="11"/>
                  </a:cubicBezTo>
                  <a:cubicBezTo>
                    <a:pt x="3" y="17"/>
                    <a:pt x="0" y="25"/>
                    <a:pt x="0" y="33"/>
                  </a:cubicBezTo>
                  <a:cubicBezTo>
                    <a:pt x="0" y="40"/>
                    <a:pt x="2" y="47"/>
                    <a:pt x="7" y="53"/>
                  </a:cubicBezTo>
                  <a:cubicBezTo>
                    <a:pt x="7" y="53"/>
                    <a:pt x="66" y="115"/>
                    <a:pt x="91" y="142"/>
                  </a:cubicBezTo>
                  <a:cubicBezTo>
                    <a:pt x="66" y="168"/>
                    <a:pt x="7" y="231"/>
                    <a:pt x="7" y="231"/>
                  </a:cubicBezTo>
                  <a:cubicBezTo>
                    <a:pt x="2" y="236"/>
                    <a:pt x="0" y="243"/>
                    <a:pt x="0" y="251"/>
                  </a:cubicBezTo>
                  <a:cubicBezTo>
                    <a:pt x="0" y="258"/>
                    <a:pt x="3" y="266"/>
                    <a:pt x="9" y="272"/>
                  </a:cubicBezTo>
                  <a:cubicBezTo>
                    <a:pt x="21" y="283"/>
                    <a:pt x="39" y="282"/>
                    <a:pt x="50" y="270"/>
                  </a:cubicBezTo>
                  <a:lnTo>
                    <a:pt x="170" y="142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153161" tIns="76561" rIns="153161" bIns="76561" anchor="t" anchorCtr="0"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sz="2000" dirty="0">
                <a:cs typeface="Arial" panose="020B0604020202020204" pitchFamily="34" charset="0"/>
              </a:endParaRPr>
            </a:p>
          </p:txBody>
        </p:sp>
        <p:sp>
          <p:nvSpPr>
            <p:cNvPr id="51" name="Google Shape;717;p15">
              <a:extLst>
                <a:ext uri="{FF2B5EF4-FFF2-40B4-BE49-F238E27FC236}">
                  <a16:creationId xmlns:a16="http://schemas.microsoft.com/office/drawing/2014/main" id="{0E8679D6-5389-37E9-F52E-270FF0EA2452}"/>
                </a:ext>
              </a:extLst>
            </p:cNvPr>
            <p:cNvSpPr/>
            <p:nvPr/>
          </p:nvSpPr>
          <p:spPr>
            <a:xfrm>
              <a:off x="609600" y="1668028"/>
              <a:ext cx="6442019" cy="102141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</p:spPr>
          <p:txBody>
            <a:bodyPr spcFirstLastPara="1" wrap="square" lIns="200166" tIns="100085" rIns="200166" bIns="100085" anchor="t" anchorCtr="0"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sz="2000" dirty="0">
                <a:cs typeface="Arial" panose="020B0604020202020204" pitchFamily="34" charset="0"/>
              </a:endParaRPr>
            </a:p>
          </p:txBody>
        </p:sp>
      </p:grpSp>
      <p:sp>
        <p:nvSpPr>
          <p:cNvPr id="28" name="Shape1_20220720_095014">
            <a:extLst>
              <a:ext uri="{FF2B5EF4-FFF2-40B4-BE49-F238E27FC236}">
                <a16:creationId xmlns:a16="http://schemas.microsoft.com/office/drawing/2014/main" id="{56CD9F14-FD7C-8FDD-3A5D-21BF1CD2E739}"/>
              </a:ext>
            </a:extLst>
          </p:cNvPr>
          <p:cNvSpPr txBox="1"/>
          <p:nvPr/>
        </p:nvSpPr>
        <p:spPr>
          <a:xfrm>
            <a:off x="8639931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29" name="Google Shape;708;p15">
            <a:extLst>
              <a:ext uri="{FF2B5EF4-FFF2-40B4-BE49-F238E27FC236}">
                <a16:creationId xmlns:a16="http://schemas.microsoft.com/office/drawing/2014/main" id="{C360E5FE-039E-5EA7-8958-BFA6FA405C47}"/>
              </a:ext>
            </a:extLst>
          </p:cNvPr>
          <p:cNvSpPr/>
          <p:nvPr/>
        </p:nvSpPr>
        <p:spPr>
          <a:xfrm>
            <a:off x="9214860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0" name="Google Shape;709;p15">
            <a:extLst>
              <a:ext uri="{FF2B5EF4-FFF2-40B4-BE49-F238E27FC236}">
                <a16:creationId xmlns:a16="http://schemas.microsoft.com/office/drawing/2014/main" id="{139CE775-F787-E8DD-26CF-753B34A09CB5}"/>
              </a:ext>
            </a:extLst>
          </p:cNvPr>
          <p:cNvSpPr/>
          <p:nvPr/>
        </p:nvSpPr>
        <p:spPr>
          <a:xfrm rot="5400000">
            <a:off x="9262965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1" name="Shape2_20220720_095014">
            <a:extLst>
              <a:ext uri="{FF2B5EF4-FFF2-40B4-BE49-F238E27FC236}">
                <a16:creationId xmlns:a16="http://schemas.microsoft.com/office/drawing/2014/main" id="{3FFA9B9B-D77F-19CF-9D13-83650DBDF28C}"/>
              </a:ext>
            </a:extLst>
          </p:cNvPr>
          <p:cNvSpPr txBox="1"/>
          <p:nvPr/>
        </p:nvSpPr>
        <p:spPr>
          <a:xfrm>
            <a:off x="10207816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32" name="Google Shape;711;p15">
            <a:extLst>
              <a:ext uri="{FF2B5EF4-FFF2-40B4-BE49-F238E27FC236}">
                <a16:creationId xmlns:a16="http://schemas.microsoft.com/office/drawing/2014/main" id="{F701DA5E-E556-A8CE-5080-F5F0ADE411EB}"/>
              </a:ext>
            </a:extLst>
          </p:cNvPr>
          <p:cNvSpPr/>
          <p:nvPr/>
        </p:nvSpPr>
        <p:spPr>
          <a:xfrm>
            <a:off x="10782745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3" name="Google Shape;712;p15">
            <a:extLst>
              <a:ext uri="{FF2B5EF4-FFF2-40B4-BE49-F238E27FC236}">
                <a16:creationId xmlns:a16="http://schemas.microsoft.com/office/drawing/2014/main" id="{DB6A51D4-3E49-475D-4451-80A14C1FBDD6}"/>
              </a:ext>
            </a:extLst>
          </p:cNvPr>
          <p:cNvSpPr/>
          <p:nvPr/>
        </p:nvSpPr>
        <p:spPr>
          <a:xfrm rot="5400000">
            <a:off x="10830851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4" name="Shape3_20220720_095014">
            <a:extLst>
              <a:ext uri="{FF2B5EF4-FFF2-40B4-BE49-F238E27FC236}">
                <a16:creationId xmlns:a16="http://schemas.microsoft.com/office/drawing/2014/main" id="{74E2ABE9-065F-091D-010D-2140C04CB877}"/>
              </a:ext>
            </a:extLst>
          </p:cNvPr>
          <p:cNvSpPr txBox="1"/>
          <p:nvPr/>
        </p:nvSpPr>
        <p:spPr>
          <a:xfrm>
            <a:off x="7072044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35" name="Google Shape;714;p15">
            <a:extLst>
              <a:ext uri="{FF2B5EF4-FFF2-40B4-BE49-F238E27FC236}">
                <a16:creationId xmlns:a16="http://schemas.microsoft.com/office/drawing/2014/main" id="{0DF2ED8A-AB58-2EE7-B60F-DE7FEA80D412}"/>
              </a:ext>
            </a:extLst>
          </p:cNvPr>
          <p:cNvSpPr/>
          <p:nvPr/>
        </p:nvSpPr>
        <p:spPr>
          <a:xfrm>
            <a:off x="7646973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6" name="Google Shape;715;p15">
            <a:extLst>
              <a:ext uri="{FF2B5EF4-FFF2-40B4-BE49-F238E27FC236}">
                <a16:creationId xmlns:a16="http://schemas.microsoft.com/office/drawing/2014/main" id="{CF2BAB94-C5A0-E846-8737-11D7C6ED5170}"/>
              </a:ext>
            </a:extLst>
          </p:cNvPr>
          <p:cNvSpPr/>
          <p:nvPr/>
        </p:nvSpPr>
        <p:spPr>
          <a:xfrm rot="5400000">
            <a:off x="7695080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7" name="Shape0_20220720_095014">
            <a:extLst>
              <a:ext uri="{FF2B5EF4-FFF2-40B4-BE49-F238E27FC236}">
                <a16:creationId xmlns:a16="http://schemas.microsoft.com/office/drawing/2014/main" id="{467A92FE-B341-B5B8-D1DE-88EBD6A151D5}"/>
              </a:ext>
            </a:extLst>
          </p:cNvPr>
          <p:cNvSpPr txBox="1"/>
          <p:nvPr/>
        </p:nvSpPr>
        <p:spPr>
          <a:xfrm>
            <a:off x="800498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38" name="Google Shape;719;p15">
            <a:extLst>
              <a:ext uri="{FF2B5EF4-FFF2-40B4-BE49-F238E27FC236}">
                <a16:creationId xmlns:a16="http://schemas.microsoft.com/office/drawing/2014/main" id="{C13D5147-2F10-6C0D-A584-76A9418C5155}"/>
              </a:ext>
            </a:extLst>
          </p:cNvPr>
          <p:cNvSpPr/>
          <p:nvPr/>
        </p:nvSpPr>
        <p:spPr>
          <a:xfrm rot="5400000">
            <a:off x="1423535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9" name="Google Shape;720;p15">
            <a:extLst>
              <a:ext uri="{FF2B5EF4-FFF2-40B4-BE49-F238E27FC236}">
                <a16:creationId xmlns:a16="http://schemas.microsoft.com/office/drawing/2014/main" id="{2596323C-DF8F-3622-3835-39EDF256CB48}"/>
              </a:ext>
            </a:extLst>
          </p:cNvPr>
          <p:cNvSpPr/>
          <p:nvPr/>
        </p:nvSpPr>
        <p:spPr>
          <a:xfrm>
            <a:off x="1375427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0" name="Shape4_20220720_095014">
            <a:extLst>
              <a:ext uri="{FF2B5EF4-FFF2-40B4-BE49-F238E27FC236}">
                <a16:creationId xmlns:a16="http://schemas.microsoft.com/office/drawing/2014/main" id="{9579A87D-D995-18DA-3776-28425EC1EFF2}"/>
              </a:ext>
            </a:extLst>
          </p:cNvPr>
          <p:cNvSpPr txBox="1"/>
          <p:nvPr/>
        </p:nvSpPr>
        <p:spPr>
          <a:xfrm>
            <a:off x="2368382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41" name="Google Shape;722;p15">
            <a:extLst>
              <a:ext uri="{FF2B5EF4-FFF2-40B4-BE49-F238E27FC236}">
                <a16:creationId xmlns:a16="http://schemas.microsoft.com/office/drawing/2014/main" id="{C4CC70ED-F2FD-28BB-6383-770F9891F48C}"/>
              </a:ext>
            </a:extLst>
          </p:cNvPr>
          <p:cNvSpPr/>
          <p:nvPr/>
        </p:nvSpPr>
        <p:spPr>
          <a:xfrm rot="5400000">
            <a:off x="2991421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42" name="Google Shape;723;p15">
            <a:extLst>
              <a:ext uri="{FF2B5EF4-FFF2-40B4-BE49-F238E27FC236}">
                <a16:creationId xmlns:a16="http://schemas.microsoft.com/office/drawing/2014/main" id="{C9DCA5AE-78AB-4137-DEEC-88B1276C5C80}"/>
              </a:ext>
            </a:extLst>
          </p:cNvPr>
          <p:cNvSpPr/>
          <p:nvPr/>
        </p:nvSpPr>
        <p:spPr>
          <a:xfrm>
            <a:off x="2943313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3" name="Shape5_20220720_095014">
            <a:extLst>
              <a:ext uri="{FF2B5EF4-FFF2-40B4-BE49-F238E27FC236}">
                <a16:creationId xmlns:a16="http://schemas.microsoft.com/office/drawing/2014/main" id="{8424ABFC-5E9B-8112-CC9A-EE2B82847722}"/>
              </a:ext>
            </a:extLst>
          </p:cNvPr>
          <p:cNvSpPr txBox="1"/>
          <p:nvPr/>
        </p:nvSpPr>
        <p:spPr>
          <a:xfrm>
            <a:off x="3936270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44" name="Google Shape;725;p15">
            <a:extLst>
              <a:ext uri="{FF2B5EF4-FFF2-40B4-BE49-F238E27FC236}">
                <a16:creationId xmlns:a16="http://schemas.microsoft.com/office/drawing/2014/main" id="{8E0EC300-7502-509B-FC9D-4EB830324C2E}"/>
              </a:ext>
            </a:extLst>
          </p:cNvPr>
          <p:cNvSpPr/>
          <p:nvPr/>
        </p:nvSpPr>
        <p:spPr>
          <a:xfrm rot="5400000">
            <a:off x="4559306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45" name="Google Shape;726;p15">
            <a:extLst>
              <a:ext uri="{FF2B5EF4-FFF2-40B4-BE49-F238E27FC236}">
                <a16:creationId xmlns:a16="http://schemas.microsoft.com/office/drawing/2014/main" id="{7EF3E77E-9237-760E-E444-CB69C3B00E2B}"/>
              </a:ext>
            </a:extLst>
          </p:cNvPr>
          <p:cNvSpPr/>
          <p:nvPr/>
        </p:nvSpPr>
        <p:spPr>
          <a:xfrm>
            <a:off x="4511198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6" name="Shape6_20220720_095014">
            <a:extLst>
              <a:ext uri="{FF2B5EF4-FFF2-40B4-BE49-F238E27FC236}">
                <a16:creationId xmlns:a16="http://schemas.microsoft.com/office/drawing/2014/main" id="{75F37E51-5432-275D-6830-80ACE27F6FBF}"/>
              </a:ext>
            </a:extLst>
          </p:cNvPr>
          <p:cNvSpPr txBox="1"/>
          <p:nvPr/>
        </p:nvSpPr>
        <p:spPr>
          <a:xfrm>
            <a:off x="5504157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47" name="Google Shape;728;p15">
            <a:extLst>
              <a:ext uri="{FF2B5EF4-FFF2-40B4-BE49-F238E27FC236}">
                <a16:creationId xmlns:a16="http://schemas.microsoft.com/office/drawing/2014/main" id="{BB0B86C8-C860-EBE1-DF03-04225C4B3E4B}"/>
              </a:ext>
            </a:extLst>
          </p:cNvPr>
          <p:cNvSpPr/>
          <p:nvPr/>
        </p:nvSpPr>
        <p:spPr>
          <a:xfrm rot="5400000">
            <a:off x="6127192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48" name="Google Shape;729;p15">
            <a:extLst>
              <a:ext uri="{FF2B5EF4-FFF2-40B4-BE49-F238E27FC236}">
                <a16:creationId xmlns:a16="http://schemas.microsoft.com/office/drawing/2014/main" id="{30AFC4F9-0144-FDC5-94A4-6465606D9110}"/>
              </a:ext>
            </a:extLst>
          </p:cNvPr>
          <p:cNvSpPr/>
          <p:nvPr/>
        </p:nvSpPr>
        <p:spPr>
          <a:xfrm>
            <a:off x="6079086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259207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00A604-1650-7A53-0FFC-B0FBD6CDCF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0741104-5AF7-5F63-5E38-1FBF6E369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270FFE-52D1-1C32-5DE9-D79EED098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0AD9B9-35F0-0562-CEFE-E037C157D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5BDE7E5-592E-8D0D-AC70-3ACE30A20A2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82DF595A-50EB-E4CF-3051-CB8210828832}"/>
              </a:ext>
            </a:extLst>
          </p:cNvPr>
          <p:cNvSpPr/>
          <p:nvPr/>
        </p:nvSpPr>
        <p:spPr>
          <a:xfrm rot="5400000" flipH="1">
            <a:off x="4888902" y="-684423"/>
            <a:ext cx="2079352" cy="10596207"/>
          </a:xfrm>
          <a:custGeom>
            <a:avLst/>
            <a:gdLst>
              <a:gd name="connsiteX0" fmla="*/ 2170275 w 2170275"/>
              <a:gd name="connsiteY0" fmla="*/ 4085870 h 12192003"/>
              <a:gd name="connsiteX1" fmla="*/ 1797255 w 2170275"/>
              <a:gd name="connsiteY1" fmla="*/ 93834 h 12192003"/>
              <a:gd name="connsiteX2" fmla="*/ 1777632 w 2170275"/>
              <a:gd name="connsiteY2" fmla="*/ 0 h 12192003"/>
              <a:gd name="connsiteX3" fmla="*/ 1514225 w 2170275"/>
              <a:gd name="connsiteY3" fmla="*/ 0 h 12192003"/>
              <a:gd name="connsiteX4" fmla="*/ 1565131 w 2170275"/>
              <a:gd name="connsiteY4" fmla="*/ 356868 h 12192003"/>
              <a:gd name="connsiteX5" fmla="*/ 1733697 w 2170275"/>
              <a:gd name="connsiteY5" fmla="*/ 3062373 h 12192003"/>
              <a:gd name="connsiteX6" fmla="*/ 55384 w 2170275"/>
              <a:gd name="connsiteY6" fmla="*/ 11158928 h 12192003"/>
              <a:gd name="connsiteX7" fmla="*/ 0 w 2170275"/>
              <a:gd name="connsiteY7" fmla="*/ 11271910 h 12192003"/>
              <a:gd name="connsiteX8" fmla="*/ 0 w 2170275"/>
              <a:gd name="connsiteY8" fmla="*/ 12192003 h 12192003"/>
              <a:gd name="connsiteX9" fmla="*/ 485980 w 2170275"/>
              <a:gd name="connsiteY9" fmla="*/ 12192003 h 12192003"/>
              <a:gd name="connsiteX10" fmla="*/ 521941 w 2170275"/>
              <a:gd name="connsiteY10" fmla="*/ 12117964 h 12192003"/>
              <a:gd name="connsiteX11" fmla="*/ 2170275 w 2170275"/>
              <a:gd name="connsiteY11" fmla="*/ 4085870 h 12192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70275" h="12192003">
                <a:moveTo>
                  <a:pt x="2170275" y="4085870"/>
                </a:moveTo>
                <a:cubicBezTo>
                  <a:pt x="2170275" y="2695719"/>
                  <a:pt x="2039679" y="1354918"/>
                  <a:pt x="1797255" y="93834"/>
                </a:cubicBezTo>
                <a:lnTo>
                  <a:pt x="1777632" y="0"/>
                </a:lnTo>
                <a:lnTo>
                  <a:pt x="1514225" y="0"/>
                </a:lnTo>
                <a:lnTo>
                  <a:pt x="1565131" y="356868"/>
                </a:lnTo>
                <a:cubicBezTo>
                  <a:pt x="1675656" y="1230770"/>
                  <a:pt x="1733697" y="2135605"/>
                  <a:pt x="1733697" y="3062373"/>
                </a:cubicBezTo>
                <a:cubicBezTo>
                  <a:pt x="1733697" y="6103332"/>
                  <a:pt x="1108776" y="8908134"/>
                  <a:pt x="55384" y="11158928"/>
                </a:cubicBezTo>
                <a:lnTo>
                  <a:pt x="0" y="11271910"/>
                </a:lnTo>
                <a:lnTo>
                  <a:pt x="0" y="12192003"/>
                </a:lnTo>
                <a:lnTo>
                  <a:pt x="485980" y="12192003"/>
                </a:lnTo>
                <a:lnTo>
                  <a:pt x="521941" y="12117964"/>
                </a:lnTo>
                <a:cubicBezTo>
                  <a:pt x="1557201" y="9878186"/>
                  <a:pt x="2170275" y="7097869"/>
                  <a:pt x="2170275" y="4085870"/>
                </a:cubicBezTo>
                <a:close/>
              </a:path>
            </a:pathLst>
          </a:custGeom>
          <a:solidFill>
            <a:srgbClr val="F4F4F4"/>
          </a:solidFill>
          <a:ln>
            <a:noFill/>
          </a:ln>
        </p:spPr>
        <p:txBody>
          <a:bodyPr spcFirstLastPara="1" wrap="square" lIns="150125" tIns="600580" rIns="150125" bIns="150125" anchor="ctr" anchorCtr="0">
            <a:noAutofit/>
          </a:bodyPr>
          <a:lstStyle/>
          <a:p>
            <a:pPr>
              <a:buClr>
                <a:srgbClr val="FFFFFF"/>
              </a:buClr>
              <a:buSzPts val="2400"/>
              <a:defRPr/>
            </a:pP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" name="Shape1_20220425_105209">
            <a:extLst>
              <a:ext uri="{FF2B5EF4-FFF2-40B4-BE49-F238E27FC236}">
                <a16:creationId xmlns:a16="http://schemas.microsoft.com/office/drawing/2014/main" id="{71CE8AC1-3EB0-2BEA-CC8F-0BE2CBA8BA11}"/>
              </a:ext>
            </a:extLst>
          </p:cNvPr>
          <p:cNvSpPr/>
          <p:nvPr/>
        </p:nvSpPr>
        <p:spPr>
          <a:xfrm rot="5400000">
            <a:off x="3656162" y="1795140"/>
            <a:ext cx="2114770" cy="2044748"/>
          </a:xfrm>
          <a:prstGeom prst="homePlate">
            <a:avLst>
              <a:gd name="adj" fmla="val 14908"/>
            </a:avLst>
          </a:prstGeom>
          <a:solidFill>
            <a:srgbClr val="FFFFFF"/>
          </a:solidFill>
          <a:ln w="1587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>
              <a:buClr>
                <a:srgbClr val="FFFFFF"/>
              </a:buClr>
              <a:buSzPts val="1568"/>
            </a:pP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6" name="Google Shape;947;p12">
            <a:extLst>
              <a:ext uri="{FF2B5EF4-FFF2-40B4-BE49-F238E27FC236}">
                <a16:creationId xmlns:a16="http://schemas.microsoft.com/office/drawing/2014/main" id="{0556597C-7660-43CE-BA75-30DB0EEEBFF1}"/>
              </a:ext>
            </a:extLst>
          </p:cNvPr>
          <p:cNvSpPr txBox="1"/>
          <p:nvPr/>
        </p:nvSpPr>
        <p:spPr>
          <a:xfrm>
            <a:off x="3768680" y="2193163"/>
            <a:ext cx="189205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45CDFF"/>
              </a:buClr>
              <a:buSzPts val="1764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Google Shape;950;p12">
            <a:extLst>
              <a:ext uri="{FF2B5EF4-FFF2-40B4-BE49-F238E27FC236}">
                <a16:creationId xmlns:a16="http://schemas.microsoft.com/office/drawing/2014/main" id="{00DBC1E8-3892-F069-984C-95118FFACE95}"/>
              </a:ext>
            </a:extLst>
          </p:cNvPr>
          <p:cNvSpPr/>
          <p:nvPr/>
        </p:nvSpPr>
        <p:spPr>
          <a:xfrm flipH="1">
            <a:off x="3768680" y="1813715"/>
            <a:ext cx="1892050" cy="2485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96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Shape1_20210617_094420">
            <a:extLst>
              <a:ext uri="{FF2B5EF4-FFF2-40B4-BE49-F238E27FC236}">
                <a16:creationId xmlns:a16="http://schemas.microsoft.com/office/drawing/2014/main" id="{7D5D9583-307A-917C-FFAA-14D34D2F78BE}"/>
              </a:ext>
            </a:extLst>
          </p:cNvPr>
          <p:cNvCxnSpPr/>
          <p:nvPr/>
        </p:nvCxnSpPr>
        <p:spPr>
          <a:xfrm>
            <a:off x="3767521" y="2127703"/>
            <a:ext cx="189205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ysDot"/>
            <a:round/>
            <a:headEnd type="none" w="sm" len="sm"/>
            <a:tailEnd type="none" w="sm" len="sm"/>
          </a:ln>
          <a:effectLst/>
        </p:spPr>
      </p:cxnSp>
      <p:sp>
        <p:nvSpPr>
          <p:cNvPr id="9" name="Shape0_20220429_085301">
            <a:extLst>
              <a:ext uri="{FF2B5EF4-FFF2-40B4-BE49-F238E27FC236}">
                <a16:creationId xmlns:a16="http://schemas.microsoft.com/office/drawing/2014/main" id="{F8DA58BC-1192-393C-82BA-72B269F251E0}"/>
              </a:ext>
            </a:extLst>
          </p:cNvPr>
          <p:cNvSpPr/>
          <p:nvPr/>
        </p:nvSpPr>
        <p:spPr>
          <a:xfrm>
            <a:off x="4417086" y="3584042"/>
            <a:ext cx="607332" cy="60732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2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10" name="Shape0_20220425_105209">
            <a:extLst>
              <a:ext uri="{FF2B5EF4-FFF2-40B4-BE49-F238E27FC236}">
                <a16:creationId xmlns:a16="http://schemas.microsoft.com/office/drawing/2014/main" id="{DB5A26FA-6BD1-A3DF-E22E-86942C75AAFE}"/>
              </a:ext>
            </a:extLst>
          </p:cNvPr>
          <p:cNvSpPr/>
          <p:nvPr/>
        </p:nvSpPr>
        <p:spPr>
          <a:xfrm rot="5400000">
            <a:off x="1105013" y="2378579"/>
            <a:ext cx="2114770" cy="2044748"/>
          </a:xfrm>
          <a:prstGeom prst="homePlate">
            <a:avLst>
              <a:gd name="adj" fmla="val 14908"/>
            </a:avLst>
          </a:prstGeom>
          <a:solidFill>
            <a:srgbClr val="FFFFFF"/>
          </a:solidFill>
          <a:ln w="1587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>
              <a:buClr>
                <a:srgbClr val="FFFFFF"/>
              </a:buClr>
              <a:buSzPts val="1568"/>
            </a:pP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1" name="Google Shape;946;p12">
            <a:extLst>
              <a:ext uri="{FF2B5EF4-FFF2-40B4-BE49-F238E27FC236}">
                <a16:creationId xmlns:a16="http://schemas.microsoft.com/office/drawing/2014/main" id="{B3D2128C-5E82-D3EA-3C4E-D086E2790D03}"/>
              </a:ext>
            </a:extLst>
          </p:cNvPr>
          <p:cNvSpPr txBox="1"/>
          <p:nvPr/>
        </p:nvSpPr>
        <p:spPr>
          <a:xfrm>
            <a:off x="1212618" y="2770795"/>
            <a:ext cx="1892050" cy="232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45CDFF"/>
              </a:buClr>
              <a:buSzPts val="1764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2" name="Google Shape;949;p12">
            <a:extLst>
              <a:ext uri="{FF2B5EF4-FFF2-40B4-BE49-F238E27FC236}">
                <a16:creationId xmlns:a16="http://schemas.microsoft.com/office/drawing/2014/main" id="{4BF22A15-C81A-E9A9-ED76-58EA54BAF5DD}"/>
              </a:ext>
            </a:extLst>
          </p:cNvPr>
          <p:cNvSpPr/>
          <p:nvPr/>
        </p:nvSpPr>
        <p:spPr>
          <a:xfrm flipH="1">
            <a:off x="1212618" y="2401605"/>
            <a:ext cx="1892050" cy="2485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96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3" name="Shape0_20210617_094420">
            <a:extLst>
              <a:ext uri="{FF2B5EF4-FFF2-40B4-BE49-F238E27FC236}">
                <a16:creationId xmlns:a16="http://schemas.microsoft.com/office/drawing/2014/main" id="{8EE18589-52AD-8A6B-5B32-62C504610995}"/>
              </a:ext>
            </a:extLst>
          </p:cNvPr>
          <p:cNvCxnSpPr/>
          <p:nvPr/>
        </p:nvCxnSpPr>
        <p:spPr>
          <a:xfrm>
            <a:off x="1216371" y="2710464"/>
            <a:ext cx="189205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ysDot"/>
            <a:round/>
            <a:headEnd type="none" w="sm" len="sm"/>
            <a:tailEnd type="none" w="sm" len="sm"/>
          </a:ln>
          <a:effectLst/>
        </p:spPr>
      </p:cxnSp>
      <p:sp>
        <p:nvSpPr>
          <p:cNvPr id="14" name="Shape2_20220425_105209">
            <a:extLst>
              <a:ext uri="{FF2B5EF4-FFF2-40B4-BE49-F238E27FC236}">
                <a16:creationId xmlns:a16="http://schemas.microsoft.com/office/drawing/2014/main" id="{B0D39752-869B-41F2-B73C-BB3287E367BD}"/>
              </a:ext>
            </a:extLst>
          </p:cNvPr>
          <p:cNvSpPr/>
          <p:nvPr/>
        </p:nvSpPr>
        <p:spPr>
          <a:xfrm rot="5400000">
            <a:off x="6228986" y="1496137"/>
            <a:ext cx="2025144" cy="2044748"/>
          </a:xfrm>
          <a:prstGeom prst="homePlate">
            <a:avLst>
              <a:gd name="adj" fmla="val 14908"/>
            </a:avLst>
          </a:prstGeom>
          <a:solidFill>
            <a:srgbClr val="FFFFFF"/>
          </a:solidFill>
          <a:ln w="1587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>
              <a:buClr>
                <a:srgbClr val="FFFFFF"/>
              </a:buClr>
              <a:buSzPts val="1568"/>
            </a:pP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5" name="Google Shape;948;p12">
            <a:extLst>
              <a:ext uri="{FF2B5EF4-FFF2-40B4-BE49-F238E27FC236}">
                <a16:creationId xmlns:a16="http://schemas.microsoft.com/office/drawing/2014/main" id="{A1B76093-1109-C9A1-8ACD-93054120D645}"/>
              </a:ext>
            </a:extLst>
          </p:cNvPr>
          <p:cNvSpPr txBox="1"/>
          <p:nvPr/>
        </p:nvSpPr>
        <p:spPr>
          <a:xfrm>
            <a:off x="6295531" y="1916482"/>
            <a:ext cx="1892050" cy="232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45CDFF"/>
              </a:buClr>
              <a:buSzPts val="1764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6" name="Google Shape;951;p12">
            <a:extLst>
              <a:ext uri="{FF2B5EF4-FFF2-40B4-BE49-F238E27FC236}">
                <a16:creationId xmlns:a16="http://schemas.microsoft.com/office/drawing/2014/main" id="{A111E48E-B0A9-79FE-93EF-16C5B062CD6D}"/>
              </a:ext>
            </a:extLst>
          </p:cNvPr>
          <p:cNvSpPr/>
          <p:nvPr/>
        </p:nvSpPr>
        <p:spPr>
          <a:xfrm flipH="1">
            <a:off x="6295531" y="1542565"/>
            <a:ext cx="1892050" cy="2485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96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7" name="Shape2_20210617_094420">
            <a:extLst>
              <a:ext uri="{FF2B5EF4-FFF2-40B4-BE49-F238E27FC236}">
                <a16:creationId xmlns:a16="http://schemas.microsoft.com/office/drawing/2014/main" id="{D37FD5AA-5DF3-2A0E-619C-B78F353E2BCF}"/>
              </a:ext>
            </a:extLst>
          </p:cNvPr>
          <p:cNvCxnSpPr/>
          <p:nvPr/>
        </p:nvCxnSpPr>
        <p:spPr>
          <a:xfrm>
            <a:off x="6295531" y="1853788"/>
            <a:ext cx="189205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ysDot"/>
            <a:round/>
            <a:headEnd type="none" w="sm" len="sm"/>
            <a:tailEnd type="none" w="sm" len="sm"/>
          </a:ln>
          <a:effectLst/>
        </p:spPr>
      </p:cxnSp>
      <p:sp>
        <p:nvSpPr>
          <p:cNvPr id="18" name="Shape1_20220429_085301">
            <a:extLst>
              <a:ext uri="{FF2B5EF4-FFF2-40B4-BE49-F238E27FC236}">
                <a16:creationId xmlns:a16="http://schemas.microsoft.com/office/drawing/2014/main" id="{03C47EAD-0FFC-C91A-6C50-8965861D63DB}"/>
              </a:ext>
            </a:extLst>
          </p:cNvPr>
          <p:cNvSpPr/>
          <p:nvPr/>
        </p:nvSpPr>
        <p:spPr>
          <a:xfrm>
            <a:off x="1844774" y="4308313"/>
            <a:ext cx="607332" cy="60732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1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19" name="Shape2_20220429_085301">
            <a:extLst>
              <a:ext uri="{FF2B5EF4-FFF2-40B4-BE49-F238E27FC236}">
                <a16:creationId xmlns:a16="http://schemas.microsoft.com/office/drawing/2014/main" id="{DD3B3A6E-2B01-651D-C839-3F78A45D99F4}"/>
              </a:ext>
            </a:extLst>
          </p:cNvPr>
          <p:cNvSpPr/>
          <p:nvPr/>
        </p:nvSpPr>
        <p:spPr>
          <a:xfrm>
            <a:off x="6913406" y="3292275"/>
            <a:ext cx="607332" cy="60732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3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20" name="Shape3_20220425_105209">
            <a:extLst>
              <a:ext uri="{FF2B5EF4-FFF2-40B4-BE49-F238E27FC236}">
                <a16:creationId xmlns:a16="http://schemas.microsoft.com/office/drawing/2014/main" id="{CFD19563-2F88-1692-E474-671DC13DB0F6}"/>
              </a:ext>
            </a:extLst>
          </p:cNvPr>
          <p:cNvSpPr/>
          <p:nvPr/>
        </p:nvSpPr>
        <p:spPr>
          <a:xfrm rot="5400000">
            <a:off x="8713738" y="1559389"/>
            <a:ext cx="2114770" cy="2044748"/>
          </a:xfrm>
          <a:prstGeom prst="homePlate">
            <a:avLst>
              <a:gd name="adj" fmla="val 14908"/>
            </a:avLst>
          </a:prstGeom>
          <a:solidFill>
            <a:srgbClr val="FFFFFF"/>
          </a:solidFill>
          <a:ln w="1587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>
              <a:buClr>
                <a:srgbClr val="FFFFFF"/>
              </a:buClr>
              <a:buSzPts val="1568"/>
            </a:pP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21" name="Google Shape;948;p12~1">
            <a:extLst>
              <a:ext uri="{FF2B5EF4-FFF2-40B4-BE49-F238E27FC236}">
                <a16:creationId xmlns:a16="http://schemas.microsoft.com/office/drawing/2014/main" id="{6A347FFE-47D9-9913-2C56-69A6E8B6FFFD}"/>
              </a:ext>
            </a:extLst>
          </p:cNvPr>
          <p:cNvSpPr txBox="1"/>
          <p:nvPr/>
        </p:nvSpPr>
        <p:spPr>
          <a:xfrm>
            <a:off x="8825096" y="1953886"/>
            <a:ext cx="1892050" cy="232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45CDFF"/>
              </a:buClr>
              <a:buSzPts val="1764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Google Shape;951;p12~1">
            <a:extLst>
              <a:ext uri="{FF2B5EF4-FFF2-40B4-BE49-F238E27FC236}">
                <a16:creationId xmlns:a16="http://schemas.microsoft.com/office/drawing/2014/main" id="{0B9D3CE4-5A55-E2A3-E50D-6D726F8BE306}"/>
              </a:ext>
            </a:extLst>
          </p:cNvPr>
          <p:cNvSpPr/>
          <p:nvPr/>
        </p:nvSpPr>
        <p:spPr>
          <a:xfrm flipH="1">
            <a:off x="8825096" y="1579969"/>
            <a:ext cx="1892050" cy="2485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96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23" name="Shape3_20210617_094420">
            <a:extLst>
              <a:ext uri="{FF2B5EF4-FFF2-40B4-BE49-F238E27FC236}">
                <a16:creationId xmlns:a16="http://schemas.microsoft.com/office/drawing/2014/main" id="{96AD8417-02E5-FF5F-0BEF-3A48410A7435}"/>
              </a:ext>
            </a:extLst>
          </p:cNvPr>
          <p:cNvCxnSpPr/>
          <p:nvPr/>
        </p:nvCxnSpPr>
        <p:spPr>
          <a:xfrm>
            <a:off x="8825096" y="1891191"/>
            <a:ext cx="189205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ysDot"/>
            <a:round/>
            <a:headEnd type="none" w="sm" len="sm"/>
            <a:tailEnd type="none" w="sm" len="sm"/>
          </a:ln>
          <a:effectLst/>
        </p:spPr>
      </p:cxnSp>
      <p:sp>
        <p:nvSpPr>
          <p:cNvPr id="24" name="Shape3_20220429_085301">
            <a:extLst>
              <a:ext uri="{FF2B5EF4-FFF2-40B4-BE49-F238E27FC236}">
                <a16:creationId xmlns:a16="http://schemas.microsoft.com/office/drawing/2014/main" id="{EF6EE05E-8F9C-B032-D091-B041C7DAB4C3}"/>
              </a:ext>
            </a:extLst>
          </p:cNvPr>
          <p:cNvSpPr/>
          <p:nvPr/>
        </p:nvSpPr>
        <p:spPr>
          <a:xfrm>
            <a:off x="9442971" y="3400339"/>
            <a:ext cx="607332" cy="60732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4</a:t>
            </a:r>
            <a:endParaRPr sz="1600" b="1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82413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6B600-DFA2-AF80-3584-14CF3A4248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9BB15A3-A89F-13E1-5AD4-75CDBD6C18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BB15A3-A89F-13E1-5AD4-75CDBD6C18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CC647B-84B5-5883-7030-086E4714E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292DF24-BB3A-1C34-3C89-BD513DA94CF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BEAEA67-70CC-3BB1-E1DD-C54CF2AB33F2}"/>
              </a:ext>
            </a:extLst>
          </p:cNvPr>
          <p:cNvSpPr txBox="1">
            <a:spLocks/>
          </p:cNvSpPr>
          <p:nvPr/>
        </p:nvSpPr>
        <p:spPr>
          <a:xfrm>
            <a:off x="3136740" y="10746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E8D7B41-47A6-2F99-7F69-805A71BFBC5A}"/>
              </a:ext>
            </a:extLst>
          </p:cNvPr>
          <p:cNvSpPr/>
          <p:nvPr/>
        </p:nvSpPr>
        <p:spPr>
          <a:xfrm>
            <a:off x="540034" y="1170070"/>
            <a:ext cx="1071436" cy="307777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48FB340-4AFE-0984-D92C-02ACC8AB639F}"/>
              </a:ext>
            </a:extLst>
          </p:cNvPr>
          <p:cNvSpPr txBox="1">
            <a:spLocks/>
          </p:cNvSpPr>
          <p:nvPr/>
        </p:nvSpPr>
        <p:spPr>
          <a:xfrm>
            <a:off x="3406734" y="1579525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2BCB7C8F-8701-8493-C052-9C3A81075758}"/>
              </a:ext>
            </a:extLst>
          </p:cNvPr>
          <p:cNvCxnSpPr/>
          <p:nvPr/>
        </p:nvCxnSpPr>
        <p:spPr>
          <a:xfrm>
            <a:off x="540036" y="1954012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27A55A93-CEE8-80E7-9270-A4143599BDE2}"/>
              </a:ext>
            </a:extLst>
          </p:cNvPr>
          <p:cNvSpPr txBox="1">
            <a:spLocks/>
          </p:cNvSpPr>
          <p:nvPr/>
        </p:nvSpPr>
        <p:spPr>
          <a:xfrm>
            <a:off x="3406734" y="2020735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4BCFC30-E8D3-1C35-CB43-027FDE653E36}"/>
              </a:ext>
            </a:extLst>
          </p:cNvPr>
          <p:cNvCxnSpPr/>
          <p:nvPr/>
        </p:nvCxnSpPr>
        <p:spPr>
          <a:xfrm>
            <a:off x="540036" y="239522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70E5CECE-D2D2-CE45-6A43-3AC76660817C}"/>
              </a:ext>
            </a:extLst>
          </p:cNvPr>
          <p:cNvSpPr txBox="1">
            <a:spLocks/>
          </p:cNvSpPr>
          <p:nvPr/>
        </p:nvSpPr>
        <p:spPr>
          <a:xfrm>
            <a:off x="3406734" y="2461944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16972D0-588B-808F-5E1E-FF33BF3B39BE}"/>
              </a:ext>
            </a:extLst>
          </p:cNvPr>
          <p:cNvCxnSpPr/>
          <p:nvPr/>
        </p:nvCxnSpPr>
        <p:spPr>
          <a:xfrm>
            <a:off x="540036" y="283643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5F560166-36B0-746E-2A8F-34C033459ECA}"/>
              </a:ext>
            </a:extLst>
          </p:cNvPr>
          <p:cNvSpPr txBox="1">
            <a:spLocks/>
          </p:cNvSpPr>
          <p:nvPr/>
        </p:nvSpPr>
        <p:spPr>
          <a:xfrm>
            <a:off x="3406734" y="2903158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2ECBFB41-39A8-4D96-31ED-B861EAA9B75F}"/>
              </a:ext>
            </a:extLst>
          </p:cNvPr>
          <p:cNvCxnSpPr/>
          <p:nvPr/>
        </p:nvCxnSpPr>
        <p:spPr>
          <a:xfrm>
            <a:off x="540036" y="327764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1B47BD34-0C9F-820C-0ADE-D9E69C88DE1F}"/>
              </a:ext>
            </a:extLst>
          </p:cNvPr>
          <p:cNvSpPr txBox="1">
            <a:spLocks/>
          </p:cNvSpPr>
          <p:nvPr/>
        </p:nvSpPr>
        <p:spPr>
          <a:xfrm>
            <a:off x="3406734" y="3344370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CF738E16-7E67-B210-AAE6-935AA4CB261C}"/>
              </a:ext>
            </a:extLst>
          </p:cNvPr>
          <p:cNvCxnSpPr/>
          <p:nvPr/>
        </p:nvCxnSpPr>
        <p:spPr>
          <a:xfrm>
            <a:off x="540036" y="3718855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B7A93F04-C847-EC21-5605-086D75FB07EE}"/>
              </a:ext>
            </a:extLst>
          </p:cNvPr>
          <p:cNvSpPr txBox="1">
            <a:spLocks/>
          </p:cNvSpPr>
          <p:nvPr/>
        </p:nvSpPr>
        <p:spPr>
          <a:xfrm>
            <a:off x="3406734" y="3785583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D1B6CB1-13E2-3E1C-2B54-1D66CAE312E2}"/>
              </a:ext>
            </a:extLst>
          </p:cNvPr>
          <p:cNvCxnSpPr/>
          <p:nvPr/>
        </p:nvCxnSpPr>
        <p:spPr>
          <a:xfrm>
            <a:off x="540036" y="416006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9C31E745-0847-7326-04EF-96D2F2AD83B5}"/>
              </a:ext>
            </a:extLst>
          </p:cNvPr>
          <p:cNvSpPr txBox="1">
            <a:spLocks/>
          </p:cNvSpPr>
          <p:nvPr/>
        </p:nvSpPr>
        <p:spPr>
          <a:xfrm>
            <a:off x="3406734" y="4226789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18DC2D6-D304-AD81-D8E6-CE8A0130C05B}"/>
              </a:ext>
            </a:extLst>
          </p:cNvPr>
          <p:cNvCxnSpPr/>
          <p:nvPr/>
        </p:nvCxnSpPr>
        <p:spPr>
          <a:xfrm>
            <a:off x="540036" y="4601279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>
            <a:extLst>
              <a:ext uri="{FF2B5EF4-FFF2-40B4-BE49-F238E27FC236}">
                <a16:creationId xmlns:a16="http://schemas.microsoft.com/office/drawing/2014/main" id="{D4E95CA6-ED53-638A-5393-EEEC631C0C4A}"/>
              </a:ext>
            </a:extLst>
          </p:cNvPr>
          <p:cNvSpPr txBox="1">
            <a:spLocks/>
          </p:cNvSpPr>
          <p:nvPr/>
        </p:nvSpPr>
        <p:spPr>
          <a:xfrm>
            <a:off x="3406734" y="4667999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6B7410B8-B065-36D9-9D36-75545D4CCEA3}"/>
              </a:ext>
            </a:extLst>
          </p:cNvPr>
          <p:cNvCxnSpPr/>
          <p:nvPr/>
        </p:nvCxnSpPr>
        <p:spPr>
          <a:xfrm>
            <a:off x="540036" y="504248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E712E7E0-464D-3F7E-0789-2304EFAC5502}"/>
              </a:ext>
            </a:extLst>
          </p:cNvPr>
          <p:cNvSpPr txBox="1">
            <a:spLocks/>
          </p:cNvSpPr>
          <p:nvPr/>
        </p:nvSpPr>
        <p:spPr>
          <a:xfrm>
            <a:off x="3406734" y="5109208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1737D37A-3A4B-2FBD-7C84-61BEE867DC28}"/>
              </a:ext>
            </a:extLst>
          </p:cNvPr>
          <p:cNvCxnSpPr/>
          <p:nvPr/>
        </p:nvCxnSpPr>
        <p:spPr>
          <a:xfrm>
            <a:off x="540036" y="548369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ADE7ADDD-BE8C-8348-9D96-057AFFA59D72}"/>
              </a:ext>
            </a:extLst>
          </p:cNvPr>
          <p:cNvSpPr txBox="1"/>
          <p:nvPr/>
        </p:nvSpPr>
        <p:spPr>
          <a:xfrm>
            <a:off x="540036" y="1579525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2724BE4-0815-E786-5496-E3E4FC35E2FC}"/>
              </a:ext>
            </a:extLst>
          </p:cNvPr>
          <p:cNvSpPr txBox="1"/>
          <p:nvPr/>
        </p:nvSpPr>
        <p:spPr>
          <a:xfrm>
            <a:off x="540036" y="2020735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6776B3CE-3BB2-E1AE-9B7A-C8FEDD93FC28}"/>
              </a:ext>
            </a:extLst>
          </p:cNvPr>
          <p:cNvSpPr txBox="1"/>
          <p:nvPr/>
        </p:nvSpPr>
        <p:spPr>
          <a:xfrm>
            <a:off x="540036" y="2461947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1184054D-1DEB-AC22-3E0F-C1D6366B5262}"/>
              </a:ext>
            </a:extLst>
          </p:cNvPr>
          <p:cNvSpPr txBox="1"/>
          <p:nvPr/>
        </p:nvSpPr>
        <p:spPr>
          <a:xfrm>
            <a:off x="540036" y="2903158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76D7FD8E-7C89-3458-0406-018D886BCC14}"/>
              </a:ext>
            </a:extLst>
          </p:cNvPr>
          <p:cNvSpPr txBox="1"/>
          <p:nvPr/>
        </p:nvSpPr>
        <p:spPr>
          <a:xfrm>
            <a:off x="540036" y="3344370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8F2192BD-D87E-D478-7CC0-3424BA67A6B2}"/>
              </a:ext>
            </a:extLst>
          </p:cNvPr>
          <p:cNvSpPr txBox="1"/>
          <p:nvPr/>
        </p:nvSpPr>
        <p:spPr>
          <a:xfrm>
            <a:off x="540036" y="3785583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FB4CC22-0592-9A46-7519-C4D9CDFFAD51}"/>
              </a:ext>
            </a:extLst>
          </p:cNvPr>
          <p:cNvSpPr txBox="1"/>
          <p:nvPr/>
        </p:nvSpPr>
        <p:spPr>
          <a:xfrm>
            <a:off x="540036" y="4226790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7E47E47-745C-FCC9-099C-34874CDCA958}"/>
              </a:ext>
            </a:extLst>
          </p:cNvPr>
          <p:cNvSpPr txBox="1"/>
          <p:nvPr/>
        </p:nvSpPr>
        <p:spPr>
          <a:xfrm>
            <a:off x="540036" y="4667999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ED27FF3E-4A11-0482-8624-DD9E408C693E}"/>
              </a:ext>
            </a:extLst>
          </p:cNvPr>
          <p:cNvSpPr txBox="1"/>
          <p:nvPr/>
        </p:nvSpPr>
        <p:spPr>
          <a:xfrm>
            <a:off x="540036" y="5109208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02B83C3-7BA6-DC5A-6695-636C04E1765C}"/>
              </a:ext>
            </a:extLst>
          </p:cNvPr>
          <p:cNvSpPr txBox="1"/>
          <p:nvPr/>
        </p:nvSpPr>
        <p:spPr>
          <a:xfrm>
            <a:off x="540036" y="5550426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F5DC16DA-7746-8F9B-5EB0-1BE9504DB1C2}"/>
              </a:ext>
            </a:extLst>
          </p:cNvPr>
          <p:cNvSpPr txBox="1">
            <a:spLocks/>
          </p:cNvSpPr>
          <p:nvPr/>
        </p:nvSpPr>
        <p:spPr>
          <a:xfrm>
            <a:off x="3406734" y="5550426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F28A77A0-CD5C-8282-3788-83601EAE2CE7}"/>
              </a:ext>
            </a:extLst>
          </p:cNvPr>
          <p:cNvCxnSpPr/>
          <p:nvPr/>
        </p:nvCxnSpPr>
        <p:spPr>
          <a:xfrm>
            <a:off x="532367" y="1477847"/>
            <a:ext cx="3553794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81875393-A63D-525A-EA15-9A1ABFAFE5E7}"/>
              </a:ext>
            </a:extLst>
          </p:cNvPr>
          <p:cNvSpPr txBox="1">
            <a:spLocks/>
          </p:cNvSpPr>
          <p:nvPr/>
        </p:nvSpPr>
        <p:spPr>
          <a:xfrm>
            <a:off x="6962961" y="10746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F329272-67C3-A30F-9C92-826F9AE028FD}"/>
              </a:ext>
            </a:extLst>
          </p:cNvPr>
          <p:cNvSpPr/>
          <p:nvPr/>
        </p:nvSpPr>
        <p:spPr>
          <a:xfrm>
            <a:off x="4379181" y="1170070"/>
            <a:ext cx="1071436" cy="307777"/>
          </a:xfrm>
          <a:prstGeom prst="rect">
            <a:avLst/>
          </a:prstGeom>
          <a:solidFill>
            <a:schemeClr val="accent2"/>
          </a:solidFill>
          <a:ln>
            <a:solidFill>
              <a:srgbClr val="0B8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5B87EC8C-31EC-2584-3C3C-0181150FC639}"/>
              </a:ext>
            </a:extLst>
          </p:cNvPr>
          <p:cNvSpPr txBox="1">
            <a:spLocks/>
          </p:cNvSpPr>
          <p:nvPr/>
        </p:nvSpPr>
        <p:spPr>
          <a:xfrm>
            <a:off x="7246097" y="157952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F0135DC4-E845-8FBD-25A3-9531010CB251}"/>
              </a:ext>
            </a:extLst>
          </p:cNvPr>
          <p:cNvCxnSpPr/>
          <p:nvPr/>
        </p:nvCxnSpPr>
        <p:spPr>
          <a:xfrm>
            <a:off x="4379180" y="1954012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13C761C3-D94D-8412-C77B-31DD8E088ABE}"/>
              </a:ext>
            </a:extLst>
          </p:cNvPr>
          <p:cNvSpPr txBox="1">
            <a:spLocks/>
          </p:cNvSpPr>
          <p:nvPr/>
        </p:nvSpPr>
        <p:spPr>
          <a:xfrm>
            <a:off x="7246097" y="202073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8B42BF14-0E7D-FD38-C8E7-E16B1D13BC11}"/>
              </a:ext>
            </a:extLst>
          </p:cNvPr>
          <p:cNvCxnSpPr/>
          <p:nvPr/>
        </p:nvCxnSpPr>
        <p:spPr>
          <a:xfrm>
            <a:off x="4379180" y="239522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05F16DD7-FBE2-11B7-BD85-67ADE37A9AD2}"/>
              </a:ext>
            </a:extLst>
          </p:cNvPr>
          <p:cNvSpPr txBox="1">
            <a:spLocks/>
          </p:cNvSpPr>
          <p:nvPr/>
        </p:nvSpPr>
        <p:spPr>
          <a:xfrm>
            <a:off x="7246097" y="2461944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0EBA48CE-C952-4F0A-6D22-52E79AE165FD}"/>
              </a:ext>
            </a:extLst>
          </p:cNvPr>
          <p:cNvCxnSpPr/>
          <p:nvPr/>
        </p:nvCxnSpPr>
        <p:spPr>
          <a:xfrm>
            <a:off x="4379180" y="283643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4D272279-8B99-94AE-4D31-B9E571D649B1}"/>
              </a:ext>
            </a:extLst>
          </p:cNvPr>
          <p:cNvSpPr txBox="1">
            <a:spLocks/>
          </p:cNvSpPr>
          <p:nvPr/>
        </p:nvSpPr>
        <p:spPr>
          <a:xfrm>
            <a:off x="7246097" y="290315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0A0BC555-D663-4486-34FB-009A6322148A}"/>
              </a:ext>
            </a:extLst>
          </p:cNvPr>
          <p:cNvCxnSpPr/>
          <p:nvPr/>
        </p:nvCxnSpPr>
        <p:spPr>
          <a:xfrm>
            <a:off x="4379180" y="327764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41C66F79-73E9-994C-B5A9-78D34D6A171C}"/>
              </a:ext>
            </a:extLst>
          </p:cNvPr>
          <p:cNvSpPr txBox="1">
            <a:spLocks/>
          </p:cNvSpPr>
          <p:nvPr/>
        </p:nvSpPr>
        <p:spPr>
          <a:xfrm>
            <a:off x="7246097" y="3344370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27376330-2ACF-7E8C-DE44-CD5BA10B20F4}"/>
              </a:ext>
            </a:extLst>
          </p:cNvPr>
          <p:cNvCxnSpPr/>
          <p:nvPr/>
        </p:nvCxnSpPr>
        <p:spPr>
          <a:xfrm>
            <a:off x="4379180" y="3718855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Box 149">
            <a:extLst>
              <a:ext uri="{FF2B5EF4-FFF2-40B4-BE49-F238E27FC236}">
                <a16:creationId xmlns:a16="http://schemas.microsoft.com/office/drawing/2014/main" id="{64FB2EAC-F193-0BAD-5266-CE7595D11305}"/>
              </a:ext>
            </a:extLst>
          </p:cNvPr>
          <p:cNvSpPr txBox="1">
            <a:spLocks/>
          </p:cNvSpPr>
          <p:nvPr/>
        </p:nvSpPr>
        <p:spPr>
          <a:xfrm>
            <a:off x="7246097" y="3785583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973DFA8B-0040-932A-3394-D25DA4A802AB}"/>
              </a:ext>
            </a:extLst>
          </p:cNvPr>
          <p:cNvCxnSpPr/>
          <p:nvPr/>
        </p:nvCxnSpPr>
        <p:spPr>
          <a:xfrm>
            <a:off x="4379180" y="416006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id="{18DB42FD-F62C-3375-C689-3CB997C76934}"/>
              </a:ext>
            </a:extLst>
          </p:cNvPr>
          <p:cNvSpPr txBox="1">
            <a:spLocks/>
          </p:cNvSpPr>
          <p:nvPr/>
        </p:nvSpPr>
        <p:spPr>
          <a:xfrm>
            <a:off x="7246097" y="422678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275BC8A7-A271-703A-0888-A58F11D74CFE}"/>
              </a:ext>
            </a:extLst>
          </p:cNvPr>
          <p:cNvCxnSpPr/>
          <p:nvPr/>
        </p:nvCxnSpPr>
        <p:spPr>
          <a:xfrm>
            <a:off x="4379180" y="4601279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>
            <a:extLst>
              <a:ext uri="{FF2B5EF4-FFF2-40B4-BE49-F238E27FC236}">
                <a16:creationId xmlns:a16="http://schemas.microsoft.com/office/drawing/2014/main" id="{2DF08D30-02A4-39D9-824A-B59497F88E7B}"/>
              </a:ext>
            </a:extLst>
          </p:cNvPr>
          <p:cNvSpPr txBox="1">
            <a:spLocks/>
          </p:cNvSpPr>
          <p:nvPr/>
        </p:nvSpPr>
        <p:spPr>
          <a:xfrm>
            <a:off x="7246097" y="466799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1543592A-3B87-31DF-0072-0E70DB4B617C}"/>
              </a:ext>
            </a:extLst>
          </p:cNvPr>
          <p:cNvCxnSpPr/>
          <p:nvPr/>
        </p:nvCxnSpPr>
        <p:spPr>
          <a:xfrm>
            <a:off x="4379180" y="504248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8BE0D4B0-9F9E-7755-A84E-C951468E5C92}"/>
              </a:ext>
            </a:extLst>
          </p:cNvPr>
          <p:cNvSpPr txBox="1">
            <a:spLocks/>
          </p:cNvSpPr>
          <p:nvPr/>
        </p:nvSpPr>
        <p:spPr>
          <a:xfrm>
            <a:off x="7246097" y="510920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7329EF5D-B880-E4C4-2778-08263D8EBE46}"/>
              </a:ext>
            </a:extLst>
          </p:cNvPr>
          <p:cNvCxnSpPr/>
          <p:nvPr/>
        </p:nvCxnSpPr>
        <p:spPr>
          <a:xfrm>
            <a:off x="4379180" y="548369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F3FCD288-1E03-00E9-6B01-0D05512FC49B}"/>
              </a:ext>
            </a:extLst>
          </p:cNvPr>
          <p:cNvSpPr txBox="1"/>
          <p:nvPr/>
        </p:nvSpPr>
        <p:spPr>
          <a:xfrm>
            <a:off x="4379181" y="157952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24CF7860-B180-BC37-21D0-5AE8F1F9023F}"/>
              </a:ext>
            </a:extLst>
          </p:cNvPr>
          <p:cNvSpPr txBox="1"/>
          <p:nvPr/>
        </p:nvSpPr>
        <p:spPr>
          <a:xfrm>
            <a:off x="4379181" y="202073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9335C61-BCD4-611D-37B8-8AB9D6A9BF93}"/>
              </a:ext>
            </a:extLst>
          </p:cNvPr>
          <p:cNvSpPr txBox="1"/>
          <p:nvPr/>
        </p:nvSpPr>
        <p:spPr>
          <a:xfrm>
            <a:off x="4379181" y="2461947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352B6EAA-58D5-DE9C-E9AD-5B5554A05855}"/>
              </a:ext>
            </a:extLst>
          </p:cNvPr>
          <p:cNvSpPr txBox="1"/>
          <p:nvPr/>
        </p:nvSpPr>
        <p:spPr>
          <a:xfrm>
            <a:off x="4379181" y="290315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70E3DF97-4861-441D-30FB-06C35392C478}"/>
              </a:ext>
            </a:extLst>
          </p:cNvPr>
          <p:cNvSpPr txBox="1"/>
          <p:nvPr/>
        </p:nvSpPr>
        <p:spPr>
          <a:xfrm>
            <a:off x="4379181" y="334437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81A1A463-E116-2C00-4C1F-0DC197C944BF}"/>
              </a:ext>
            </a:extLst>
          </p:cNvPr>
          <p:cNvSpPr txBox="1"/>
          <p:nvPr/>
        </p:nvSpPr>
        <p:spPr>
          <a:xfrm>
            <a:off x="4379181" y="3785583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AEB3B374-B598-FD5D-DF46-8BFCF83B0582}"/>
              </a:ext>
            </a:extLst>
          </p:cNvPr>
          <p:cNvSpPr txBox="1"/>
          <p:nvPr/>
        </p:nvSpPr>
        <p:spPr>
          <a:xfrm>
            <a:off x="4379181" y="422679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7AD4C2DC-B912-F349-2424-6FD0774B9839}"/>
              </a:ext>
            </a:extLst>
          </p:cNvPr>
          <p:cNvSpPr txBox="1"/>
          <p:nvPr/>
        </p:nvSpPr>
        <p:spPr>
          <a:xfrm>
            <a:off x="4379181" y="4667999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49AD5F37-3C42-FBBC-C2BB-681152039994}"/>
              </a:ext>
            </a:extLst>
          </p:cNvPr>
          <p:cNvSpPr txBox="1"/>
          <p:nvPr/>
        </p:nvSpPr>
        <p:spPr>
          <a:xfrm>
            <a:off x="4379181" y="510920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3147F749-3A3C-7DBC-6F4A-300268B86DDE}"/>
              </a:ext>
            </a:extLst>
          </p:cNvPr>
          <p:cNvSpPr txBox="1"/>
          <p:nvPr/>
        </p:nvSpPr>
        <p:spPr>
          <a:xfrm>
            <a:off x="4379181" y="5550426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AA625072-088B-4562-32FA-1E241502408A}"/>
              </a:ext>
            </a:extLst>
          </p:cNvPr>
          <p:cNvSpPr txBox="1">
            <a:spLocks/>
          </p:cNvSpPr>
          <p:nvPr/>
        </p:nvSpPr>
        <p:spPr>
          <a:xfrm>
            <a:off x="7246097" y="5550426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B310074-F2FE-6056-DA4F-F59DAB978FA6}"/>
              </a:ext>
            </a:extLst>
          </p:cNvPr>
          <p:cNvCxnSpPr/>
          <p:nvPr/>
        </p:nvCxnSpPr>
        <p:spPr>
          <a:xfrm>
            <a:off x="4371710" y="1477847"/>
            <a:ext cx="3553607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552587FB-D5BD-AF9E-5D95-2D21D8F6FD59}"/>
              </a:ext>
            </a:extLst>
          </p:cNvPr>
          <p:cNvSpPr txBox="1">
            <a:spLocks/>
          </p:cNvSpPr>
          <p:nvPr/>
        </p:nvSpPr>
        <p:spPr>
          <a:xfrm>
            <a:off x="10770748" y="10746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8D4922FD-09AF-8E52-9477-2B9157AB3899}"/>
              </a:ext>
            </a:extLst>
          </p:cNvPr>
          <p:cNvSpPr/>
          <p:nvPr/>
        </p:nvSpPr>
        <p:spPr>
          <a:xfrm>
            <a:off x="8186968" y="1170070"/>
            <a:ext cx="1071436" cy="307777"/>
          </a:xfrm>
          <a:prstGeom prst="rect">
            <a:avLst/>
          </a:prstGeom>
          <a:solidFill>
            <a:schemeClr val="accent2"/>
          </a:solidFill>
          <a:ln>
            <a:solidFill>
              <a:srgbClr val="0B8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330D7E07-B78C-6214-5827-71820A1762B6}"/>
              </a:ext>
            </a:extLst>
          </p:cNvPr>
          <p:cNvSpPr txBox="1">
            <a:spLocks/>
          </p:cNvSpPr>
          <p:nvPr/>
        </p:nvSpPr>
        <p:spPr>
          <a:xfrm>
            <a:off x="11053884" y="157952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08442D01-57FC-5C64-6DBC-8AC0C542DF1D}"/>
              </a:ext>
            </a:extLst>
          </p:cNvPr>
          <p:cNvCxnSpPr/>
          <p:nvPr/>
        </p:nvCxnSpPr>
        <p:spPr>
          <a:xfrm>
            <a:off x="8186967" y="1954012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Box 176">
            <a:extLst>
              <a:ext uri="{FF2B5EF4-FFF2-40B4-BE49-F238E27FC236}">
                <a16:creationId xmlns:a16="http://schemas.microsoft.com/office/drawing/2014/main" id="{99E94530-51CF-F743-7BFC-E6C58C865851}"/>
              </a:ext>
            </a:extLst>
          </p:cNvPr>
          <p:cNvSpPr txBox="1">
            <a:spLocks/>
          </p:cNvSpPr>
          <p:nvPr/>
        </p:nvSpPr>
        <p:spPr>
          <a:xfrm>
            <a:off x="11053884" y="202073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2BDF32B4-407A-74BF-5E10-FC47477B3823}"/>
              </a:ext>
            </a:extLst>
          </p:cNvPr>
          <p:cNvCxnSpPr/>
          <p:nvPr/>
        </p:nvCxnSpPr>
        <p:spPr>
          <a:xfrm>
            <a:off x="8186967" y="239522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D5A58FC9-0D09-9459-9241-089919E55B0E}"/>
              </a:ext>
            </a:extLst>
          </p:cNvPr>
          <p:cNvSpPr txBox="1">
            <a:spLocks/>
          </p:cNvSpPr>
          <p:nvPr/>
        </p:nvSpPr>
        <p:spPr>
          <a:xfrm>
            <a:off x="11053884" y="2461944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5FF18A51-9ECC-9B8D-2F3D-4C1F4D1B898B}"/>
              </a:ext>
            </a:extLst>
          </p:cNvPr>
          <p:cNvCxnSpPr/>
          <p:nvPr/>
        </p:nvCxnSpPr>
        <p:spPr>
          <a:xfrm>
            <a:off x="8186967" y="283643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TextBox 180">
            <a:extLst>
              <a:ext uri="{FF2B5EF4-FFF2-40B4-BE49-F238E27FC236}">
                <a16:creationId xmlns:a16="http://schemas.microsoft.com/office/drawing/2014/main" id="{B60A5C00-2BBB-FB42-102F-C186A7346BCD}"/>
              </a:ext>
            </a:extLst>
          </p:cNvPr>
          <p:cNvSpPr txBox="1">
            <a:spLocks/>
          </p:cNvSpPr>
          <p:nvPr/>
        </p:nvSpPr>
        <p:spPr>
          <a:xfrm>
            <a:off x="11053884" y="290315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82BCC997-A80F-E094-6651-4BBA81D7F8DA}"/>
              </a:ext>
            </a:extLst>
          </p:cNvPr>
          <p:cNvCxnSpPr/>
          <p:nvPr/>
        </p:nvCxnSpPr>
        <p:spPr>
          <a:xfrm>
            <a:off x="8186967" y="327764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7814B7E6-9EAA-98D3-FB13-56FD50B33E36}"/>
              </a:ext>
            </a:extLst>
          </p:cNvPr>
          <p:cNvSpPr txBox="1">
            <a:spLocks/>
          </p:cNvSpPr>
          <p:nvPr/>
        </p:nvSpPr>
        <p:spPr>
          <a:xfrm>
            <a:off x="11053884" y="3344370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AD199C46-9121-261A-B093-83DB94E74D05}"/>
              </a:ext>
            </a:extLst>
          </p:cNvPr>
          <p:cNvCxnSpPr/>
          <p:nvPr/>
        </p:nvCxnSpPr>
        <p:spPr>
          <a:xfrm>
            <a:off x="8186967" y="3718855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TextBox 184">
            <a:extLst>
              <a:ext uri="{FF2B5EF4-FFF2-40B4-BE49-F238E27FC236}">
                <a16:creationId xmlns:a16="http://schemas.microsoft.com/office/drawing/2014/main" id="{5748C297-F5E0-2C3E-EFC0-9B6379ABB6BE}"/>
              </a:ext>
            </a:extLst>
          </p:cNvPr>
          <p:cNvSpPr txBox="1">
            <a:spLocks/>
          </p:cNvSpPr>
          <p:nvPr/>
        </p:nvSpPr>
        <p:spPr>
          <a:xfrm>
            <a:off x="11053884" y="3785583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521CB661-6E85-5416-DEE8-57B122C3E89E}"/>
              </a:ext>
            </a:extLst>
          </p:cNvPr>
          <p:cNvCxnSpPr/>
          <p:nvPr/>
        </p:nvCxnSpPr>
        <p:spPr>
          <a:xfrm>
            <a:off x="8186967" y="416006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Box 186">
            <a:extLst>
              <a:ext uri="{FF2B5EF4-FFF2-40B4-BE49-F238E27FC236}">
                <a16:creationId xmlns:a16="http://schemas.microsoft.com/office/drawing/2014/main" id="{53D0BE2E-64F0-F27A-F60E-4F564C5DEC72}"/>
              </a:ext>
            </a:extLst>
          </p:cNvPr>
          <p:cNvSpPr txBox="1">
            <a:spLocks/>
          </p:cNvSpPr>
          <p:nvPr/>
        </p:nvSpPr>
        <p:spPr>
          <a:xfrm>
            <a:off x="11053884" y="422678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E24363E9-B0EF-686E-FB97-D78EC81F23FA}"/>
              </a:ext>
            </a:extLst>
          </p:cNvPr>
          <p:cNvCxnSpPr/>
          <p:nvPr/>
        </p:nvCxnSpPr>
        <p:spPr>
          <a:xfrm>
            <a:off x="8186967" y="4601279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Box 188">
            <a:extLst>
              <a:ext uri="{FF2B5EF4-FFF2-40B4-BE49-F238E27FC236}">
                <a16:creationId xmlns:a16="http://schemas.microsoft.com/office/drawing/2014/main" id="{DD97DC1D-ACD1-9C9C-1835-F23FDC049C93}"/>
              </a:ext>
            </a:extLst>
          </p:cNvPr>
          <p:cNvSpPr txBox="1">
            <a:spLocks/>
          </p:cNvSpPr>
          <p:nvPr/>
        </p:nvSpPr>
        <p:spPr>
          <a:xfrm>
            <a:off x="11053884" y="466799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9060E8-6968-C0CC-FDB1-E7042F368039}"/>
              </a:ext>
            </a:extLst>
          </p:cNvPr>
          <p:cNvCxnSpPr/>
          <p:nvPr/>
        </p:nvCxnSpPr>
        <p:spPr>
          <a:xfrm>
            <a:off x="8186967" y="504248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9AE6C90C-94C1-E5B7-A1AC-B505BCF59C8E}"/>
              </a:ext>
            </a:extLst>
          </p:cNvPr>
          <p:cNvSpPr txBox="1">
            <a:spLocks/>
          </p:cNvSpPr>
          <p:nvPr/>
        </p:nvSpPr>
        <p:spPr>
          <a:xfrm>
            <a:off x="11053884" y="510920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86552261-A882-647B-9A98-BA69ED90F96B}"/>
              </a:ext>
            </a:extLst>
          </p:cNvPr>
          <p:cNvCxnSpPr/>
          <p:nvPr/>
        </p:nvCxnSpPr>
        <p:spPr>
          <a:xfrm>
            <a:off x="8186967" y="548369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5D9E20E4-028B-4323-5E5C-ECDE3B129578}"/>
              </a:ext>
            </a:extLst>
          </p:cNvPr>
          <p:cNvSpPr txBox="1"/>
          <p:nvPr/>
        </p:nvSpPr>
        <p:spPr>
          <a:xfrm>
            <a:off x="8186968" y="157952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E90646EE-E993-15BE-EAE0-F9F177D93419}"/>
              </a:ext>
            </a:extLst>
          </p:cNvPr>
          <p:cNvSpPr txBox="1"/>
          <p:nvPr/>
        </p:nvSpPr>
        <p:spPr>
          <a:xfrm>
            <a:off x="8186968" y="202073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03B70620-0C9A-0470-8B8C-34ABA260473C}"/>
              </a:ext>
            </a:extLst>
          </p:cNvPr>
          <p:cNvSpPr txBox="1"/>
          <p:nvPr/>
        </p:nvSpPr>
        <p:spPr>
          <a:xfrm>
            <a:off x="8186968" y="2461947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2027AD12-7598-8C36-34E5-80713D55ACE1}"/>
              </a:ext>
            </a:extLst>
          </p:cNvPr>
          <p:cNvSpPr txBox="1"/>
          <p:nvPr/>
        </p:nvSpPr>
        <p:spPr>
          <a:xfrm>
            <a:off x="8186968" y="290315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D876934-28E4-5557-BCCB-165110F085EB}"/>
              </a:ext>
            </a:extLst>
          </p:cNvPr>
          <p:cNvSpPr txBox="1"/>
          <p:nvPr/>
        </p:nvSpPr>
        <p:spPr>
          <a:xfrm>
            <a:off x="8186968" y="334437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8BDA193E-23DD-C991-655D-81C04950951D}"/>
              </a:ext>
            </a:extLst>
          </p:cNvPr>
          <p:cNvSpPr txBox="1"/>
          <p:nvPr/>
        </p:nvSpPr>
        <p:spPr>
          <a:xfrm>
            <a:off x="8186968" y="3785583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F148AC2F-3E69-DD29-9C7F-9694F7CFF24E}"/>
              </a:ext>
            </a:extLst>
          </p:cNvPr>
          <p:cNvSpPr txBox="1"/>
          <p:nvPr/>
        </p:nvSpPr>
        <p:spPr>
          <a:xfrm>
            <a:off x="8186968" y="422679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5BF4D901-B1DE-892C-5406-03F17FFFDFB2}"/>
              </a:ext>
            </a:extLst>
          </p:cNvPr>
          <p:cNvSpPr txBox="1"/>
          <p:nvPr/>
        </p:nvSpPr>
        <p:spPr>
          <a:xfrm>
            <a:off x="8186968" y="4667999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0EBEECC2-D837-AE3C-BCE3-2DD92F394A75}"/>
              </a:ext>
            </a:extLst>
          </p:cNvPr>
          <p:cNvSpPr txBox="1"/>
          <p:nvPr/>
        </p:nvSpPr>
        <p:spPr>
          <a:xfrm>
            <a:off x="8186968" y="510920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509318FF-4288-0470-9FD3-9BED51AD840C}"/>
              </a:ext>
            </a:extLst>
          </p:cNvPr>
          <p:cNvSpPr txBox="1"/>
          <p:nvPr/>
        </p:nvSpPr>
        <p:spPr>
          <a:xfrm>
            <a:off x="8186968" y="5550426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13F1A971-A8C4-714B-1225-4CDAC52FB6CC}"/>
              </a:ext>
            </a:extLst>
          </p:cNvPr>
          <p:cNvSpPr txBox="1">
            <a:spLocks/>
          </p:cNvSpPr>
          <p:nvPr/>
        </p:nvSpPr>
        <p:spPr>
          <a:xfrm>
            <a:off x="11053884" y="5550426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74A1DF4-FBD3-DF55-0393-4741A1F6214F}"/>
              </a:ext>
            </a:extLst>
          </p:cNvPr>
          <p:cNvCxnSpPr>
            <a:cxnSpLocks/>
          </p:cNvCxnSpPr>
          <p:nvPr/>
        </p:nvCxnSpPr>
        <p:spPr>
          <a:xfrm>
            <a:off x="8179497" y="1477847"/>
            <a:ext cx="3553607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013733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3BF289-01B3-B4E7-71DA-A68F007B9D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EB9B87C-9CEB-A257-2E87-4AA690D2E8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741104-5AF7-5F63-5E38-1FBF6E369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51FBA7-23EB-BACC-39E7-1A5A8782E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EB09BB1-58B7-67A6-BD77-B5E366DDDB2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5" name="Google Shape;5613;p85">
            <a:extLst>
              <a:ext uri="{FF2B5EF4-FFF2-40B4-BE49-F238E27FC236}">
                <a16:creationId xmlns:a16="http://schemas.microsoft.com/office/drawing/2014/main" id="{8194AB46-8222-7134-0F7E-08621E2BDD39}"/>
              </a:ext>
            </a:extLst>
          </p:cNvPr>
          <p:cNvSpPr/>
          <p:nvPr/>
        </p:nvSpPr>
        <p:spPr>
          <a:xfrm>
            <a:off x="630475" y="1900701"/>
            <a:ext cx="10953393" cy="655276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sz="2400" dirty="0">
              <a:cs typeface="Arial" panose="020B0604020202020204" pitchFamily="34" charset="0"/>
            </a:endParaRPr>
          </a:p>
        </p:txBody>
      </p:sp>
      <p:cxnSp>
        <p:nvCxnSpPr>
          <p:cNvPr id="26" name="Shape1_20220429_101214">
            <a:extLst>
              <a:ext uri="{FF2B5EF4-FFF2-40B4-BE49-F238E27FC236}">
                <a16:creationId xmlns:a16="http://schemas.microsoft.com/office/drawing/2014/main" id="{E2A7159D-CA32-978F-7304-B1A6E47D1BCA}"/>
              </a:ext>
            </a:extLst>
          </p:cNvPr>
          <p:cNvCxnSpPr/>
          <p:nvPr/>
        </p:nvCxnSpPr>
        <p:spPr>
          <a:xfrm>
            <a:off x="630475" y="1957894"/>
            <a:ext cx="10953393" cy="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7" name="Shape2_20220429_101214">
            <a:extLst>
              <a:ext uri="{FF2B5EF4-FFF2-40B4-BE49-F238E27FC236}">
                <a16:creationId xmlns:a16="http://schemas.microsoft.com/office/drawing/2014/main" id="{91AAC134-9759-50E2-CFEE-85B70118773A}"/>
              </a:ext>
            </a:extLst>
          </p:cNvPr>
          <p:cNvCxnSpPr/>
          <p:nvPr/>
        </p:nvCxnSpPr>
        <p:spPr>
          <a:xfrm>
            <a:off x="630475" y="2503597"/>
            <a:ext cx="10953393" cy="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8" name="Shape0_20220429_101214">
            <a:extLst>
              <a:ext uri="{FF2B5EF4-FFF2-40B4-BE49-F238E27FC236}">
                <a16:creationId xmlns:a16="http://schemas.microsoft.com/office/drawing/2014/main" id="{0D528AD3-ADCE-AC93-F793-ADF1A06AFF9C}"/>
              </a:ext>
            </a:extLst>
          </p:cNvPr>
          <p:cNvCxnSpPr/>
          <p:nvPr/>
        </p:nvCxnSpPr>
        <p:spPr>
          <a:xfrm>
            <a:off x="630475" y="2230744"/>
            <a:ext cx="10953393" cy="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65000"/>
              </a:schemeClr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9" name="Google Shape;5623;p85">
            <a:extLst>
              <a:ext uri="{FF2B5EF4-FFF2-40B4-BE49-F238E27FC236}">
                <a16:creationId xmlns:a16="http://schemas.microsoft.com/office/drawing/2014/main" id="{E604ADA8-E563-0D80-C677-B4C195A37227}"/>
              </a:ext>
            </a:extLst>
          </p:cNvPr>
          <p:cNvSpPr txBox="1"/>
          <p:nvPr/>
        </p:nvSpPr>
        <p:spPr>
          <a:xfrm>
            <a:off x="3178615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0" name="Google Shape;5629;p85">
            <a:extLst>
              <a:ext uri="{FF2B5EF4-FFF2-40B4-BE49-F238E27FC236}">
                <a16:creationId xmlns:a16="http://schemas.microsoft.com/office/drawing/2014/main" id="{D099CFFA-7535-CC33-D99F-B950CD3AA4F9}"/>
              </a:ext>
            </a:extLst>
          </p:cNvPr>
          <p:cNvSpPr txBox="1"/>
          <p:nvPr/>
        </p:nvSpPr>
        <p:spPr>
          <a:xfrm>
            <a:off x="1150543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1" name="Google Shape;5635;p85">
            <a:extLst>
              <a:ext uri="{FF2B5EF4-FFF2-40B4-BE49-F238E27FC236}">
                <a16:creationId xmlns:a16="http://schemas.microsoft.com/office/drawing/2014/main" id="{E6B98E68-AB88-4EFA-C4DF-48EDDC403D62}"/>
              </a:ext>
            </a:extLst>
          </p:cNvPr>
          <p:cNvSpPr txBox="1"/>
          <p:nvPr/>
        </p:nvSpPr>
        <p:spPr>
          <a:xfrm>
            <a:off x="7234760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2" name="Google Shape;5641;p85">
            <a:extLst>
              <a:ext uri="{FF2B5EF4-FFF2-40B4-BE49-F238E27FC236}">
                <a16:creationId xmlns:a16="http://schemas.microsoft.com/office/drawing/2014/main" id="{2FC47CFD-0BEE-32FD-0999-F9862F722E72}"/>
              </a:ext>
            </a:extLst>
          </p:cNvPr>
          <p:cNvSpPr txBox="1"/>
          <p:nvPr/>
        </p:nvSpPr>
        <p:spPr>
          <a:xfrm>
            <a:off x="5206690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3" name="Google Shape;5651;p85">
            <a:extLst>
              <a:ext uri="{FF2B5EF4-FFF2-40B4-BE49-F238E27FC236}">
                <a16:creationId xmlns:a16="http://schemas.microsoft.com/office/drawing/2014/main" id="{A02EDDFD-4EDE-983C-4117-4ED59288CA76}"/>
              </a:ext>
            </a:extLst>
          </p:cNvPr>
          <p:cNvSpPr txBox="1"/>
          <p:nvPr/>
        </p:nvSpPr>
        <p:spPr>
          <a:xfrm>
            <a:off x="9262834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cxnSp>
        <p:nvCxnSpPr>
          <p:cNvPr id="34" name="Shape1_20221012_151024">
            <a:extLst>
              <a:ext uri="{FF2B5EF4-FFF2-40B4-BE49-F238E27FC236}">
                <a16:creationId xmlns:a16="http://schemas.microsoft.com/office/drawing/2014/main" id="{FE40E88F-E4FE-721E-495F-9B3EEA127AF9}"/>
              </a:ext>
            </a:extLst>
          </p:cNvPr>
          <p:cNvCxnSpPr/>
          <p:nvPr/>
        </p:nvCxnSpPr>
        <p:spPr>
          <a:xfrm>
            <a:off x="3065219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5" name="Shape0_20221012_151024">
            <a:extLst>
              <a:ext uri="{FF2B5EF4-FFF2-40B4-BE49-F238E27FC236}">
                <a16:creationId xmlns:a16="http://schemas.microsoft.com/office/drawing/2014/main" id="{AA87B042-1F0C-EF43-1FFC-2F8FE9D665A4}"/>
              </a:ext>
            </a:extLst>
          </p:cNvPr>
          <p:cNvCxnSpPr/>
          <p:nvPr/>
        </p:nvCxnSpPr>
        <p:spPr>
          <a:xfrm>
            <a:off x="5093288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6" name="Shape2_20221012_151024">
            <a:extLst>
              <a:ext uri="{FF2B5EF4-FFF2-40B4-BE49-F238E27FC236}">
                <a16:creationId xmlns:a16="http://schemas.microsoft.com/office/drawing/2014/main" id="{D32ADF6D-8388-B24D-A173-A85907261DAE}"/>
              </a:ext>
            </a:extLst>
          </p:cNvPr>
          <p:cNvCxnSpPr/>
          <p:nvPr/>
        </p:nvCxnSpPr>
        <p:spPr>
          <a:xfrm>
            <a:off x="7121363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7" name="Shape3_20221012_151024">
            <a:extLst>
              <a:ext uri="{FF2B5EF4-FFF2-40B4-BE49-F238E27FC236}">
                <a16:creationId xmlns:a16="http://schemas.microsoft.com/office/drawing/2014/main" id="{ACB0AD72-4E56-6242-36C1-F293AE1AE706}"/>
              </a:ext>
            </a:extLst>
          </p:cNvPr>
          <p:cNvCxnSpPr/>
          <p:nvPr/>
        </p:nvCxnSpPr>
        <p:spPr>
          <a:xfrm>
            <a:off x="9149437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C5C76A4-B4E1-FCE5-2D7C-3579979CE7C9}"/>
              </a:ext>
            </a:extLst>
          </p:cNvPr>
          <p:cNvGrpSpPr/>
          <p:nvPr/>
        </p:nvGrpSpPr>
        <p:grpSpPr>
          <a:xfrm>
            <a:off x="1781229" y="1388728"/>
            <a:ext cx="539911" cy="740656"/>
            <a:chOff x="1762393" y="1525451"/>
            <a:chExt cx="540868" cy="741968"/>
          </a:xfrm>
        </p:grpSpPr>
        <p:sp>
          <p:nvSpPr>
            <p:cNvPr id="39" name="Google Shape;2244;p66">
              <a:extLst>
                <a:ext uri="{FF2B5EF4-FFF2-40B4-BE49-F238E27FC236}">
                  <a16:creationId xmlns:a16="http://schemas.microsoft.com/office/drawing/2014/main" id="{5794C850-92F8-EBCF-5275-67FB3993F290}"/>
                </a:ext>
              </a:extLst>
            </p:cNvPr>
            <p:cNvSpPr/>
            <p:nvPr/>
          </p:nvSpPr>
          <p:spPr>
            <a:xfrm>
              <a:off x="1762393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40" name="Google Shape;2245;p66">
              <a:extLst>
                <a:ext uri="{FF2B5EF4-FFF2-40B4-BE49-F238E27FC236}">
                  <a16:creationId xmlns:a16="http://schemas.microsoft.com/office/drawing/2014/main" id="{34CD04F3-4127-9C6C-FFED-A1549C64B655}"/>
                </a:ext>
              </a:extLst>
            </p:cNvPr>
            <p:cNvSpPr/>
            <p:nvPr/>
          </p:nvSpPr>
          <p:spPr>
            <a:xfrm>
              <a:off x="2032827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5167">
                <a:alpha val="29019"/>
              </a:srgbClr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41" name="Google Shape;2246;p66">
              <a:extLst>
                <a:ext uri="{FF2B5EF4-FFF2-40B4-BE49-F238E27FC236}">
                  <a16:creationId xmlns:a16="http://schemas.microsoft.com/office/drawing/2014/main" id="{D14B256F-7FF1-C3E3-C7FF-FC25D72193D6}"/>
                </a:ext>
              </a:extLst>
            </p:cNvPr>
            <p:cNvSpPr/>
            <p:nvPr/>
          </p:nvSpPr>
          <p:spPr>
            <a:xfrm>
              <a:off x="1810026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42" name="Google Shape;2247;p66">
              <a:extLst>
                <a:ext uri="{FF2B5EF4-FFF2-40B4-BE49-F238E27FC236}">
                  <a16:creationId xmlns:a16="http://schemas.microsoft.com/office/drawing/2014/main" id="{014BADF8-92FC-E7D5-17F1-5F7276DEE53C}"/>
                </a:ext>
              </a:extLst>
            </p:cNvPr>
            <p:cNvSpPr/>
            <p:nvPr/>
          </p:nvSpPr>
          <p:spPr>
            <a:xfrm>
              <a:off x="1831982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1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866EEFA-8731-1B30-C0E6-A3491D3E77E5}"/>
              </a:ext>
            </a:extLst>
          </p:cNvPr>
          <p:cNvGrpSpPr/>
          <p:nvPr/>
        </p:nvGrpSpPr>
        <p:grpSpPr>
          <a:xfrm>
            <a:off x="3809301" y="1388728"/>
            <a:ext cx="539911" cy="740656"/>
            <a:chOff x="3794058" y="1525451"/>
            <a:chExt cx="540868" cy="741968"/>
          </a:xfrm>
        </p:grpSpPr>
        <p:sp>
          <p:nvSpPr>
            <p:cNvPr id="44" name="Google Shape;2258;p66">
              <a:extLst>
                <a:ext uri="{FF2B5EF4-FFF2-40B4-BE49-F238E27FC236}">
                  <a16:creationId xmlns:a16="http://schemas.microsoft.com/office/drawing/2014/main" id="{25376DCF-46F2-2E29-2547-1F04FF6851FF}"/>
                </a:ext>
              </a:extLst>
            </p:cNvPr>
            <p:cNvSpPr/>
            <p:nvPr/>
          </p:nvSpPr>
          <p:spPr>
            <a:xfrm>
              <a:off x="3794058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45" name="Google Shape;2259;p66">
              <a:extLst>
                <a:ext uri="{FF2B5EF4-FFF2-40B4-BE49-F238E27FC236}">
                  <a16:creationId xmlns:a16="http://schemas.microsoft.com/office/drawing/2014/main" id="{556BCBC1-430C-9907-826E-98117AE8ACDF}"/>
                </a:ext>
              </a:extLst>
            </p:cNvPr>
            <p:cNvSpPr/>
            <p:nvPr/>
          </p:nvSpPr>
          <p:spPr>
            <a:xfrm>
              <a:off x="4064492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46" name="Google Shape;2260;p66">
              <a:extLst>
                <a:ext uri="{FF2B5EF4-FFF2-40B4-BE49-F238E27FC236}">
                  <a16:creationId xmlns:a16="http://schemas.microsoft.com/office/drawing/2014/main" id="{618EFA84-FFEF-A13E-7586-EF2BB8A2FB5B}"/>
                </a:ext>
              </a:extLst>
            </p:cNvPr>
            <p:cNvSpPr/>
            <p:nvPr/>
          </p:nvSpPr>
          <p:spPr>
            <a:xfrm>
              <a:off x="3841691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47" name="Google Shape;2261;p66">
              <a:extLst>
                <a:ext uri="{FF2B5EF4-FFF2-40B4-BE49-F238E27FC236}">
                  <a16:creationId xmlns:a16="http://schemas.microsoft.com/office/drawing/2014/main" id="{E156ACB8-E6E6-CC19-E63F-DD395B84C272}"/>
                </a:ext>
              </a:extLst>
            </p:cNvPr>
            <p:cNvSpPr/>
            <p:nvPr/>
          </p:nvSpPr>
          <p:spPr>
            <a:xfrm>
              <a:off x="3863647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2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C935A96-DFF6-CB05-2CE6-BC280D240961}"/>
              </a:ext>
            </a:extLst>
          </p:cNvPr>
          <p:cNvGrpSpPr/>
          <p:nvPr/>
        </p:nvGrpSpPr>
        <p:grpSpPr>
          <a:xfrm>
            <a:off x="5837375" y="1388728"/>
            <a:ext cx="539911" cy="740656"/>
            <a:chOff x="5825724" y="1525451"/>
            <a:chExt cx="540868" cy="741968"/>
          </a:xfrm>
        </p:grpSpPr>
        <p:sp>
          <p:nvSpPr>
            <p:cNvPr id="49" name="Google Shape;2263;p66">
              <a:extLst>
                <a:ext uri="{FF2B5EF4-FFF2-40B4-BE49-F238E27FC236}">
                  <a16:creationId xmlns:a16="http://schemas.microsoft.com/office/drawing/2014/main" id="{5AFEFBF1-18F9-D2FE-C873-211C0DB17A37}"/>
                </a:ext>
              </a:extLst>
            </p:cNvPr>
            <p:cNvSpPr/>
            <p:nvPr/>
          </p:nvSpPr>
          <p:spPr>
            <a:xfrm>
              <a:off x="5825724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50" name="Google Shape;2264;p66">
              <a:extLst>
                <a:ext uri="{FF2B5EF4-FFF2-40B4-BE49-F238E27FC236}">
                  <a16:creationId xmlns:a16="http://schemas.microsoft.com/office/drawing/2014/main" id="{B97EF51C-E845-5CEC-B167-F61CB17F4EAA}"/>
                </a:ext>
              </a:extLst>
            </p:cNvPr>
            <p:cNvSpPr/>
            <p:nvPr/>
          </p:nvSpPr>
          <p:spPr>
            <a:xfrm>
              <a:off x="6096158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5167">
                <a:alpha val="29019"/>
              </a:srgbClr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51" name="Google Shape;2265;p66">
              <a:extLst>
                <a:ext uri="{FF2B5EF4-FFF2-40B4-BE49-F238E27FC236}">
                  <a16:creationId xmlns:a16="http://schemas.microsoft.com/office/drawing/2014/main" id="{E9F3C4F5-30F6-6D0F-91ED-C35E6DCDB582}"/>
                </a:ext>
              </a:extLst>
            </p:cNvPr>
            <p:cNvSpPr/>
            <p:nvPr/>
          </p:nvSpPr>
          <p:spPr>
            <a:xfrm>
              <a:off x="5873357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52" name="Google Shape;2266;p66">
              <a:extLst>
                <a:ext uri="{FF2B5EF4-FFF2-40B4-BE49-F238E27FC236}">
                  <a16:creationId xmlns:a16="http://schemas.microsoft.com/office/drawing/2014/main" id="{463FEECD-87A4-213A-1E9E-0DFC2F1BFE17}"/>
                </a:ext>
              </a:extLst>
            </p:cNvPr>
            <p:cNvSpPr/>
            <p:nvPr/>
          </p:nvSpPr>
          <p:spPr>
            <a:xfrm>
              <a:off x="5895313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3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11DEE46-12CF-4B5D-F2F8-8417CA2E7586}"/>
              </a:ext>
            </a:extLst>
          </p:cNvPr>
          <p:cNvGrpSpPr/>
          <p:nvPr/>
        </p:nvGrpSpPr>
        <p:grpSpPr>
          <a:xfrm>
            <a:off x="7865446" y="1388728"/>
            <a:ext cx="539911" cy="740656"/>
            <a:chOff x="7857390" y="1525451"/>
            <a:chExt cx="540868" cy="741968"/>
          </a:xfrm>
        </p:grpSpPr>
        <p:sp>
          <p:nvSpPr>
            <p:cNvPr id="54" name="Google Shape;2268;p66">
              <a:extLst>
                <a:ext uri="{FF2B5EF4-FFF2-40B4-BE49-F238E27FC236}">
                  <a16:creationId xmlns:a16="http://schemas.microsoft.com/office/drawing/2014/main" id="{DEED2612-B675-BBB0-629E-0E1C22D99A45}"/>
                </a:ext>
              </a:extLst>
            </p:cNvPr>
            <p:cNvSpPr/>
            <p:nvPr/>
          </p:nvSpPr>
          <p:spPr>
            <a:xfrm>
              <a:off x="7857390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56" name="Google Shape;2269;p66">
              <a:extLst>
                <a:ext uri="{FF2B5EF4-FFF2-40B4-BE49-F238E27FC236}">
                  <a16:creationId xmlns:a16="http://schemas.microsoft.com/office/drawing/2014/main" id="{48CE5610-E381-FB94-5624-BDB96E8721AC}"/>
                </a:ext>
              </a:extLst>
            </p:cNvPr>
            <p:cNvSpPr/>
            <p:nvPr/>
          </p:nvSpPr>
          <p:spPr>
            <a:xfrm>
              <a:off x="8127824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57" name="Google Shape;2270;p66">
              <a:extLst>
                <a:ext uri="{FF2B5EF4-FFF2-40B4-BE49-F238E27FC236}">
                  <a16:creationId xmlns:a16="http://schemas.microsoft.com/office/drawing/2014/main" id="{9EDDD2D3-6F62-CEF8-1753-AAA69AE05183}"/>
                </a:ext>
              </a:extLst>
            </p:cNvPr>
            <p:cNvSpPr/>
            <p:nvPr/>
          </p:nvSpPr>
          <p:spPr>
            <a:xfrm>
              <a:off x="7905023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58" name="Google Shape;2271;p66">
              <a:extLst>
                <a:ext uri="{FF2B5EF4-FFF2-40B4-BE49-F238E27FC236}">
                  <a16:creationId xmlns:a16="http://schemas.microsoft.com/office/drawing/2014/main" id="{41FCDFDB-F5EB-E323-DFE9-424B7861514F}"/>
                </a:ext>
              </a:extLst>
            </p:cNvPr>
            <p:cNvSpPr/>
            <p:nvPr/>
          </p:nvSpPr>
          <p:spPr>
            <a:xfrm>
              <a:off x="7926979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4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4D8BEB6-45E1-4FF4-BF88-3BBF9E6A69C3}"/>
              </a:ext>
            </a:extLst>
          </p:cNvPr>
          <p:cNvGrpSpPr/>
          <p:nvPr/>
        </p:nvGrpSpPr>
        <p:grpSpPr>
          <a:xfrm>
            <a:off x="9893518" y="1388728"/>
            <a:ext cx="539911" cy="740656"/>
            <a:chOff x="9889055" y="1525451"/>
            <a:chExt cx="540868" cy="741968"/>
          </a:xfrm>
        </p:grpSpPr>
        <p:sp>
          <p:nvSpPr>
            <p:cNvPr id="60" name="Google Shape;2273;p66">
              <a:extLst>
                <a:ext uri="{FF2B5EF4-FFF2-40B4-BE49-F238E27FC236}">
                  <a16:creationId xmlns:a16="http://schemas.microsoft.com/office/drawing/2014/main" id="{A60152F5-0EB8-8553-9ECF-998D5B67AC8A}"/>
                </a:ext>
              </a:extLst>
            </p:cNvPr>
            <p:cNvSpPr/>
            <p:nvPr/>
          </p:nvSpPr>
          <p:spPr>
            <a:xfrm>
              <a:off x="9889055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61" name="Google Shape;2274;p66">
              <a:extLst>
                <a:ext uri="{FF2B5EF4-FFF2-40B4-BE49-F238E27FC236}">
                  <a16:creationId xmlns:a16="http://schemas.microsoft.com/office/drawing/2014/main" id="{8E56329F-1B5A-4F22-4BA7-3FEE20B5EFBE}"/>
                </a:ext>
              </a:extLst>
            </p:cNvPr>
            <p:cNvSpPr/>
            <p:nvPr/>
          </p:nvSpPr>
          <p:spPr>
            <a:xfrm>
              <a:off x="10159489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62" name="Google Shape;2275;p66">
              <a:extLst>
                <a:ext uri="{FF2B5EF4-FFF2-40B4-BE49-F238E27FC236}">
                  <a16:creationId xmlns:a16="http://schemas.microsoft.com/office/drawing/2014/main" id="{9EC13E83-ADEE-29BE-7F30-B8B46A7094B1}"/>
                </a:ext>
              </a:extLst>
            </p:cNvPr>
            <p:cNvSpPr/>
            <p:nvPr/>
          </p:nvSpPr>
          <p:spPr>
            <a:xfrm>
              <a:off x="9936688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63" name="Google Shape;2276;p66">
              <a:extLst>
                <a:ext uri="{FF2B5EF4-FFF2-40B4-BE49-F238E27FC236}">
                  <a16:creationId xmlns:a16="http://schemas.microsoft.com/office/drawing/2014/main" id="{6367A8BC-7190-1B2E-5563-D040CD136272}"/>
                </a:ext>
              </a:extLst>
            </p:cNvPr>
            <p:cNvSpPr/>
            <p:nvPr/>
          </p:nvSpPr>
          <p:spPr>
            <a:xfrm>
              <a:off x="9958644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5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732412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4B7BA9-1ED5-F4D0-67BA-72379E770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423C98E-F59F-53E4-1342-FE254A70B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B9B87C-9CEB-A257-2E87-4AA690D2E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1F8747-0AA0-6A58-CF42-CBF3C35C6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297E097-A1A2-90C1-614D-E386C765F91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Google Shape;2647;p50">
            <a:extLst>
              <a:ext uri="{FF2B5EF4-FFF2-40B4-BE49-F238E27FC236}">
                <a16:creationId xmlns:a16="http://schemas.microsoft.com/office/drawing/2014/main" id="{9D6B923A-4670-55F1-CA24-868FB2C29C8D}"/>
              </a:ext>
            </a:extLst>
          </p:cNvPr>
          <p:cNvSpPr/>
          <p:nvPr/>
        </p:nvSpPr>
        <p:spPr>
          <a:xfrm>
            <a:off x="456104" y="3141727"/>
            <a:ext cx="2331435" cy="953847"/>
          </a:xfrm>
          <a:prstGeom prst="homePlate">
            <a:avLst>
              <a:gd name="adj" fmla="val 2742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6" name="Google Shape;2647;p50~1">
            <a:extLst>
              <a:ext uri="{FF2B5EF4-FFF2-40B4-BE49-F238E27FC236}">
                <a16:creationId xmlns:a16="http://schemas.microsoft.com/office/drawing/2014/main" id="{5D498E32-0E7D-1629-26A6-D50F1E48EA11}"/>
              </a:ext>
            </a:extLst>
          </p:cNvPr>
          <p:cNvSpPr/>
          <p:nvPr/>
        </p:nvSpPr>
        <p:spPr>
          <a:xfrm>
            <a:off x="2699833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7" name="Google Shape;2647;p50~2">
            <a:extLst>
              <a:ext uri="{FF2B5EF4-FFF2-40B4-BE49-F238E27FC236}">
                <a16:creationId xmlns:a16="http://schemas.microsoft.com/office/drawing/2014/main" id="{9A7E90EC-CCCC-D34D-5824-EC90C74A6B4E}"/>
              </a:ext>
            </a:extLst>
          </p:cNvPr>
          <p:cNvSpPr/>
          <p:nvPr/>
        </p:nvSpPr>
        <p:spPr>
          <a:xfrm>
            <a:off x="4943565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8" name="Google Shape;2647;p50~3">
            <a:extLst>
              <a:ext uri="{FF2B5EF4-FFF2-40B4-BE49-F238E27FC236}">
                <a16:creationId xmlns:a16="http://schemas.microsoft.com/office/drawing/2014/main" id="{4C4A0438-9906-8B2D-9BBD-1A80695BE120}"/>
              </a:ext>
            </a:extLst>
          </p:cNvPr>
          <p:cNvSpPr/>
          <p:nvPr/>
        </p:nvSpPr>
        <p:spPr>
          <a:xfrm>
            <a:off x="7187293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9" name="Google Shape;2647;p50~4">
            <a:extLst>
              <a:ext uri="{FF2B5EF4-FFF2-40B4-BE49-F238E27FC236}">
                <a16:creationId xmlns:a16="http://schemas.microsoft.com/office/drawing/2014/main" id="{683C97AF-3CCD-7660-CE5C-0E31485C7877}"/>
              </a:ext>
            </a:extLst>
          </p:cNvPr>
          <p:cNvSpPr/>
          <p:nvPr/>
        </p:nvSpPr>
        <p:spPr>
          <a:xfrm>
            <a:off x="9431027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6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10" name="Shape1_20220106_101645">
            <a:extLst>
              <a:ext uri="{FF2B5EF4-FFF2-40B4-BE49-F238E27FC236}">
                <a16:creationId xmlns:a16="http://schemas.microsoft.com/office/drawing/2014/main" id="{5C78B92A-04A5-03A8-533E-7097079ADB73}"/>
              </a:ext>
            </a:extLst>
          </p:cNvPr>
          <p:cNvSpPr txBox="1"/>
          <p:nvPr/>
        </p:nvSpPr>
        <p:spPr>
          <a:xfrm>
            <a:off x="106492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1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Shape2_20220106_101645">
            <a:extLst>
              <a:ext uri="{FF2B5EF4-FFF2-40B4-BE49-F238E27FC236}">
                <a16:creationId xmlns:a16="http://schemas.microsoft.com/office/drawing/2014/main" id="{21FD74CA-1C0F-6871-6D30-5D3372FF4ADA}"/>
              </a:ext>
            </a:extLst>
          </p:cNvPr>
          <p:cNvSpPr txBox="1"/>
          <p:nvPr/>
        </p:nvSpPr>
        <p:spPr>
          <a:xfrm>
            <a:off x="3308651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2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Shape3_20220106_101645">
            <a:extLst>
              <a:ext uri="{FF2B5EF4-FFF2-40B4-BE49-F238E27FC236}">
                <a16:creationId xmlns:a16="http://schemas.microsoft.com/office/drawing/2014/main" id="{2286D73C-3F9A-321A-0C17-C1751C517AC3}"/>
              </a:ext>
            </a:extLst>
          </p:cNvPr>
          <p:cNvSpPr txBox="1"/>
          <p:nvPr/>
        </p:nvSpPr>
        <p:spPr>
          <a:xfrm>
            <a:off x="555238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3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Shape4_20220106_101645">
            <a:extLst>
              <a:ext uri="{FF2B5EF4-FFF2-40B4-BE49-F238E27FC236}">
                <a16:creationId xmlns:a16="http://schemas.microsoft.com/office/drawing/2014/main" id="{079EA0E9-6E03-7C1B-689F-06E5D6F9DE49}"/>
              </a:ext>
            </a:extLst>
          </p:cNvPr>
          <p:cNvSpPr txBox="1"/>
          <p:nvPr/>
        </p:nvSpPr>
        <p:spPr>
          <a:xfrm>
            <a:off x="779611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4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Shape0_20220106_101645">
            <a:extLst>
              <a:ext uri="{FF2B5EF4-FFF2-40B4-BE49-F238E27FC236}">
                <a16:creationId xmlns:a16="http://schemas.microsoft.com/office/drawing/2014/main" id="{B7AAD615-72D4-74AD-A486-9008D0B43C47}"/>
              </a:ext>
            </a:extLst>
          </p:cNvPr>
          <p:cNvSpPr txBox="1"/>
          <p:nvPr/>
        </p:nvSpPr>
        <p:spPr>
          <a:xfrm>
            <a:off x="10039844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05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15" name="Google Shape;2659;p50">
            <a:extLst>
              <a:ext uri="{FF2B5EF4-FFF2-40B4-BE49-F238E27FC236}">
                <a16:creationId xmlns:a16="http://schemas.microsoft.com/office/drawing/2014/main" id="{B97E5BEE-32BB-0ACD-351C-C5B7482F5248}"/>
              </a:ext>
            </a:extLst>
          </p:cNvPr>
          <p:cNvSpPr txBox="1"/>
          <p:nvPr/>
        </p:nvSpPr>
        <p:spPr>
          <a:xfrm>
            <a:off x="418350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6" name="Google Shape;2660;p50">
            <a:extLst>
              <a:ext uri="{FF2B5EF4-FFF2-40B4-BE49-F238E27FC236}">
                <a16:creationId xmlns:a16="http://schemas.microsoft.com/office/drawing/2014/main" id="{08B83C74-79DE-773D-2206-D42F80738847}"/>
              </a:ext>
            </a:extLst>
          </p:cNvPr>
          <p:cNvSpPr txBox="1"/>
          <p:nvPr/>
        </p:nvSpPr>
        <p:spPr>
          <a:xfrm>
            <a:off x="542112" y="2009684"/>
            <a:ext cx="1596106" cy="643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7" name="Google Shape;2661;p50">
            <a:extLst>
              <a:ext uri="{FF2B5EF4-FFF2-40B4-BE49-F238E27FC236}">
                <a16:creationId xmlns:a16="http://schemas.microsoft.com/office/drawing/2014/main" id="{23FF2FCA-CE3D-F91D-92F4-69CB82330E4B}"/>
              </a:ext>
            </a:extLst>
          </p:cNvPr>
          <p:cNvSpPr txBox="1"/>
          <p:nvPr/>
        </p:nvSpPr>
        <p:spPr>
          <a:xfrm>
            <a:off x="2526581" y="4830683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8" name="Google Shape;2662;p50">
            <a:extLst>
              <a:ext uri="{FF2B5EF4-FFF2-40B4-BE49-F238E27FC236}">
                <a16:creationId xmlns:a16="http://schemas.microsoft.com/office/drawing/2014/main" id="{69FAA87B-F32E-29C0-C943-C89F77A3DCF1}"/>
              </a:ext>
            </a:extLst>
          </p:cNvPr>
          <p:cNvSpPr txBox="1"/>
          <p:nvPr/>
        </p:nvSpPr>
        <p:spPr>
          <a:xfrm>
            <a:off x="2337476" y="5268446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9" name="Google Shape;2663;p50">
            <a:extLst>
              <a:ext uri="{FF2B5EF4-FFF2-40B4-BE49-F238E27FC236}">
                <a16:creationId xmlns:a16="http://schemas.microsoft.com/office/drawing/2014/main" id="{755A2805-40B8-879B-4CCF-6E2E36B77D6A}"/>
              </a:ext>
            </a:extLst>
          </p:cNvPr>
          <p:cNvSpPr txBox="1"/>
          <p:nvPr/>
        </p:nvSpPr>
        <p:spPr>
          <a:xfrm>
            <a:off x="4856781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0" name="Google Shape;2664;p50">
            <a:extLst>
              <a:ext uri="{FF2B5EF4-FFF2-40B4-BE49-F238E27FC236}">
                <a16:creationId xmlns:a16="http://schemas.microsoft.com/office/drawing/2014/main" id="{6F47A440-76E4-4420-4A16-788FEF4E0B12}"/>
              </a:ext>
            </a:extLst>
          </p:cNvPr>
          <p:cNvSpPr txBox="1"/>
          <p:nvPr/>
        </p:nvSpPr>
        <p:spPr>
          <a:xfrm>
            <a:off x="4667676" y="2009685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1" name="Google Shape;2665;p50">
            <a:extLst>
              <a:ext uri="{FF2B5EF4-FFF2-40B4-BE49-F238E27FC236}">
                <a16:creationId xmlns:a16="http://schemas.microsoft.com/office/drawing/2014/main" id="{A377B519-868A-5BD6-5AED-8DCBE1876835}"/>
              </a:ext>
            </a:extLst>
          </p:cNvPr>
          <p:cNvSpPr txBox="1"/>
          <p:nvPr/>
        </p:nvSpPr>
        <p:spPr>
          <a:xfrm>
            <a:off x="7045780" y="4830683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Google Shape;2666;p50">
            <a:extLst>
              <a:ext uri="{FF2B5EF4-FFF2-40B4-BE49-F238E27FC236}">
                <a16:creationId xmlns:a16="http://schemas.microsoft.com/office/drawing/2014/main" id="{356D4E0A-54E7-E029-C283-884A536ED9BF}"/>
              </a:ext>
            </a:extLst>
          </p:cNvPr>
          <p:cNvSpPr txBox="1"/>
          <p:nvPr/>
        </p:nvSpPr>
        <p:spPr>
          <a:xfrm>
            <a:off x="6856671" y="5268446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3" name="Google Shape;2667;p50">
            <a:extLst>
              <a:ext uri="{FF2B5EF4-FFF2-40B4-BE49-F238E27FC236}">
                <a16:creationId xmlns:a16="http://schemas.microsoft.com/office/drawing/2014/main" id="{099D22AD-A97C-297F-EA16-D22FC18288CA}"/>
              </a:ext>
            </a:extLst>
          </p:cNvPr>
          <p:cNvSpPr txBox="1"/>
          <p:nvPr/>
        </p:nvSpPr>
        <p:spPr>
          <a:xfrm>
            <a:off x="9272223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4" name="Google Shape;2668;p50">
            <a:extLst>
              <a:ext uri="{FF2B5EF4-FFF2-40B4-BE49-F238E27FC236}">
                <a16:creationId xmlns:a16="http://schemas.microsoft.com/office/drawing/2014/main" id="{09EFD6CF-DF36-698E-45B4-68C02480EBE9}"/>
              </a:ext>
            </a:extLst>
          </p:cNvPr>
          <p:cNvSpPr txBox="1"/>
          <p:nvPr/>
        </p:nvSpPr>
        <p:spPr>
          <a:xfrm>
            <a:off x="9083121" y="2009685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5EE8D29-2A43-4734-DB3E-74AC80EC0AB7}"/>
              </a:ext>
            </a:extLst>
          </p:cNvPr>
          <p:cNvCxnSpPr/>
          <p:nvPr/>
        </p:nvCxnSpPr>
        <p:spPr>
          <a:xfrm flipV="1">
            <a:off x="2178721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705200D-B854-748F-1F5B-81487B340001}"/>
              </a:ext>
            </a:extLst>
          </p:cNvPr>
          <p:cNvCxnSpPr/>
          <p:nvPr/>
        </p:nvCxnSpPr>
        <p:spPr>
          <a:xfrm flipV="1">
            <a:off x="4422451" y="4095579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78D1E66-8144-C9D5-27E7-5674A7AFEAD4}"/>
              </a:ext>
            </a:extLst>
          </p:cNvPr>
          <p:cNvCxnSpPr/>
          <p:nvPr/>
        </p:nvCxnSpPr>
        <p:spPr>
          <a:xfrm flipV="1">
            <a:off x="8909912" y="4095579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4BF91B4-80CA-3741-CBB7-8E31F28ADA54}"/>
              </a:ext>
            </a:extLst>
          </p:cNvPr>
          <p:cNvCxnSpPr/>
          <p:nvPr/>
        </p:nvCxnSpPr>
        <p:spPr>
          <a:xfrm flipV="1">
            <a:off x="6666182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E0AD1D9-6777-6B45-077A-149ADB683121}"/>
              </a:ext>
            </a:extLst>
          </p:cNvPr>
          <p:cNvCxnSpPr/>
          <p:nvPr/>
        </p:nvCxnSpPr>
        <p:spPr>
          <a:xfrm flipV="1">
            <a:off x="11153645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3478706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B96B16-2FA3-C45B-3505-315834C49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787BCAF-B30C-3838-B9F3-6C8F376892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23C98E-F59F-53E4-1342-FE254A70B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07B8CE-34E3-B259-68C1-FC7A91D1C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A714A2D-91AC-143A-802D-BC380E0C42A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2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BE91B38-0170-9959-9FCC-B6F07CA9A22E}"/>
              </a:ext>
            </a:extLst>
          </p:cNvPr>
          <p:cNvGrpSpPr/>
          <p:nvPr/>
        </p:nvGrpSpPr>
        <p:grpSpPr>
          <a:xfrm>
            <a:off x="630475" y="1612401"/>
            <a:ext cx="11173261" cy="2880664"/>
            <a:chOff x="775503" y="2359745"/>
            <a:chExt cx="10806896" cy="2786209"/>
          </a:xfrm>
        </p:grpSpPr>
        <p:cxnSp>
          <p:nvCxnSpPr>
            <p:cNvPr id="25" name="Shape0_20210830_121341">
              <a:extLst>
                <a:ext uri="{FF2B5EF4-FFF2-40B4-BE49-F238E27FC236}">
                  <a16:creationId xmlns:a16="http://schemas.microsoft.com/office/drawing/2014/main" id="{5EE68E56-6650-6FCF-611E-057E69F44216}"/>
                </a:ext>
              </a:extLst>
            </p:cNvPr>
            <p:cNvCxnSpPr>
              <a:cxnSpLocks/>
            </p:cNvCxnSpPr>
            <p:nvPr/>
          </p:nvCxnSpPr>
          <p:spPr>
            <a:xfrm>
              <a:off x="775503" y="4327739"/>
              <a:ext cx="1386157" cy="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oval" w="med" len="med"/>
              <a:tailEnd type="none" w="sm" len="sm"/>
            </a:ln>
          </p:spPr>
        </p:cxnSp>
        <p:cxnSp>
          <p:nvCxnSpPr>
            <p:cNvPr id="26" name="Shape1_20210830_121341">
              <a:extLst>
                <a:ext uri="{FF2B5EF4-FFF2-40B4-BE49-F238E27FC236}">
                  <a16:creationId xmlns:a16="http://schemas.microsoft.com/office/drawing/2014/main" id="{28E7A6F0-2D30-B071-5605-492BC2691CBE}"/>
                </a:ext>
              </a:extLst>
            </p:cNvPr>
            <p:cNvCxnSpPr/>
            <p:nvPr/>
          </p:nvCxnSpPr>
          <p:spPr>
            <a:xfrm>
              <a:off x="2161660" y="2512959"/>
              <a:ext cx="0" cy="1814783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" name="Shape2_20210830_121341">
              <a:extLst>
                <a:ext uri="{FF2B5EF4-FFF2-40B4-BE49-F238E27FC236}">
                  <a16:creationId xmlns:a16="http://schemas.microsoft.com/office/drawing/2014/main" id="{03DABE5E-2B1F-762B-CD16-ECBD907BC013}"/>
                </a:ext>
              </a:extLst>
            </p:cNvPr>
            <p:cNvCxnSpPr/>
            <p:nvPr/>
          </p:nvCxnSpPr>
          <p:spPr>
            <a:xfrm>
              <a:off x="2149220" y="2512957"/>
              <a:ext cx="1287589" cy="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" name="Shape3_20210830_121341">
              <a:extLst>
                <a:ext uri="{FF2B5EF4-FFF2-40B4-BE49-F238E27FC236}">
                  <a16:creationId xmlns:a16="http://schemas.microsoft.com/office/drawing/2014/main" id="{106E105D-0345-BF43-6A47-839CDB97B130}"/>
                </a:ext>
              </a:extLst>
            </p:cNvPr>
            <p:cNvCxnSpPr/>
            <p:nvPr/>
          </p:nvCxnSpPr>
          <p:spPr>
            <a:xfrm>
              <a:off x="3425472" y="2512957"/>
              <a:ext cx="0" cy="1611577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" name="Shape4_20210830_121341">
              <a:extLst>
                <a:ext uri="{FF2B5EF4-FFF2-40B4-BE49-F238E27FC236}">
                  <a16:creationId xmlns:a16="http://schemas.microsoft.com/office/drawing/2014/main" id="{B9ECDEA2-53DB-CBD3-4E2B-19B766B85F0D}"/>
                </a:ext>
              </a:extLst>
            </p:cNvPr>
            <p:cNvCxnSpPr/>
            <p:nvPr/>
          </p:nvCxnSpPr>
          <p:spPr>
            <a:xfrm>
              <a:off x="3423227" y="4125951"/>
              <a:ext cx="1745649" cy="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" name="Shape5_20210830_121341">
              <a:extLst>
                <a:ext uri="{FF2B5EF4-FFF2-40B4-BE49-F238E27FC236}">
                  <a16:creationId xmlns:a16="http://schemas.microsoft.com/office/drawing/2014/main" id="{A8946204-DC1E-EB96-F737-DCC95093AA3F}"/>
                </a:ext>
              </a:extLst>
            </p:cNvPr>
            <p:cNvCxnSpPr/>
            <p:nvPr/>
          </p:nvCxnSpPr>
          <p:spPr>
            <a:xfrm>
              <a:off x="5170722" y="4124534"/>
              <a:ext cx="0" cy="102142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" name="Shape6_20210830_121341">
              <a:extLst>
                <a:ext uri="{FF2B5EF4-FFF2-40B4-BE49-F238E27FC236}">
                  <a16:creationId xmlns:a16="http://schemas.microsoft.com/office/drawing/2014/main" id="{99D233DA-3F2F-76AD-A4F2-0ACFA7D40FAC}"/>
                </a:ext>
              </a:extLst>
            </p:cNvPr>
            <p:cNvCxnSpPr/>
            <p:nvPr/>
          </p:nvCxnSpPr>
          <p:spPr>
            <a:xfrm>
              <a:off x="5159734" y="5145954"/>
              <a:ext cx="1288312" cy="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2" name="Shape7_20210830_121341">
              <a:extLst>
                <a:ext uri="{FF2B5EF4-FFF2-40B4-BE49-F238E27FC236}">
                  <a16:creationId xmlns:a16="http://schemas.microsoft.com/office/drawing/2014/main" id="{8040E029-68DB-99DD-9477-65ACB9B70FE9}"/>
                </a:ext>
              </a:extLst>
            </p:cNvPr>
            <p:cNvCxnSpPr/>
            <p:nvPr/>
          </p:nvCxnSpPr>
          <p:spPr>
            <a:xfrm>
              <a:off x="6438375" y="2359745"/>
              <a:ext cx="0" cy="2786209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3" name="Shape8_20210830_121341">
              <a:extLst>
                <a:ext uri="{FF2B5EF4-FFF2-40B4-BE49-F238E27FC236}">
                  <a16:creationId xmlns:a16="http://schemas.microsoft.com/office/drawing/2014/main" id="{1058407A-A3A7-FE34-93D8-B22D02B1D75F}"/>
                </a:ext>
              </a:extLst>
            </p:cNvPr>
            <p:cNvCxnSpPr/>
            <p:nvPr/>
          </p:nvCxnSpPr>
          <p:spPr>
            <a:xfrm>
              <a:off x="6431515" y="2364265"/>
              <a:ext cx="2409556" cy="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4" name="Shape9_20210830_121341">
              <a:extLst>
                <a:ext uri="{FF2B5EF4-FFF2-40B4-BE49-F238E27FC236}">
                  <a16:creationId xmlns:a16="http://schemas.microsoft.com/office/drawing/2014/main" id="{F1E74953-6537-CABF-6850-071778C55D9A}"/>
                </a:ext>
              </a:extLst>
            </p:cNvPr>
            <p:cNvCxnSpPr/>
            <p:nvPr/>
          </p:nvCxnSpPr>
          <p:spPr>
            <a:xfrm>
              <a:off x="8841071" y="2359745"/>
              <a:ext cx="0" cy="1838557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5" name="Shape10_20210830_121341">
              <a:extLst>
                <a:ext uri="{FF2B5EF4-FFF2-40B4-BE49-F238E27FC236}">
                  <a16:creationId xmlns:a16="http://schemas.microsoft.com/office/drawing/2014/main" id="{E75A4ACC-BDCE-B7B8-E3AC-E60E7088B09A}"/>
                </a:ext>
              </a:extLst>
            </p:cNvPr>
            <p:cNvCxnSpPr/>
            <p:nvPr/>
          </p:nvCxnSpPr>
          <p:spPr>
            <a:xfrm>
              <a:off x="8829641" y="4198302"/>
              <a:ext cx="2752758" cy="0"/>
            </a:xfrm>
            <a:prstGeom prst="straightConnector1">
              <a:avLst/>
            </a:prstGeom>
            <a:noFill/>
            <a:ln w="25400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</p:grpSp>
      <p:sp>
        <p:nvSpPr>
          <p:cNvPr id="36" name="Shape1_20220429_085826">
            <a:extLst>
              <a:ext uri="{FF2B5EF4-FFF2-40B4-BE49-F238E27FC236}">
                <a16:creationId xmlns:a16="http://schemas.microsoft.com/office/drawing/2014/main" id="{D26CF7E2-7FD2-AAFF-F34F-B69E862D2FE0}"/>
              </a:ext>
            </a:extLst>
          </p:cNvPr>
          <p:cNvSpPr/>
          <p:nvPr/>
        </p:nvSpPr>
        <p:spPr>
          <a:xfrm>
            <a:off x="1810753" y="3340141"/>
            <a:ext cx="574426" cy="5744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1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7" name="Shape2_20220429_085826">
            <a:extLst>
              <a:ext uri="{FF2B5EF4-FFF2-40B4-BE49-F238E27FC236}">
                <a16:creationId xmlns:a16="http://schemas.microsoft.com/office/drawing/2014/main" id="{3FE78CAE-9925-A5A1-D09E-BCC591DA8630}"/>
              </a:ext>
            </a:extLst>
          </p:cNvPr>
          <p:cNvSpPr/>
          <p:nvPr/>
        </p:nvSpPr>
        <p:spPr>
          <a:xfrm>
            <a:off x="9840971" y="3257322"/>
            <a:ext cx="574426" cy="57442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4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8" name="Shape1_20220106_095932">
            <a:extLst>
              <a:ext uri="{FF2B5EF4-FFF2-40B4-BE49-F238E27FC236}">
                <a16:creationId xmlns:a16="http://schemas.microsoft.com/office/drawing/2014/main" id="{CCA5C0B1-E42B-BBD1-FFAF-8163CC889415}"/>
              </a:ext>
            </a:extLst>
          </p:cNvPr>
          <p:cNvSpPr txBox="1"/>
          <p:nvPr/>
        </p:nvSpPr>
        <p:spPr>
          <a:xfrm>
            <a:off x="1375455" y="4070769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9" name="Shape0_20220429_085826">
            <a:extLst>
              <a:ext uri="{FF2B5EF4-FFF2-40B4-BE49-F238E27FC236}">
                <a16:creationId xmlns:a16="http://schemas.microsoft.com/office/drawing/2014/main" id="{4BEAF39C-B777-042E-C320-B1EF53DD5E41}"/>
              </a:ext>
            </a:extLst>
          </p:cNvPr>
          <p:cNvSpPr/>
          <p:nvPr/>
        </p:nvSpPr>
        <p:spPr>
          <a:xfrm>
            <a:off x="4004690" y="3149807"/>
            <a:ext cx="574426" cy="57442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2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0" name="Shape2_20220106_095932">
            <a:extLst>
              <a:ext uri="{FF2B5EF4-FFF2-40B4-BE49-F238E27FC236}">
                <a16:creationId xmlns:a16="http://schemas.microsoft.com/office/drawing/2014/main" id="{E106FE77-10AD-43F5-ADED-43A0F49C0A81}"/>
              </a:ext>
            </a:extLst>
          </p:cNvPr>
          <p:cNvSpPr txBox="1"/>
          <p:nvPr/>
        </p:nvSpPr>
        <p:spPr>
          <a:xfrm>
            <a:off x="3569393" y="2790976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1" name="Shape3_20220429_085826">
            <a:extLst>
              <a:ext uri="{FF2B5EF4-FFF2-40B4-BE49-F238E27FC236}">
                <a16:creationId xmlns:a16="http://schemas.microsoft.com/office/drawing/2014/main" id="{441652B9-F0FB-4A26-9DB7-4E143D17C7B9}"/>
              </a:ext>
            </a:extLst>
          </p:cNvPr>
          <p:cNvSpPr/>
          <p:nvPr/>
        </p:nvSpPr>
        <p:spPr>
          <a:xfrm>
            <a:off x="6191854" y="2764855"/>
            <a:ext cx="574426" cy="57442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03</a:t>
            </a: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2" name="Shape3_20220106_095932">
            <a:extLst>
              <a:ext uri="{FF2B5EF4-FFF2-40B4-BE49-F238E27FC236}">
                <a16:creationId xmlns:a16="http://schemas.microsoft.com/office/drawing/2014/main" id="{59DE89FE-D9D7-8E76-DC73-ED5E777DC951}"/>
              </a:ext>
            </a:extLst>
          </p:cNvPr>
          <p:cNvSpPr txBox="1"/>
          <p:nvPr/>
        </p:nvSpPr>
        <p:spPr>
          <a:xfrm>
            <a:off x="6993619" y="2958565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3" name="Shape0_20220106_095932">
            <a:extLst>
              <a:ext uri="{FF2B5EF4-FFF2-40B4-BE49-F238E27FC236}">
                <a16:creationId xmlns:a16="http://schemas.microsoft.com/office/drawing/2014/main" id="{2343567D-4DF8-9A45-C633-21E9DDE8A91A}"/>
              </a:ext>
            </a:extLst>
          </p:cNvPr>
          <p:cNvSpPr txBox="1"/>
          <p:nvPr/>
        </p:nvSpPr>
        <p:spPr>
          <a:xfrm>
            <a:off x="9405675" y="2889851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387268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CAF138-F68E-E600-050C-1C94D74D7F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F5A1C969-12DA-6A29-17BD-1D3BE8630D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87BCAF-B30C-3838-B9F3-6C8F37689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1ED908-914A-058B-0782-5EAB93B55D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9F06E8CC-D85C-72EB-559F-0D6B8DDFE0C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3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6" name="Google Shape;2810;p56">
            <a:extLst>
              <a:ext uri="{FF2B5EF4-FFF2-40B4-BE49-F238E27FC236}">
                <a16:creationId xmlns:a16="http://schemas.microsoft.com/office/drawing/2014/main" id="{9F234AC3-8C55-3DCB-CAA8-B49D1BEFD9C1}"/>
              </a:ext>
            </a:extLst>
          </p:cNvPr>
          <p:cNvCxnSpPr>
            <a:cxnSpLocks/>
          </p:cNvCxnSpPr>
          <p:nvPr/>
        </p:nvCxnSpPr>
        <p:spPr>
          <a:xfrm>
            <a:off x="919992" y="3243607"/>
            <a:ext cx="10342325" cy="0"/>
          </a:xfrm>
          <a:prstGeom prst="straightConnector1">
            <a:avLst/>
          </a:prstGeom>
          <a:noFill/>
          <a:ln w="28575" cap="flat" cmpd="sng">
            <a:solidFill>
              <a:srgbClr val="C6C6C6"/>
            </a:solidFill>
            <a:prstDash val="solid"/>
            <a:miter lim="800000"/>
            <a:headEnd type="none" w="lg" len="lg"/>
            <a:tailEnd type="triangle" w="lg" len="lg"/>
          </a:ln>
        </p:spPr>
      </p:cxnSp>
      <p:sp>
        <p:nvSpPr>
          <p:cNvPr id="7" name="Shape0_20210617_132804">
            <a:extLst>
              <a:ext uri="{FF2B5EF4-FFF2-40B4-BE49-F238E27FC236}">
                <a16:creationId xmlns:a16="http://schemas.microsoft.com/office/drawing/2014/main" id="{7D68C71C-8F31-6BFC-4638-FE06E12609E2}"/>
              </a:ext>
            </a:extLst>
          </p:cNvPr>
          <p:cNvSpPr/>
          <p:nvPr/>
        </p:nvSpPr>
        <p:spPr>
          <a:xfrm>
            <a:off x="1710156" y="3105546"/>
            <a:ext cx="276130" cy="276130"/>
          </a:xfrm>
          <a:prstGeom prst="ellipse">
            <a:avLst/>
          </a:prstGeom>
          <a:solidFill>
            <a:srgbClr val="FFFFFF"/>
          </a:solidFill>
          <a:ln w="28575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8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8" name="Shape1_20211015_163756">
            <a:extLst>
              <a:ext uri="{FF2B5EF4-FFF2-40B4-BE49-F238E27FC236}">
                <a16:creationId xmlns:a16="http://schemas.microsoft.com/office/drawing/2014/main" id="{D072337E-F76B-9547-DDB1-66A5E865ECE7}"/>
              </a:ext>
            </a:extLst>
          </p:cNvPr>
          <p:cNvSpPr/>
          <p:nvPr/>
        </p:nvSpPr>
        <p:spPr>
          <a:xfrm>
            <a:off x="4515384" y="3105546"/>
            <a:ext cx="276130" cy="276130"/>
          </a:xfrm>
          <a:prstGeom prst="ellipse">
            <a:avLst/>
          </a:prstGeom>
          <a:solidFill>
            <a:srgbClr val="FFFFFF"/>
          </a:solidFill>
          <a:ln w="28575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8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" name="Shape2_20210617_132804">
            <a:extLst>
              <a:ext uri="{FF2B5EF4-FFF2-40B4-BE49-F238E27FC236}">
                <a16:creationId xmlns:a16="http://schemas.microsoft.com/office/drawing/2014/main" id="{BCB65080-C6BB-7806-9F53-48874A526D5C}"/>
              </a:ext>
            </a:extLst>
          </p:cNvPr>
          <p:cNvSpPr/>
          <p:nvPr/>
        </p:nvSpPr>
        <p:spPr>
          <a:xfrm>
            <a:off x="7320612" y="3105546"/>
            <a:ext cx="276130" cy="276130"/>
          </a:xfrm>
          <a:prstGeom prst="ellipse">
            <a:avLst/>
          </a:prstGeom>
          <a:solidFill>
            <a:srgbClr val="FFFFFF"/>
          </a:solidFill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8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10" name="Shape3_20210617_132804">
            <a:extLst>
              <a:ext uri="{FF2B5EF4-FFF2-40B4-BE49-F238E27FC236}">
                <a16:creationId xmlns:a16="http://schemas.microsoft.com/office/drawing/2014/main" id="{EAADD633-ABA0-2855-89CE-A070E34847DA}"/>
              </a:ext>
            </a:extLst>
          </p:cNvPr>
          <p:cNvSpPr/>
          <p:nvPr/>
        </p:nvSpPr>
        <p:spPr>
          <a:xfrm>
            <a:off x="10125831" y="3105546"/>
            <a:ext cx="276130" cy="276130"/>
          </a:xfrm>
          <a:prstGeom prst="ellipse">
            <a:avLst/>
          </a:prstGeom>
          <a:solidFill>
            <a:srgbClr val="FFFFFF"/>
          </a:solidFill>
          <a:ln w="2857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8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23" name="Shape0_20210617_132800">
            <a:extLst>
              <a:ext uri="{FF2B5EF4-FFF2-40B4-BE49-F238E27FC236}">
                <a16:creationId xmlns:a16="http://schemas.microsoft.com/office/drawing/2014/main" id="{4CD841D4-7271-2FA3-8E2E-6E0CA4CDDD96}"/>
              </a:ext>
            </a:extLst>
          </p:cNvPr>
          <p:cNvSpPr/>
          <p:nvPr/>
        </p:nvSpPr>
        <p:spPr>
          <a:xfrm>
            <a:off x="1062613" y="4532644"/>
            <a:ext cx="1571221" cy="679571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  <a:endParaRPr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4" name="Shape0_20211015_163756">
            <a:extLst>
              <a:ext uri="{FF2B5EF4-FFF2-40B4-BE49-F238E27FC236}">
                <a16:creationId xmlns:a16="http://schemas.microsoft.com/office/drawing/2014/main" id="{A5AAED66-A688-8EE3-9E94-B6AB60B730C3}"/>
              </a:ext>
            </a:extLst>
          </p:cNvPr>
          <p:cNvSpPr/>
          <p:nvPr/>
        </p:nvSpPr>
        <p:spPr>
          <a:xfrm>
            <a:off x="3867835" y="1375920"/>
            <a:ext cx="1571221" cy="679571"/>
          </a:xfrm>
          <a:prstGeom prst="rect">
            <a:avLst/>
          </a:prstGeom>
          <a:solidFill>
            <a:schemeClr val="accent2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  <a:endParaRPr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4" name="Shape2_20210617_132800">
            <a:extLst>
              <a:ext uri="{FF2B5EF4-FFF2-40B4-BE49-F238E27FC236}">
                <a16:creationId xmlns:a16="http://schemas.microsoft.com/office/drawing/2014/main" id="{3F6A36F5-917C-FCFE-9C83-34AE1FF670AD}"/>
              </a:ext>
            </a:extLst>
          </p:cNvPr>
          <p:cNvSpPr/>
          <p:nvPr/>
        </p:nvSpPr>
        <p:spPr>
          <a:xfrm>
            <a:off x="6673061" y="4532644"/>
            <a:ext cx="1571221" cy="679571"/>
          </a:xfrm>
          <a:prstGeom prst="rect">
            <a:avLst/>
          </a:prstGeom>
          <a:solidFill>
            <a:schemeClr val="accent3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  <a:endParaRPr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5" name="Shape3_20210617_132800">
            <a:extLst>
              <a:ext uri="{FF2B5EF4-FFF2-40B4-BE49-F238E27FC236}">
                <a16:creationId xmlns:a16="http://schemas.microsoft.com/office/drawing/2014/main" id="{C283174D-10E7-8EE4-2488-5B30409A9702}"/>
              </a:ext>
            </a:extLst>
          </p:cNvPr>
          <p:cNvSpPr/>
          <p:nvPr/>
        </p:nvSpPr>
        <p:spPr>
          <a:xfrm>
            <a:off x="9478281" y="1375920"/>
            <a:ext cx="1571221" cy="679571"/>
          </a:xfrm>
          <a:prstGeom prst="rect">
            <a:avLst/>
          </a:prstGeom>
          <a:solidFill>
            <a:schemeClr val="accent4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  <a:endParaRPr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cxnSp>
        <p:nvCxnSpPr>
          <p:cNvPr id="46" name="Google Shape;2838;p56">
            <a:extLst>
              <a:ext uri="{FF2B5EF4-FFF2-40B4-BE49-F238E27FC236}">
                <a16:creationId xmlns:a16="http://schemas.microsoft.com/office/drawing/2014/main" id="{D8D6C052-9E8F-B3EE-0EDC-D9EEA495D1CC}"/>
              </a:ext>
            </a:extLst>
          </p:cNvPr>
          <p:cNvCxnSpPr>
            <a:stCxn id="10" idx="0"/>
          </p:cNvCxnSpPr>
          <p:nvPr/>
        </p:nvCxnSpPr>
        <p:spPr>
          <a:xfrm rot="10800000">
            <a:off x="10263893" y="2055425"/>
            <a:ext cx="0" cy="1050122"/>
          </a:xfrm>
          <a:prstGeom prst="straightConnector1">
            <a:avLst/>
          </a:prstGeom>
          <a:noFill/>
          <a:ln w="952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7" name="Google Shape;2839;p56">
            <a:extLst>
              <a:ext uri="{FF2B5EF4-FFF2-40B4-BE49-F238E27FC236}">
                <a16:creationId xmlns:a16="http://schemas.microsoft.com/office/drawing/2014/main" id="{65E5ABB4-B492-CE8A-048A-76EAE8F38545}"/>
              </a:ext>
            </a:extLst>
          </p:cNvPr>
          <p:cNvCxnSpPr>
            <a:endCxn id="9" idx="4"/>
          </p:cNvCxnSpPr>
          <p:nvPr/>
        </p:nvCxnSpPr>
        <p:spPr>
          <a:xfrm flipV="1">
            <a:off x="7458672" y="3381677"/>
            <a:ext cx="0" cy="1150967"/>
          </a:xfrm>
          <a:prstGeom prst="straightConnector1">
            <a:avLst/>
          </a:prstGeom>
          <a:noFill/>
          <a:ln w="952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8" name="Shape2_20211015_163756">
            <a:extLst>
              <a:ext uri="{FF2B5EF4-FFF2-40B4-BE49-F238E27FC236}">
                <a16:creationId xmlns:a16="http://schemas.microsoft.com/office/drawing/2014/main" id="{14992BC3-5DC2-CF89-7022-2FB7B18DFE13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4653446" y="2055487"/>
            <a:ext cx="0" cy="1050062"/>
          </a:xfrm>
          <a:prstGeom prst="straightConnector1">
            <a:avLst/>
          </a:prstGeom>
          <a:noFill/>
          <a:ln w="952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9" name="Google Shape;2841;p56">
            <a:extLst>
              <a:ext uri="{FF2B5EF4-FFF2-40B4-BE49-F238E27FC236}">
                <a16:creationId xmlns:a16="http://schemas.microsoft.com/office/drawing/2014/main" id="{5FE26449-F36F-5130-8648-EE5FD38B400D}"/>
              </a:ext>
            </a:extLst>
          </p:cNvPr>
          <p:cNvCxnSpPr>
            <a:endCxn id="7" idx="4"/>
          </p:cNvCxnSpPr>
          <p:nvPr/>
        </p:nvCxnSpPr>
        <p:spPr>
          <a:xfrm rot="10800000">
            <a:off x="1848221" y="3381654"/>
            <a:ext cx="0" cy="1150988"/>
          </a:xfrm>
          <a:prstGeom prst="straightConnector1">
            <a:avLst/>
          </a:prstGeom>
          <a:noFill/>
          <a:ln w="952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" name="Google Shape;2842;p56">
            <a:extLst>
              <a:ext uri="{FF2B5EF4-FFF2-40B4-BE49-F238E27FC236}">
                <a16:creationId xmlns:a16="http://schemas.microsoft.com/office/drawing/2014/main" id="{E404D0E1-001B-873E-2BFC-82377606DE22}"/>
              </a:ext>
            </a:extLst>
          </p:cNvPr>
          <p:cNvSpPr txBox="1"/>
          <p:nvPr/>
        </p:nvSpPr>
        <p:spPr>
          <a:xfrm>
            <a:off x="1101759" y="2366189"/>
            <a:ext cx="147651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1" name="Google Shape;2843;p56">
            <a:extLst>
              <a:ext uri="{FF2B5EF4-FFF2-40B4-BE49-F238E27FC236}">
                <a16:creationId xmlns:a16="http://schemas.microsoft.com/office/drawing/2014/main" id="{98A3CF9E-5DD6-81DC-CDBC-14A382163991}"/>
              </a:ext>
            </a:extLst>
          </p:cNvPr>
          <p:cNvSpPr txBox="1"/>
          <p:nvPr/>
        </p:nvSpPr>
        <p:spPr>
          <a:xfrm>
            <a:off x="3922222" y="3542964"/>
            <a:ext cx="147651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2" name="Google Shape;2844;p56">
            <a:extLst>
              <a:ext uri="{FF2B5EF4-FFF2-40B4-BE49-F238E27FC236}">
                <a16:creationId xmlns:a16="http://schemas.microsoft.com/office/drawing/2014/main" id="{BD307964-60CE-5102-AA0B-7F55C3457AC2}"/>
              </a:ext>
            </a:extLst>
          </p:cNvPr>
          <p:cNvSpPr txBox="1"/>
          <p:nvPr/>
        </p:nvSpPr>
        <p:spPr>
          <a:xfrm>
            <a:off x="6712206" y="2366189"/>
            <a:ext cx="147651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3" name="Google Shape;2845;p56">
            <a:extLst>
              <a:ext uri="{FF2B5EF4-FFF2-40B4-BE49-F238E27FC236}">
                <a16:creationId xmlns:a16="http://schemas.microsoft.com/office/drawing/2014/main" id="{0B656CA2-CBE6-2B4A-5695-B19F1622AA27}"/>
              </a:ext>
            </a:extLst>
          </p:cNvPr>
          <p:cNvSpPr txBox="1"/>
          <p:nvPr/>
        </p:nvSpPr>
        <p:spPr>
          <a:xfrm>
            <a:off x="9535614" y="3542964"/>
            <a:ext cx="147651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6886825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293FBA-BD74-2AD2-AF1B-A46C5FA237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DDBAFDD-546D-AC0A-B0A9-25B9D91745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493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AF450B-A125-DB56-9043-6578B8530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2DCE9E4-CE5A-C481-0858-96890B1521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8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83C94C-58DE-D770-2D6F-AF77212B36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antt Charts </a:t>
            </a:r>
          </a:p>
        </p:txBody>
      </p:sp>
    </p:spTree>
    <p:extLst>
      <p:ext uri="{BB962C8B-B14F-4D97-AF65-F5344CB8AC3E}">
        <p14:creationId xmlns:p14="http://schemas.microsoft.com/office/powerpoint/2010/main" val="3048141087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904D27-67A9-10E5-3820-2E794A007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CBCB433-3E8B-4AB6-E1F1-66757ECED2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3079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87BCAF-B30C-3838-B9F3-6C8F37689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577CA3-8313-37AC-A78A-6224799F2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 Char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F3A7313-35C9-2DC9-47D4-333C52989FC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5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3" name="Google Shape;452;p3">
            <a:extLst>
              <a:ext uri="{FF2B5EF4-FFF2-40B4-BE49-F238E27FC236}">
                <a16:creationId xmlns:a16="http://schemas.microsoft.com/office/drawing/2014/main" id="{AB5B1A8E-A3AA-9A68-EE94-00117A2A7E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1525901"/>
              </p:ext>
            </p:extLst>
          </p:nvPr>
        </p:nvGraphicFramePr>
        <p:xfrm>
          <a:off x="781085" y="1726888"/>
          <a:ext cx="10449621" cy="409479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2131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 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 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4" name="Shape0_20220425_155857">
            <a:extLst>
              <a:ext uri="{FF2B5EF4-FFF2-40B4-BE49-F238E27FC236}">
                <a16:creationId xmlns:a16="http://schemas.microsoft.com/office/drawing/2014/main" id="{35054AAA-2BF8-AD71-26B0-85831204C3C5}"/>
              </a:ext>
            </a:extLst>
          </p:cNvPr>
          <p:cNvSpPr/>
          <p:nvPr/>
        </p:nvSpPr>
        <p:spPr>
          <a:xfrm>
            <a:off x="3394360" y="1964047"/>
            <a:ext cx="2074271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4" name="Shape0_20220502_120933">
            <a:extLst>
              <a:ext uri="{FF2B5EF4-FFF2-40B4-BE49-F238E27FC236}">
                <a16:creationId xmlns:a16="http://schemas.microsoft.com/office/drawing/2014/main" id="{0CCDE62B-F901-1D2B-1D70-4668AB18FC6C}"/>
              </a:ext>
            </a:extLst>
          </p:cNvPr>
          <p:cNvSpPr/>
          <p:nvPr/>
        </p:nvSpPr>
        <p:spPr>
          <a:xfrm>
            <a:off x="5356918" y="1853488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1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5" name="Shape1_20220425_155857">
            <a:extLst>
              <a:ext uri="{FF2B5EF4-FFF2-40B4-BE49-F238E27FC236}">
                <a16:creationId xmlns:a16="http://schemas.microsoft.com/office/drawing/2014/main" id="{A657DB43-5BD6-61EE-EBE8-C31746E2C816}"/>
              </a:ext>
            </a:extLst>
          </p:cNvPr>
          <p:cNvSpPr/>
          <p:nvPr/>
        </p:nvSpPr>
        <p:spPr>
          <a:xfrm>
            <a:off x="3796939" y="2668026"/>
            <a:ext cx="5585050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6" name="Shape1_20220502_120933">
            <a:extLst>
              <a:ext uri="{FF2B5EF4-FFF2-40B4-BE49-F238E27FC236}">
                <a16:creationId xmlns:a16="http://schemas.microsoft.com/office/drawing/2014/main" id="{52070F20-DCFF-0B81-4776-6CCD5083A1BD}"/>
              </a:ext>
            </a:extLst>
          </p:cNvPr>
          <p:cNvSpPr/>
          <p:nvPr/>
        </p:nvSpPr>
        <p:spPr>
          <a:xfrm>
            <a:off x="9252855" y="2557465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2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7" name="Shape2_20220425_155857">
            <a:extLst>
              <a:ext uri="{FF2B5EF4-FFF2-40B4-BE49-F238E27FC236}">
                <a16:creationId xmlns:a16="http://schemas.microsoft.com/office/drawing/2014/main" id="{61C075DC-2B27-883B-EC34-51499EA189A2}"/>
              </a:ext>
            </a:extLst>
          </p:cNvPr>
          <p:cNvSpPr/>
          <p:nvPr/>
        </p:nvSpPr>
        <p:spPr>
          <a:xfrm>
            <a:off x="5433212" y="3372005"/>
            <a:ext cx="5044431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8" name="Shape2_20220502_120933">
            <a:extLst>
              <a:ext uri="{FF2B5EF4-FFF2-40B4-BE49-F238E27FC236}">
                <a16:creationId xmlns:a16="http://schemas.microsoft.com/office/drawing/2014/main" id="{9E0D538C-7B8E-9FD8-EE2D-119EA4E7416B}"/>
              </a:ext>
            </a:extLst>
          </p:cNvPr>
          <p:cNvSpPr/>
          <p:nvPr/>
        </p:nvSpPr>
        <p:spPr>
          <a:xfrm>
            <a:off x="10348512" y="3261442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3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9" name="Shape3_20220425_155857">
            <a:extLst>
              <a:ext uri="{FF2B5EF4-FFF2-40B4-BE49-F238E27FC236}">
                <a16:creationId xmlns:a16="http://schemas.microsoft.com/office/drawing/2014/main" id="{7D09955E-AD97-6426-7CFA-6C23F6F0144F}"/>
              </a:ext>
            </a:extLst>
          </p:cNvPr>
          <p:cNvSpPr/>
          <p:nvPr/>
        </p:nvSpPr>
        <p:spPr>
          <a:xfrm>
            <a:off x="5433212" y="4060604"/>
            <a:ext cx="1815129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0" name="Shape3_20220502_120933">
            <a:extLst>
              <a:ext uri="{FF2B5EF4-FFF2-40B4-BE49-F238E27FC236}">
                <a16:creationId xmlns:a16="http://schemas.microsoft.com/office/drawing/2014/main" id="{0A47200F-F1D8-319A-6FAF-4F7317E5AD66}"/>
              </a:ext>
            </a:extLst>
          </p:cNvPr>
          <p:cNvSpPr/>
          <p:nvPr/>
        </p:nvSpPr>
        <p:spPr>
          <a:xfrm>
            <a:off x="7119211" y="3950040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4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1" name="Shape4_20220425_155857">
            <a:extLst>
              <a:ext uri="{FF2B5EF4-FFF2-40B4-BE49-F238E27FC236}">
                <a16:creationId xmlns:a16="http://schemas.microsoft.com/office/drawing/2014/main" id="{45285E97-7A12-C5D7-4907-BBC2B4B4D3B2}"/>
              </a:ext>
            </a:extLst>
          </p:cNvPr>
          <p:cNvSpPr/>
          <p:nvPr/>
        </p:nvSpPr>
        <p:spPr>
          <a:xfrm>
            <a:off x="6990196" y="4764576"/>
            <a:ext cx="1815129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2" name="Shape4_20220502_120933">
            <a:extLst>
              <a:ext uri="{FF2B5EF4-FFF2-40B4-BE49-F238E27FC236}">
                <a16:creationId xmlns:a16="http://schemas.microsoft.com/office/drawing/2014/main" id="{10808707-BB08-382A-5772-3CAED00E3ECA}"/>
              </a:ext>
            </a:extLst>
          </p:cNvPr>
          <p:cNvSpPr/>
          <p:nvPr/>
        </p:nvSpPr>
        <p:spPr>
          <a:xfrm>
            <a:off x="8676194" y="4654014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5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3" name="Shape10_20210707_122900">
            <a:extLst>
              <a:ext uri="{FF2B5EF4-FFF2-40B4-BE49-F238E27FC236}">
                <a16:creationId xmlns:a16="http://schemas.microsoft.com/office/drawing/2014/main" id="{BBA59938-B265-E2DD-BD82-EED4BAA9E41B}"/>
              </a:ext>
            </a:extLst>
          </p:cNvPr>
          <p:cNvSpPr/>
          <p:nvPr/>
        </p:nvSpPr>
        <p:spPr>
          <a:xfrm>
            <a:off x="781083" y="1277596"/>
            <a:ext cx="2229860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4" name="Shape11_20210707_122900">
            <a:extLst>
              <a:ext uri="{FF2B5EF4-FFF2-40B4-BE49-F238E27FC236}">
                <a16:creationId xmlns:a16="http://schemas.microsoft.com/office/drawing/2014/main" id="{0451EA45-BCCE-E94B-EB80-DAB1438CC9EC}"/>
              </a:ext>
            </a:extLst>
          </p:cNvPr>
          <p:cNvSpPr/>
          <p:nvPr/>
        </p:nvSpPr>
        <p:spPr>
          <a:xfrm>
            <a:off x="3012446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6" name="Shape12_20210707_122900">
            <a:extLst>
              <a:ext uri="{FF2B5EF4-FFF2-40B4-BE49-F238E27FC236}">
                <a16:creationId xmlns:a16="http://schemas.microsoft.com/office/drawing/2014/main" id="{50E50A92-7179-D0E7-B0C7-559B211D1243}"/>
              </a:ext>
            </a:extLst>
          </p:cNvPr>
          <p:cNvSpPr/>
          <p:nvPr/>
        </p:nvSpPr>
        <p:spPr>
          <a:xfrm>
            <a:off x="4656399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7" name="Shape13_20210707_122900">
            <a:extLst>
              <a:ext uri="{FF2B5EF4-FFF2-40B4-BE49-F238E27FC236}">
                <a16:creationId xmlns:a16="http://schemas.microsoft.com/office/drawing/2014/main" id="{D92EF47D-94FB-4CD6-5AE3-BEC4BF9F467C}"/>
              </a:ext>
            </a:extLst>
          </p:cNvPr>
          <p:cNvSpPr/>
          <p:nvPr/>
        </p:nvSpPr>
        <p:spPr>
          <a:xfrm>
            <a:off x="6300352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8" name="Shape14_20210707_122900">
            <a:extLst>
              <a:ext uri="{FF2B5EF4-FFF2-40B4-BE49-F238E27FC236}">
                <a16:creationId xmlns:a16="http://schemas.microsoft.com/office/drawing/2014/main" id="{478BACF2-C9FC-8099-2BE1-07B9FE44C3BE}"/>
              </a:ext>
            </a:extLst>
          </p:cNvPr>
          <p:cNvSpPr/>
          <p:nvPr/>
        </p:nvSpPr>
        <p:spPr>
          <a:xfrm>
            <a:off x="7944299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9" name="Shape0_20210707_122900">
            <a:extLst>
              <a:ext uri="{FF2B5EF4-FFF2-40B4-BE49-F238E27FC236}">
                <a16:creationId xmlns:a16="http://schemas.microsoft.com/office/drawing/2014/main" id="{878FD573-FB6D-0329-6EF4-5772921F6C0A}"/>
              </a:ext>
            </a:extLst>
          </p:cNvPr>
          <p:cNvSpPr/>
          <p:nvPr/>
        </p:nvSpPr>
        <p:spPr>
          <a:xfrm>
            <a:off x="9588257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8865900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EE168B-64EA-C4E5-E6C3-15CE718961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AFD4CF0-D44C-352B-992B-14AC9037C2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BCB433-3E8B-4AB6-E1F1-66757ECED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C70E4A-269D-474A-A350-4DFBE0E9F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 Char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CAF0049-A78F-E91A-8975-570131664BB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6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A51F5D0-7F89-7A5E-8FE8-80582DC38319}"/>
              </a:ext>
            </a:extLst>
          </p:cNvPr>
          <p:cNvGrpSpPr/>
          <p:nvPr/>
        </p:nvGrpSpPr>
        <p:grpSpPr>
          <a:xfrm>
            <a:off x="801361" y="1712695"/>
            <a:ext cx="10581270" cy="2970931"/>
            <a:chOff x="964262" y="2336290"/>
            <a:chExt cx="10325595" cy="2842019"/>
          </a:xfrm>
        </p:grpSpPr>
        <p:sp>
          <p:nvSpPr>
            <p:cNvPr id="5" name="Freeform: Shape 21">
              <a:extLst>
                <a:ext uri="{FF2B5EF4-FFF2-40B4-BE49-F238E27FC236}">
                  <a16:creationId xmlns:a16="http://schemas.microsoft.com/office/drawing/2014/main" id="{1A6D8116-BB8C-EA50-B356-2C4AE2F16CA5}"/>
                </a:ext>
              </a:extLst>
            </p:cNvPr>
            <p:cNvSpPr/>
            <p:nvPr/>
          </p:nvSpPr>
          <p:spPr>
            <a:xfrm>
              <a:off x="964262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6" name="Freeform: Shape 76">
              <a:extLst>
                <a:ext uri="{FF2B5EF4-FFF2-40B4-BE49-F238E27FC236}">
                  <a16:creationId xmlns:a16="http://schemas.microsoft.com/office/drawing/2014/main" id="{28E068EE-F1B3-EDB6-B755-07E3AC7690A1}"/>
                </a:ext>
              </a:extLst>
            </p:cNvPr>
            <p:cNvSpPr/>
            <p:nvPr/>
          </p:nvSpPr>
          <p:spPr>
            <a:xfrm>
              <a:off x="1901618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7" name="Freeform: Shape 77">
              <a:extLst>
                <a:ext uri="{FF2B5EF4-FFF2-40B4-BE49-F238E27FC236}">
                  <a16:creationId xmlns:a16="http://schemas.microsoft.com/office/drawing/2014/main" id="{6B19FEFB-9F49-A559-F119-DB0AB9054184}"/>
                </a:ext>
              </a:extLst>
            </p:cNvPr>
            <p:cNvSpPr/>
            <p:nvPr/>
          </p:nvSpPr>
          <p:spPr>
            <a:xfrm>
              <a:off x="2838977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8" name="Freeform: Shape 78">
              <a:extLst>
                <a:ext uri="{FF2B5EF4-FFF2-40B4-BE49-F238E27FC236}">
                  <a16:creationId xmlns:a16="http://schemas.microsoft.com/office/drawing/2014/main" id="{03861351-A83E-152A-59AD-E6547D48B79D}"/>
                </a:ext>
              </a:extLst>
            </p:cNvPr>
            <p:cNvSpPr/>
            <p:nvPr/>
          </p:nvSpPr>
          <p:spPr>
            <a:xfrm>
              <a:off x="3776333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: Shape 79">
              <a:extLst>
                <a:ext uri="{FF2B5EF4-FFF2-40B4-BE49-F238E27FC236}">
                  <a16:creationId xmlns:a16="http://schemas.microsoft.com/office/drawing/2014/main" id="{1B887048-5AD3-4767-5304-B6CB80CA6477}"/>
                </a:ext>
              </a:extLst>
            </p:cNvPr>
            <p:cNvSpPr/>
            <p:nvPr/>
          </p:nvSpPr>
          <p:spPr>
            <a:xfrm>
              <a:off x="4713690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Freeform: Shape 80">
              <a:extLst>
                <a:ext uri="{FF2B5EF4-FFF2-40B4-BE49-F238E27FC236}">
                  <a16:creationId xmlns:a16="http://schemas.microsoft.com/office/drawing/2014/main" id="{1161D5DF-2D92-D03F-56E2-B17CE48D5D62}"/>
                </a:ext>
              </a:extLst>
            </p:cNvPr>
            <p:cNvSpPr/>
            <p:nvPr/>
          </p:nvSpPr>
          <p:spPr>
            <a:xfrm>
              <a:off x="5651045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Freeform: Shape 81">
              <a:extLst>
                <a:ext uri="{FF2B5EF4-FFF2-40B4-BE49-F238E27FC236}">
                  <a16:creationId xmlns:a16="http://schemas.microsoft.com/office/drawing/2014/main" id="{8F1655A7-8EB7-A594-4411-7DF669979A8B}"/>
                </a:ext>
              </a:extLst>
            </p:cNvPr>
            <p:cNvSpPr/>
            <p:nvPr/>
          </p:nvSpPr>
          <p:spPr>
            <a:xfrm>
              <a:off x="6588402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eform: Shape 82">
              <a:extLst>
                <a:ext uri="{FF2B5EF4-FFF2-40B4-BE49-F238E27FC236}">
                  <a16:creationId xmlns:a16="http://schemas.microsoft.com/office/drawing/2014/main" id="{00D409BE-DC96-43E0-F93F-146E0A3A314B}"/>
                </a:ext>
              </a:extLst>
            </p:cNvPr>
            <p:cNvSpPr/>
            <p:nvPr/>
          </p:nvSpPr>
          <p:spPr>
            <a:xfrm>
              <a:off x="7525758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3" name="Freeform: Shape 83">
              <a:extLst>
                <a:ext uri="{FF2B5EF4-FFF2-40B4-BE49-F238E27FC236}">
                  <a16:creationId xmlns:a16="http://schemas.microsoft.com/office/drawing/2014/main" id="{1843D0CB-19E8-6C33-7046-BDD72785AABB}"/>
                </a:ext>
              </a:extLst>
            </p:cNvPr>
            <p:cNvSpPr/>
            <p:nvPr/>
          </p:nvSpPr>
          <p:spPr>
            <a:xfrm>
              <a:off x="8463117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Freeform: Shape 84">
              <a:extLst>
                <a:ext uri="{FF2B5EF4-FFF2-40B4-BE49-F238E27FC236}">
                  <a16:creationId xmlns:a16="http://schemas.microsoft.com/office/drawing/2014/main" id="{E5D64154-2CBD-05D7-5319-EF6A0A7655CD}"/>
                </a:ext>
              </a:extLst>
            </p:cNvPr>
            <p:cNvSpPr/>
            <p:nvPr/>
          </p:nvSpPr>
          <p:spPr>
            <a:xfrm>
              <a:off x="9400473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Freeform: Shape 85">
              <a:extLst>
                <a:ext uri="{FF2B5EF4-FFF2-40B4-BE49-F238E27FC236}">
                  <a16:creationId xmlns:a16="http://schemas.microsoft.com/office/drawing/2014/main" id="{6DB3C58E-55A7-1870-DC7D-A4B62FDD4DFE}"/>
                </a:ext>
              </a:extLst>
            </p:cNvPr>
            <p:cNvSpPr/>
            <p:nvPr/>
          </p:nvSpPr>
          <p:spPr>
            <a:xfrm>
              <a:off x="10337830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eform: Shape 86">
              <a:extLst>
                <a:ext uri="{FF2B5EF4-FFF2-40B4-BE49-F238E27FC236}">
                  <a16:creationId xmlns:a16="http://schemas.microsoft.com/office/drawing/2014/main" id="{C1B3D8A7-4574-DF74-A7AF-9D81AB8F317C}"/>
                </a:ext>
              </a:extLst>
            </p:cNvPr>
            <p:cNvSpPr/>
            <p:nvPr/>
          </p:nvSpPr>
          <p:spPr>
            <a:xfrm>
              <a:off x="11289857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168EB1E9-1AAB-59ED-1057-D98DE4D119D6}"/>
              </a:ext>
            </a:extLst>
          </p:cNvPr>
          <p:cNvSpPr txBox="1"/>
          <p:nvPr/>
        </p:nvSpPr>
        <p:spPr>
          <a:xfrm>
            <a:off x="4415933" y="5290334"/>
            <a:ext cx="183056" cy="1867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8" name="Shape3_20220106_183708">
            <a:extLst>
              <a:ext uri="{FF2B5EF4-FFF2-40B4-BE49-F238E27FC236}">
                <a16:creationId xmlns:a16="http://schemas.microsoft.com/office/drawing/2014/main" id="{BA041653-EEBC-1422-357F-8FA9A45D8827}"/>
              </a:ext>
            </a:extLst>
          </p:cNvPr>
          <p:cNvSpPr/>
          <p:nvPr/>
        </p:nvSpPr>
        <p:spPr>
          <a:xfrm>
            <a:off x="4653090" y="5285739"/>
            <a:ext cx="1208167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C6FC4B3-D033-693E-82DB-AA1586000A9D}"/>
              </a:ext>
            </a:extLst>
          </p:cNvPr>
          <p:cNvSpPr txBox="1"/>
          <p:nvPr/>
        </p:nvSpPr>
        <p:spPr>
          <a:xfrm>
            <a:off x="6226337" y="5290334"/>
            <a:ext cx="183056" cy="18673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20" name="Shape4_20220106_183708">
            <a:extLst>
              <a:ext uri="{FF2B5EF4-FFF2-40B4-BE49-F238E27FC236}">
                <a16:creationId xmlns:a16="http://schemas.microsoft.com/office/drawing/2014/main" id="{E4639E49-4B44-597A-F548-1A7F05B52E06}"/>
              </a:ext>
            </a:extLst>
          </p:cNvPr>
          <p:cNvSpPr/>
          <p:nvPr/>
        </p:nvSpPr>
        <p:spPr>
          <a:xfrm>
            <a:off x="6463494" y="5285739"/>
            <a:ext cx="1208167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1" name="Freeform: Shape 88">
            <a:extLst>
              <a:ext uri="{FF2B5EF4-FFF2-40B4-BE49-F238E27FC236}">
                <a16:creationId xmlns:a16="http://schemas.microsoft.com/office/drawing/2014/main" id="{33C5DB86-F71A-D934-AB16-DE518AFABEFD}"/>
              </a:ext>
            </a:extLst>
          </p:cNvPr>
          <p:cNvSpPr>
            <a:spLocks/>
          </p:cNvSpPr>
          <p:nvPr/>
        </p:nvSpPr>
        <p:spPr>
          <a:xfrm>
            <a:off x="801359" y="3292947"/>
            <a:ext cx="10566233" cy="0"/>
          </a:xfrm>
          <a:custGeom>
            <a:avLst/>
            <a:gdLst>
              <a:gd name="connsiteX0" fmla="*/ 0 w 10178980"/>
              <a:gd name="connsiteY0" fmla="*/ 0 h 0"/>
              <a:gd name="connsiteX1" fmla="*/ 10178980 w 101789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178980">
                <a:moveTo>
                  <a:pt x="0" y="0"/>
                </a:moveTo>
                <a:lnTo>
                  <a:pt x="10178980" y="0"/>
                </a:lnTo>
              </a:path>
            </a:pathLst>
          </a:custGeom>
          <a:noFill/>
          <a:ln w="9525" cap="rnd">
            <a:solidFill>
              <a:srgbClr val="C0C0C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148" tIns="75075" rIns="150148" bIns="750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22" name="Freeform: Shape 90">
            <a:extLst>
              <a:ext uri="{FF2B5EF4-FFF2-40B4-BE49-F238E27FC236}">
                <a16:creationId xmlns:a16="http://schemas.microsoft.com/office/drawing/2014/main" id="{1D1A2DC6-6020-350E-4115-B011686605F3}"/>
              </a:ext>
            </a:extLst>
          </p:cNvPr>
          <p:cNvSpPr>
            <a:spLocks/>
          </p:cNvSpPr>
          <p:nvPr/>
        </p:nvSpPr>
        <p:spPr>
          <a:xfrm>
            <a:off x="801359" y="2344335"/>
            <a:ext cx="10566233" cy="0"/>
          </a:xfrm>
          <a:custGeom>
            <a:avLst/>
            <a:gdLst>
              <a:gd name="connsiteX0" fmla="*/ 0 w 10178980"/>
              <a:gd name="connsiteY0" fmla="*/ 0 h 0"/>
              <a:gd name="connsiteX1" fmla="*/ 10178980 w 101789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178980">
                <a:moveTo>
                  <a:pt x="0" y="0"/>
                </a:moveTo>
                <a:lnTo>
                  <a:pt x="10178980" y="0"/>
                </a:lnTo>
              </a:path>
            </a:pathLst>
          </a:custGeom>
          <a:noFill/>
          <a:ln w="9525" cap="rnd">
            <a:solidFill>
              <a:srgbClr val="C0C0C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148" tIns="75075" rIns="150148" bIns="750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25" name="Shape5_20220106_183708">
            <a:extLst>
              <a:ext uri="{FF2B5EF4-FFF2-40B4-BE49-F238E27FC236}">
                <a16:creationId xmlns:a16="http://schemas.microsoft.com/office/drawing/2014/main" id="{148C7BF1-A29E-518B-E5D7-4A446E76E139}"/>
              </a:ext>
            </a:extLst>
          </p:cNvPr>
          <p:cNvSpPr/>
          <p:nvPr/>
        </p:nvSpPr>
        <p:spPr>
          <a:xfrm>
            <a:off x="499891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6" name="Shape6_20220106_183708">
            <a:extLst>
              <a:ext uri="{FF2B5EF4-FFF2-40B4-BE49-F238E27FC236}">
                <a16:creationId xmlns:a16="http://schemas.microsoft.com/office/drawing/2014/main" id="{47FC6AE9-0FD2-C0D6-BC0C-8B9A5F198772}"/>
              </a:ext>
            </a:extLst>
          </p:cNvPr>
          <p:cNvSpPr/>
          <p:nvPr/>
        </p:nvSpPr>
        <p:spPr>
          <a:xfrm>
            <a:off x="1464685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7" name="Shape7_20220106_183708">
            <a:extLst>
              <a:ext uri="{FF2B5EF4-FFF2-40B4-BE49-F238E27FC236}">
                <a16:creationId xmlns:a16="http://schemas.microsoft.com/office/drawing/2014/main" id="{1D33B295-0977-FE00-1BB4-D390AAA6363D}"/>
              </a:ext>
            </a:extLst>
          </p:cNvPr>
          <p:cNvSpPr/>
          <p:nvPr/>
        </p:nvSpPr>
        <p:spPr>
          <a:xfrm>
            <a:off x="2429477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8" name="Shape8_20220106_183708">
            <a:extLst>
              <a:ext uri="{FF2B5EF4-FFF2-40B4-BE49-F238E27FC236}">
                <a16:creationId xmlns:a16="http://schemas.microsoft.com/office/drawing/2014/main" id="{5D211AEC-76B1-B25C-A4D7-2EE91D6A3561}"/>
              </a:ext>
            </a:extLst>
          </p:cNvPr>
          <p:cNvSpPr/>
          <p:nvPr/>
        </p:nvSpPr>
        <p:spPr>
          <a:xfrm>
            <a:off x="3374896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9" name="Shape9_20220106_183708">
            <a:extLst>
              <a:ext uri="{FF2B5EF4-FFF2-40B4-BE49-F238E27FC236}">
                <a16:creationId xmlns:a16="http://schemas.microsoft.com/office/drawing/2014/main" id="{E5D2080C-25AE-AB89-E9D0-CE36760AD46D}"/>
              </a:ext>
            </a:extLst>
          </p:cNvPr>
          <p:cNvSpPr/>
          <p:nvPr/>
        </p:nvSpPr>
        <p:spPr>
          <a:xfrm>
            <a:off x="4331942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0" name="Shape10_20220106_183708">
            <a:extLst>
              <a:ext uri="{FF2B5EF4-FFF2-40B4-BE49-F238E27FC236}">
                <a16:creationId xmlns:a16="http://schemas.microsoft.com/office/drawing/2014/main" id="{656E66F8-E613-914B-91CA-28A53418A2B0}"/>
              </a:ext>
            </a:extLst>
          </p:cNvPr>
          <p:cNvSpPr/>
          <p:nvPr/>
        </p:nvSpPr>
        <p:spPr>
          <a:xfrm>
            <a:off x="5288986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1" name="Shape11_20220106_183708">
            <a:extLst>
              <a:ext uri="{FF2B5EF4-FFF2-40B4-BE49-F238E27FC236}">
                <a16:creationId xmlns:a16="http://schemas.microsoft.com/office/drawing/2014/main" id="{2561701D-5188-4BF0-A33B-030E41C16A05}"/>
              </a:ext>
            </a:extLst>
          </p:cNvPr>
          <p:cNvSpPr/>
          <p:nvPr/>
        </p:nvSpPr>
        <p:spPr>
          <a:xfrm>
            <a:off x="6253780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2" name="Shape12_20220106_183708">
            <a:extLst>
              <a:ext uri="{FF2B5EF4-FFF2-40B4-BE49-F238E27FC236}">
                <a16:creationId xmlns:a16="http://schemas.microsoft.com/office/drawing/2014/main" id="{BDA0213C-9528-00E4-A37F-905135322F2A}"/>
              </a:ext>
            </a:extLst>
          </p:cNvPr>
          <p:cNvSpPr/>
          <p:nvPr/>
        </p:nvSpPr>
        <p:spPr>
          <a:xfrm>
            <a:off x="7206950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3" name="Shape13_20220106_183708">
            <a:extLst>
              <a:ext uri="{FF2B5EF4-FFF2-40B4-BE49-F238E27FC236}">
                <a16:creationId xmlns:a16="http://schemas.microsoft.com/office/drawing/2014/main" id="{FA88AF6A-246C-A2A2-1193-1424A5A3C76C}"/>
              </a:ext>
            </a:extLst>
          </p:cNvPr>
          <p:cNvSpPr/>
          <p:nvPr/>
        </p:nvSpPr>
        <p:spPr>
          <a:xfrm>
            <a:off x="8160121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4" name="Shape14_20220106_183708">
            <a:extLst>
              <a:ext uri="{FF2B5EF4-FFF2-40B4-BE49-F238E27FC236}">
                <a16:creationId xmlns:a16="http://schemas.microsoft.com/office/drawing/2014/main" id="{6FE1D85E-0416-8894-7A88-984612AD9853}"/>
              </a:ext>
            </a:extLst>
          </p:cNvPr>
          <p:cNvSpPr/>
          <p:nvPr/>
        </p:nvSpPr>
        <p:spPr>
          <a:xfrm>
            <a:off x="9117162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5" name="Shape15_20220106_183708">
            <a:extLst>
              <a:ext uri="{FF2B5EF4-FFF2-40B4-BE49-F238E27FC236}">
                <a16:creationId xmlns:a16="http://schemas.microsoft.com/office/drawing/2014/main" id="{EDAA8B75-D2AD-6257-0E59-C1443184A7C2}"/>
              </a:ext>
            </a:extLst>
          </p:cNvPr>
          <p:cNvSpPr/>
          <p:nvPr/>
        </p:nvSpPr>
        <p:spPr>
          <a:xfrm>
            <a:off x="10070334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6" name="Shape16_20220106_183708">
            <a:extLst>
              <a:ext uri="{FF2B5EF4-FFF2-40B4-BE49-F238E27FC236}">
                <a16:creationId xmlns:a16="http://schemas.microsoft.com/office/drawing/2014/main" id="{6B2D2D78-E665-1155-D2B6-EB9D31827F65}"/>
              </a:ext>
            </a:extLst>
          </p:cNvPr>
          <p:cNvSpPr/>
          <p:nvPr/>
        </p:nvSpPr>
        <p:spPr>
          <a:xfrm>
            <a:off x="11066124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7" name="Shape1_20210628_132115">
            <a:extLst>
              <a:ext uri="{FF2B5EF4-FFF2-40B4-BE49-F238E27FC236}">
                <a16:creationId xmlns:a16="http://schemas.microsoft.com/office/drawing/2014/main" id="{DC01D0FC-F4F1-909F-B463-17BE79B72B40}"/>
              </a:ext>
            </a:extLst>
          </p:cNvPr>
          <p:cNvSpPr txBox="1"/>
          <p:nvPr/>
        </p:nvSpPr>
        <p:spPr>
          <a:xfrm>
            <a:off x="807182" y="2240407"/>
            <a:ext cx="2559222" cy="186443"/>
          </a:xfrm>
          <a:prstGeom prst="rect">
            <a:avLst/>
          </a:prstGeom>
          <a:solidFill>
            <a:schemeClr val="accent2"/>
          </a:solidFill>
        </p:spPr>
        <p:txBody>
          <a:bodyPr wrap="square" lIns="59114" tIns="59114" rIns="59114" bIns="59114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38" name="Shape0_20220516_103222">
            <a:extLst>
              <a:ext uri="{FF2B5EF4-FFF2-40B4-BE49-F238E27FC236}">
                <a16:creationId xmlns:a16="http://schemas.microsoft.com/office/drawing/2014/main" id="{0A4569C7-657C-0962-BF14-45B28FFC8602}"/>
              </a:ext>
            </a:extLst>
          </p:cNvPr>
          <p:cNvSpPr txBox="1"/>
          <p:nvPr/>
        </p:nvSpPr>
        <p:spPr>
          <a:xfrm>
            <a:off x="2907247" y="1600097"/>
            <a:ext cx="571515" cy="438765"/>
          </a:xfrm>
          <a:prstGeom prst="wedgeRectCallout">
            <a:avLst>
              <a:gd name="adj1" fmla="val -20833"/>
              <a:gd name="adj2" fmla="val 84921"/>
            </a:avLst>
          </a:prstGeom>
          <a:solidFill>
            <a:schemeClr val="accent2"/>
          </a:solidFill>
        </p:spPr>
        <p:txBody>
          <a:bodyPr wrap="square" lIns="59114" tIns="59114" rIns="59114" bIns="59114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Title</a:t>
            </a:r>
            <a:endParaRPr lang="en-IN" sz="1200" b="1" dirty="0">
              <a:solidFill>
                <a:srgbClr val="FFFFFF"/>
              </a:solidFill>
            </a:endParaRPr>
          </a:p>
        </p:txBody>
      </p:sp>
      <p:sp>
        <p:nvSpPr>
          <p:cNvPr id="39" name="Shape1_20210628_132153">
            <a:extLst>
              <a:ext uri="{FF2B5EF4-FFF2-40B4-BE49-F238E27FC236}">
                <a16:creationId xmlns:a16="http://schemas.microsoft.com/office/drawing/2014/main" id="{CA5D90CC-FF08-374D-F92B-673B9540B616}"/>
              </a:ext>
            </a:extLst>
          </p:cNvPr>
          <p:cNvSpPr txBox="1"/>
          <p:nvPr/>
        </p:nvSpPr>
        <p:spPr>
          <a:xfrm>
            <a:off x="5613708" y="3200882"/>
            <a:ext cx="1875343" cy="186443"/>
          </a:xfrm>
          <a:prstGeom prst="rect">
            <a:avLst/>
          </a:prstGeom>
          <a:solidFill>
            <a:schemeClr val="accent3"/>
          </a:solidFill>
        </p:spPr>
        <p:txBody>
          <a:bodyPr wrap="square" lIns="59114" tIns="59114" rIns="59114" bIns="59114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40" name="Shape1_20220516_103222">
            <a:extLst>
              <a:ext uri="{FF2B5EF4-FFF2-40B4-BE49-F238E27FC236}">
                <a16:creationId xmlns:a16="http://schemas.microsoft.com/office/drawing/2014/main" id="{A3A1C6C6-7EFB-1992-6806-18D1F6B858EF}"/>
              </a:ext>
            </a:extLst>
          </p:cNvPr>
          <p:cNvSpPr txBox="1"/>
          <p:nvPr/>
        </p:nvSpPr>
        <p:spPr>
          <a:xfrm>
            <a:off x="7351499" y="2600092"/>
            <a:ext cx="571515" cy="438765"/>
          </a:xfrm>
          <a:prstGeom prst="wedgeRectCallout">
            <a:avLst>
              <a:gd name="adj1" fmla="val -26300"/>
              <a:gd name="adj2" fmla="val 79140"/>
            </a:avLst>
          </a:prstGeom>
          <a:solidFill>
            <a:schemeClr val="accent3"/>
          </a:solidFill>
        </p:spPr>
        <p:txBody>
          <a:bodyPr wrap="square" lIns="59114" tIns="59114" rIns="59114" bIns="59114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Title</a:t>
            </a:r>
            <a:endParaRPr lang="en-IN" sz="12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175242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AB5BC-0282-8153-1CDC-2A9AA42CC3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811853B-CD14-8E22-B0E4-69253D4CC9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FD4CF0-D44C-352B-992B-14AC9037C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E6F01A-5352-6768-E842-21884502A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 Char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8BFC829-4AB9-5814-32A3-11BF6520F6D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BF2ABFBB-5D41-3EAC-4B6F-82BB6254AC1F}"/>
              </a:ext>
            </a:extLst>
          </p:cNvPr>
          <p:cNvSpPr txBox="1"/>
          <p:nvPr/>
        </p:nvSpPr>
        <p:spPr>
          <a:xfrm>
            <a:off x="812675" y="5393004"/>
            <a:ext cx="168266" cy="16826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98" name="Shape2_20220106_182608">
            <a:extLst>
              <a:ext uri="{FF2B5EF4-FFF2-40B4-BE49-F238E27FC236}">
                <a16:creationId xmlns:a16="http://schemas.microsoft.com/office/drawing/2014/main" id="{8B546E78-57B5-AC1B-CF96-5B610F47422E}"/>
              </a:ext>
            </a:extLst>
          </p:cNvPr>
          <p:cNvSpPr/>
          <p:nvPr/>
        </p:nvSpPr>
        <p:spPr>
          <a:xfrm>
            <a:off x="1030673" y="5384806"/>
            <a:ext cx="1083053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39ACA69-2093-385C-12A0-B4F2B1ED881C}"/>
              </a:ext>
            </a:extLst>
          </p:cNvPr>
          <p:cNvSpPr txBox="1"/>
          <p:nvPr/>
        </p:nvSpPr>
        <p:spPr>
          <a:xfrm>
            <a:off x="2617900" y="5393004"/>
            <a:ext cx="168266" cy="16826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0" name="Shape3_20220106_182608">
            <a:extLst>
              <a:ext uri="{FF2B5EF4-FFF2-40B4-BE49-F238E27FC236}">
                <a16:creationId xmlns:a16="http://schemas.microsoft.com/office/drawing/2014/main" id="{6ECBD99C-46BC-92DF-4569-B468C2DCEB8B}"/>
              </a:ext>
            </a:extLst>
          </p:cNvPr>
          <p:cNvSpPr/>
          <p:nvPr/>
        </p:nvSpPr>
        <p:spPr>
          <a:xfrm>
            <a:off x="2835899" y="5384806"/>
            <a:ext cx="1083053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96BA4EB-CE73-9AB3-85F0-DF5D3FE2E149}"/>
              </a:ext>
            </a:extLst>
          </p:cNvPr>
          <p:cNvSpPr txBox="1"/>
          <p:nvPr/>
        </p:nvSpPr>
        <p:spPr>
          <a:xfrm>
            <a:off x="4423126" y="5393004"/>
            <a:ext cx="168266" cy="1682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2" name="Shape4_20220106_182608">
            <a:extLst>
              <a:ext uri="{FF2B5EF4-FFF2-40B4-BE49-F238E27FC236}">
                <a16:creationId xmlns:a16="http://schemas.microsoft.com/office/drawing/2014/main" id="{31238E16-19BF-F427-FB2C-56906F0DDED1}"/>
              </a:ext>
            </a:extLst>
          </p:cNvPr>
          <p:cNvSpPr/>
          <p:nvPr/>
        </p:nvSpPr>
        <p:spPr>
          <a:xfrm>
            <a:off x="4641125" y="5384806"/>
            <a:ext cx="1083053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41D994-9BD6-2E32-56AC-3F384F57CDAA}"/>
              </a:ext>
            </a:extLst>
          </p:cNvPr>
          <p:cNvSpPr txBox="1"/>
          <p:nvPr/>
        </p:nvSpPr>
        <p:spPr>
          <a:xfrm>
            <a:off x="6228353" y="5393004"/>
            <a:ext cx="168266" cy="16826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4" name="Shape5_20220106_182608">
            <a:extLst>
              <a:ext uri="{FF2B5EF4-FFF2-40B4-BE49-F238E27FC236}">
                <a16:creationId xmlns:a16="http://schemas.microsoft.com/office/drawing/2014/main" id="{E2F33A06-3C28-83A1-D35B-11167CFDAAB5}"/>
              </a:ext>
            </a:extLst>
          </p:cNvPr>
          <p:cNvSpPr/>
          <p:nvPr/>
        </p:nvSpPr>
        <p:spPr>
          <a:xfrm>
            <a:off x="6446351" y="5384806"/>
            <a:ext cx="1083053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5" name="Shape0_20220317_095253">
            <a:extLst>
              <a:ext uri="{FF2B5EF4-FFF2-40B4-BE49-F238E27FC236}">
                <a16:creationId xmlns:a16="http://schemas.microsoft.com/office/drawing/2014/main" id="{B48E4131-F878-CCFF-D3FF-15B26871F96C}"/>
              </a:ext>
            </a:extLst>
          </p:cNvPr>
          <p:cNvSpPr txBox="1"/>
          <p:nvPr/>
        </p:nvSpPr>
        <p:spPr>
          <a:xfrm>
            <a:off x="8033578" y="5393004"/>
            <a:ext cx="168266" cy="16826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6" name="Shape6_20220106_182608">
            <a:extLst>
              <a:ext uri="{FF2B5EF4-FFF2-40B4-BE49-F238E27FC236}">
                <a16:creationId xmlns:a16="http://schemas.microsoft.com/office/drawing/2014/main" id="{EB14D785-D7DE-5205-FE50-8AE9D74E6C24}"/>
              </a:ext>
            </a:extLst>
          </p:cNvPr>
          <p:cNvSpPr/>
          <p:nvPr/>
        </p:nvSpPr>
        <p:spPr>
          <a:xfrm>
            <a:off x="8251578" y="5384806"/>
            <a:ext cx="1083053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EB686035-A5A1-CF4F-0C7D-3D9A73046F2C}"/>
              </a:ext>
            </a:extLst>
          </p:cNvPr>
          <p:cNvSpPr txBox="1"/>
          <p:nvPr/>
        </p:nvSpPr>
        <p:spPr>
          <a:xfrm>
            <a:off x="9838804" y="5393004"/>
            <a:ext cx="168266" cy="16826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8" name="Shape7_20220106_182608">
            <a:extLst>
              <a:ext uri="{FF2B5EF4-FFF2-40B4-BE49-F238E27FC236}">
                <a16:creationId xmlns:a16="http://schemas.microsoft.com/office/drawing/2014/main" id="{2F56837F-534A-CBEA-6BEC-053F1931F099}"/>
              </a:ext>
            </a:extLst>
          </p:cNvPr>
          <p:cNvSpPr/>
          <p:nvPr/>
        </p:nvSpPr>
        <p:spPr>
          <a:xfrm>
            <a:off x="10056801" y="5384806"/>
            <a:ext cx="1083053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528D680-9DA2-779F-D04C-8C967239BCAD}"/>
              </a:ext>
            </a:extLst>
          </p:cNvPr>
          <p:cNvSpPr txBox="1"/>
          <p:nvPr/>
        </p:nvSpPr>
        <p:spPr>
          <a:xfrm>
            <a:off x="1990688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8F87051-7DA4-A7DF-8641-12ED60275761}"/>
              </a:ext>
            </a:extLst>
          </p:cNvPr>
          <p:cNvSpPr txBox="1"/>
          <p:nvPr/>
        </p:nvSpPr>
        <p:spPr>
          <a:xfrm>
            <a:off x="277098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8DE5CCB-E853-5E89-5C06-A4B4CA5E4168}"/>
              </a:ext>
            </a:extLst>
          </p:cNvPr>
          <p:cNvSpPr txBox="1"/>
          <p:nvPr/>
        </p:nvSpPr>
        <p:spPr>
          <a:xfrm>
            <a:off x="3551277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D354307-DC32-412B-2EC2-23DE4F6C9B88}"/>
              </a:ext>
            </a:extLst>
          </p:cNvPr>
          <p:cNvSpPr txBox="1"/>
          <p:nvPr/>
        </p:nvSpPr>
        <p:spPr>
          <a:xfrm>
            <a:off x="433157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1C6645AC-F0CA-BF3A-016B-261345C60927}"/>
              </a:ext>
            </a:extLst>
          </p:cNvPr>
          <p:cNvSpPr txBox="1"/>
          <p:nvPr/>
        </p:nvSpPr>
        <p:spPr>
          <a:xfrm>
            <a:off x="5111867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6E9DBCA-3EBC-964D-FD89-FB6F76C61C35}"/>
              </a:ext>
            </a:extLst>
          </p:cNvPr>
          <p:cNvSpPr txBox="1"/>
          <p:nvPr/>
        </p:nvSpPr>
        <p:spPr>
          <a:xfrm>
            <a:off x="589216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373CD4AA-01F8-3DCF-7068-6D76E7CEF186}"/>
              </a:ext>
            </a:extLst>
          </p:cNvPr>
          <p:cNvSpPr txBox="1"/>
          <p:nvPr/>
        </p:nvSpPr>
        <p:spPr>
          <a:xfrm>
            <a:off x="6672456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5E103CB8-CDC5-1A62-73D8-D79B1C5C648A}"/>
              </a:ext>
            </a:extLst>
          </p:cNvPr>
          <p:cNvSpPr txBox="1"/>
          <p:nvPr/>
        </p:nvSpPr>
        <p:spPr>
          <a:xfrm>
            <a:off x="745275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637C8D4E-2646-DF0F-7ED8-27D53F6ED50A}"/>
              </a:ext>
            </a:extLst>
          </p:cNvPr>
          <p:cNvSpPr txBox="1"/>
          <p:nvPr/>
        </p:nvSpPr>
        <p:spPr>
          <a:xfrm>
            <a:off x="8233045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280CF553-81C3-5892-58BE-7C9817F0F0DA}"/>
              </a:ext>
            </a:extLst>
          </p:cNvPr>
          <p:cNvSpPr txBox="1"/>
          <p:nvPr/>
        </p:nvSpPr>
        <p:spPr>
          <a:xfrm>
            <a:off x="9013340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B1E5E90E-1237-2E0B-23C2-8555C0108F48}"/>
              </a:ext>
            </a:extLst>
          </p:cNvPr>
          <p:cNvSpPr txBox="1"/>
          <p:nvPr/>
        </p:nvSpPr>
        <p:spPr>
          <a:xfrm>
            <a:off x="9793636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5C80C73-3F53-BE14-42FD-C7D0E329D045}"/>
              </a:ext>
            </a:extLst>
          </p:cNvPr>
          <p:cNvSpPr txBox="1"/>
          <p:nvPr/>
        </p:nvSpPr>
        <p:spPr>
          <a:xfrm>
            <a:off x="10573931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C5AA2D3B-8CCD-88E9-151C-63A0FB080B0B}"/>
              </a:ext>
            </a:extLst>
          </p:cNvPr>
          <p:cNvCxnSpPr/>
          <p:nvPr/>
        </p:nvCxnSpPr>
        <p:spPr>
          <a:xfrm>
            <a:off x="776896" y="1597443"/>
            <a:ext cx="10577330" cy="0"/>
          </a:xfrm>
          <a:prstGeom prst="lin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F00FB042-BE51-520E-2A08-8C38F6BD993C}"/>
              </a:ext>
            </a:extLst>
          </p:cNvPr>
          <p:cNvCxnSpPr/>
          <p:nvPr/>
        </p:nvCxnSpPr>
        <p:spPr>
          <a:xfrm>
            <a:off x="776896" y="1982100"/>
            <a:ext cx="10577330" cy="0"/>
          </a:xfrm>
          <a:prstGeom prst="line">
            <a:avLst/>
          </a:prstGeom>
          <a:ln w="952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62D4A707-FEBB-7C33-0D81-56FEA00DFD3D}"/>
              </a:ext>
            </a:extLst>
          </p:cNvPr>
          <p:cNvCxnSpPr/>
          <p:nvPr/>
        </p:nvCxnSpPr>
        <p:spPr>
          <a:xfrm>
            <a:off x="776896" y="2366757"/>
            <a:ext cx="10577330" cy="0"/>
          </a:xfrm>
          <a:prstGeom prst="line">
            <a:avLst/>
          </a:prstGeom>
          <a:ln w="952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88E288E0-1F29-0B23-B13D-A99FCD7C2584}"/>
              </a:ext>
            </a:extLst>
          </p:cNvPr>
          <p:cNvCxnSpPr/>
          <p:nvPr/>
        </p:nvCxnSpPr>
        <p:spPr>
          <a:xfrm>
            <a:off x="776896" y="2751414"/>
            <a:ext cx="10577330" cy="0"/>
          </a:xfrm>
          <a:prstGeom prst="line">
            <a:avLst/>
          </a:prstGeom>
          <a:ln w="952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ABC5BFA2-08C1-D93C-12AE-7B94C327365C}"/>
              </a:ext>
            </a:extLst>
          </p:cNvPr>
          <p:cNvCxnSpPr/>
          <p:nvPr/>
        </p:nvCxnSpPr>
        <p:spPr>
          <a:xfrm>
            <a:off x="776896" y="3136071"/>
            <a:ext cx="10577330" cy="0"/>
          </a:xfrm>
          <a:prstGeom prst="line">
            <a:avLst/>
          </a:prstGeom>
          <a:ln w="952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45D2AF29-A2AC-BF11-6445-B7F835A9C8EB}"/>
              </a:ext>
            </a:extLst>
          </p:cNvPr>
          <p:cNvCxnSpPr/>
          <p:nvPr/>
        </p:nvCxnSpPr>
        <p:spPr>
          <a:xfrm>
            <a:off x="776896" y="3520728"/>
            <a:ext cx="10577330" cy="0"/>
          </a:xfrm>
          <a:prstGeom prst="line">
            <a:avLst/>
          </a:prstGeom>
          <a:ln w="952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19EFFB54-0F61-D819-8321-605ECB1FAC16}"/>
              </a:ext>
            </a:extLst>
          </p:cNvPr>
          <p:cNvCxnSpPr/>
          <p:nvPr/>
        </p:nvCxnSpPr>
        <p:spPr>
          <a:xfrm>
            <a:off x="776896" y="3905384"/>
            <a:ext cx="10577330" cy="0"/>
          </a:xfrm>
          <a:prstGeom prst="line">
            <a:avLst/>
          </a:prstGeom>
          <a:ln w="952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5131FEEC-FC7C-5617-F372-D495E31A8275}"/>
              </a:ext>
            </a:extLst>
          </p:cNvPr>
          <p:cNvCxnSpPr/>
          <p:nvPr/>
        </p:nvCxnSpPr>
        <p:spPr>
          <a:xfrm>
            <a:off x="776896" y="4290041"/>
            <a:ext cx="10577330" cy="0"/>
          </a:xfrm>
          <a:prstGeom prst="line">
            <a:avLst/>
          </a:prstGeom>
          <a:ln w="952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A584C94A-B707-C1A4-8E35-6CF037E0BFA5}"/>
              </a:ext>
            </a:extLst>
          </p:cNvPr>
          <p:cNvSpPr txBox="1"/>
          <p:nvPr/>
        </p:nvSpPr>
        <p:spPr>
          <a:xfrm>
            <a:off x="776896" y="1288659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A045050-E2B0-452F-0D34-F87A51E8A2FD}"/>
              </a:ext>
            </a:extLst>
          </p:cNvPr>
          <p:cNvSpPr txBox="1"/>
          <p:nvPr/>
        </p:nvSpPr>
        <p:spPr>
          <a:xfrm>
            <a:off x="776896" y="1649613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01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B515DC61-9FFB-7118-E256-D1C97EED9603}"/>
              </a:ext>
            </a:extLst>
          </p:cNvPr>
          <p:cNvSpPr txBox="1"/>
          <p:nvPr/>
        </p:nvSpPr>
        <p:spPr>
          <a:xfrm>
            <a:off x="776896" y="2034270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2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C7917609-6459-8405-C4F3-29770AACADB4}"/>
              </a:ext>
            </a:extLst>
          </p:cNvPr>
          <p:cNvSpPr txBox="1"/>
          <p:nvPr/>
        </p:nvSpPr>
        <p:spPr>
          <a:xfrm>
            <a:off x="776896" y="2418927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3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87839132-DDC1-7006-11B7-310D7A8C0CD3}"/>
              </a:ext>
            </a:extLst>
          </p:cNvPr>
          <p:cNvSpPr txBox="1"/>
          <p:nvPr/>
        </p:nvSpPr>
        <p:spPr>
          <a:xfrm>
            <a:off x="776896" y="2803584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4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D0EE959A-E776-BE57-5BDB-2258B9B78949}"/>
              </a:ext>
            </a:extLst>
          </p:cNvPr>
          <p:cNvSpPr txBox="1"/>
          <p:nvPr/>
        </p:nvSpPr>
        <p:spPr>
          <a:xfrm>
            <a:off x="776896" y="3188241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5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B0072B51-B712-4E84-FFFA-F38B70600184}"/>
              </a:ext>
            </a:extLst>
          </p:cNvPr>
          <p:cNvSpPr txBox="1"/>
          <p:nvPr/>
        </p:nvSpPr>
        <p:spPr>
          <a:xfrm>
            <a:off x="776896" y="3572897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6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EA87B79-9D72-9237-F8DA-3D6AE6A5E054}"/>
              </a:ext>
            </a:extLst>
          </p:cNvPr>
          <p:cNvSpPr txBox="1"/>
          <p:nvPr/>
        </p:nvSpPr>
        <p:spPr>
          <a:xfrm>
            <a:off x="776896" y="3957554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7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FC3FE6EE-B4C1-1DBC-71E6-841AF6747706}"/>
              </a:ext>
            </a:extLst>
          </p:cNvPr>
          <p:cNvSpPr txBox="1"/>
          <p:nvPr/>
        </p:nvSpPr>
        <p:spPr>
          <a:xfrm>
            <a:off x="776896" y="4342211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8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DF39D2F4-5512-C104-E9E2-D087E55333FC}"/>
              </a:ext>
            </a:extLst>
          </p:cNvPr>
          <p:cNvSpPr txBox="1"/>
          <p:nvPr/>
        </p:nvSpPr>
        <p:spPr>
          <a:xfrm>
            <a:off x="776896" y="4726868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9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7B2DB8BC-125F-9FD7-A8F3-A61D801BF0CA}"/>
              </a:ext>
            </a:extLst>
          </p:cNvPr>
          <p:cNvCxnSpPr/>
          <p:nvPr/>
        </p:nvCxnSpPr>
        <p:spPr>
          <a:xfrm>
            <a:off x="776896" y="4674698"/>
            <a:ext cx="10577330" cy="0"/>
          </a:xfrm>
          <a:prstGeom prst="line">
            <a:avLst/>
          </a:prstGeom>
          <a:ln w="952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Shape1_20220526_111819">
            <a:extLst>
              <a:ext uri="{FF2B5EF4-FFF2-40B4-BE49-F238E27FC236}">
                <a16:creationId xmlns:a16="http://schemas.microsoft.com/office/drawing/2014/main" id="{DA993F33-D94E-FC99-CB89-6D80F55E77E7}"/>
              </a:ext>
            </a:extLst>
          </p:cNvPr>
          <p:cNvSpPr/>
          <p:nvPr/>
        </p:nvSpPr>
        <p:spPr>
          <a:xfrm>
            <a:off x="4752944" y="2825118"/>
            <a:ext cx="1534951" cy="2827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6" name="Shape1_20220526_150631">
            <a:extLst>
              <a:ext uri="{FF2B5EF4-FFF2-40B4-BE49-F238E27FC236}">
                <a16:creationId xmlns:a16="http://schemas.microsoft.com/office/drawing/2014/main" id="{3F57851A-EE0C-C232-40C3-187D93BA73CE}"/>
              </a:ext>
            </a:extLst>
          </p:cNvPr>
          <p:cNvSpPr/>
          <p:nvPr/>
        </p:nvSpPr>
        <p:spPr>
          <a:xfrm>
            <a:off x="2451228" y="1671867"/>
            <a:ext cx="1355008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7" name="Shape0_20220526_150631">
            <a:extLst>
              <a:ext uri="{FF2B5EF4-FFF2-40B4-BE49-F238E27FC236}">
                <a16:creationId xmlns:a16="http://schemas.microsoft.com/office/drawing/2014/main" id="{02D7D42D-6AB5-EB1F-1EC0-E8331539BAFE}"/>
              </a:ext>
            </a:extLst>
          </p:cNvPr>
          <p:cNvSpPr/>
          <p:nvPr/>
        </p:nvSpPr>
        <p:spPr>
          <a:xfrm>
            <a:off x="9160895" y="1671867"/>
            <a:ext cx="1731853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7" name="Shape0_20220526_150629">
            <a:extLst>
              <a:ext uri="{FF2B5EF4-FFF2-40B4-BE49-F238E27FC236}">
                <a16:creationId xmlns:a16="http://schemas.microsoft.com/office/drawing/2014/main" id="{2E7B1C35-7773-651B-646E-81BCAA7CBD98}"/>
              </a:ext>
            </a:extLst>
          </p:cNvPr>
          <p:cNvSpPr/>
          <p:nvPr/>
        </p:nvSpPr>
        <p:spPr>
          <a:xfrm>
            <a:off x="3383438" y="2056283"/>
            <a:ext cx="781264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8" name="Shape0_20210610_213245">
            <a:extLst>
              <a:ext uri="{FF2B5EF4-FFF2-40B4-BE49-F238E27FC236}">
                <a16:creationId xmlns:a16="http://schemas.microsoft.com/office/drawing/2014/main" id="{629AE61D-1FD7-1461-08AC-D184E9787279}"/>
              </a:ext>
            </a:extLst>
          </p:cNvPr>
          <p:cNvSpPr/>
          <p:nvPr/>
        </p:nvSpPr>
        <p:spPr>
          <a:xfrm>
            <a:off x="5589354" y="2056283"/>
            <a:ext cx="1240829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9" name="Shape1_20220526_150629">
            <a:extLst>
              <a:ext uri="{FF2B5EF4-FFF2-40B4-BE49-F238E27FC236}">
                <a16:creationId xmlns:a16="http://schemas.microsoft.com/office/drawing/2014/main" id="{F2DE050D-F102-2D4E-575B-7B0113648B43}"/>
              </a:ext>
            </a:extLst>
          </p:cNvPr>
          <p:cNvSpPr/>
          <p:nvPr/>
        </p:nvSpPr>
        <p:spPr>
          <a:xfrm>
            <a:off x="4036021" y="2440701"/>
            <a:ext cx="4044184" cy="2827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0" name="Shape2_20220526_111819">
            <a:extLst>
              <a:ext uri="{FF2B5EF4-FFF2-40B4-BE49-F238E27FC236}">
                <a16:creationId xmlns:a16="http://schemas.microsoft.com/office/drawing/2014/main" id="{869DE089-735E-4CD0-EB89-CC6FFB0DE1EA}"/>
              </a:ext>
            </a:extLst>
          </p:cNvPr>
          <p:cNvSpPr/>
          <p:nvPr/>
        </p:nvSpPr>
        <p:spPr>
          <a:xfrm>
            <a:off x="7887186" y="2825118"/>
            <a:ext cx="1167298" cy="2827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1" name="Shape1_20220317_095306">
            <a:extLst>
              <a:ext uri="{FF2B5EF4-FFF2-40B4-BE49-F238E27FC236}">
                <a16:creationId xmlns:a16="http://schemas.microsoft.com/office/drawing/2014/main" id="{84A94D63-A210-9EC0-F05E-FA3B51658489}"/>
              </a:ext>
            </a:extLst>
          </p:cNvPr>
          <p:cNvSpPr/>
          <p:nvPr/>
        </p:nvSpPr>
        <p:spPr>
          <a:xfrm>
            <a:off x="6765848" y="3209532"/>
            <a:ext cx="4237203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2" name="Shape0_20210610_213315">
            <a:extLst>
              <a:ext uri="{FF2B5EF4-FFF2-40B4-BE49-F238E27FC236}">
                <a16:creationId xmlns:a16="http://schemas.microsoft.com/office/drawing/2014/main" id="{3CD8ECF7-1CFD-B627-127F-5C4A3D92C1AC}"/>
              </a:ext>
            </a:extLst>
          </p:cNvPr>
          <p:cNvSpPr/>
          <p:nvPr/>
        </p:nvSpPr>
        <p:spPr>
          <a:xfrm>
            <a:off x="4495585" y="3593947"/>
            <a:ext cx="1498186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3" name="Shape3_20220526_111819">
            <a:extLst>
              <a:ext uri="{FF2B5EF4-FFF2-40B4-BE49-F238E27FC236}">
                <a16:creationId xmlns:a16="http://schemas.microsoft.com/office/drawing/2014/main" id="{E4F4898B-8134-E5A8-BA70-E31DC7ACDDD3}"/>
              </a:ext>
            </a:extLst>
          </p:cNvPr>
          <p:cNvSpPr/>
          <p:nvPr/>
        </p:nvSpPr>
        <p:spPr>
          <a:xfrm>
            <a:off x="5497438" y="3978365"/>
            <a:ext cx="1691205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4" name="Shape2_20210610_213240">
            <a:extLst>
              <a:ext uri="{FF2B5EF4-FFF2-40B4-BE49-F238E27FC236}">
                <a16:creationId xmlns:a16="http://schemas.microsoft.com/office/drawing/2014/main" id="{4ABE5AC2-1689-2DC0-2609-225426FDD881}"/>
              </a:ext>
            </a:extLst>
          </p:cNvPr>
          <p:cNvSpPr/>
          <p:nvPr/>
        </p:nvSpPr>
        <p:spPr>
          <a:xfrm>
            <a:off x="7078351" y="4362781"/>
            <a:ext cx="1314361" cy="28279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5" name="Shape2_20220317_095306">
            <a:extLst>
              <a:ext uri="{FF2B5EF4-FFF2-40B4-BE49-F238E27FC236}">
                <a16:creationId xmlns:a16="http://schemas.microsoft.com/office/drawing/2014/main" id="{CBECA333-1114-CAD5-F426-2EF9FCEFBA53}"/>
              </a:ext>
            </a:extLst>
          </p:cNvPr>
          <p:cNvSpPr/>
          <p:nvPr/>
        </p:nvSpPr>
        <p:spPr>
          <a:xfrm>
            <a:off x="8687702" y="4747196"/>
            <a:ext cx="1680267" cy="28279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</p:spTree>
    <p:extLst>
      <p:ext uri="{BB962C8B-B14F-4D97-AF65-F5344CB8AC3E}">
        <p14:creationId xmlns:p14="http://schemas.microsoft.com/office/powerpoint/2010/main" val="83936833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2B135-1AAF-CE9F-C26C-D17FBC959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C6B3FC7-A98F-DC99-2426-D28EC2A533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1853B-CD14-8E22-B0E4-69253D4CC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21F70E-B78D-C172-20ED-1EB3872A1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 Char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788B507-1CFD-3F02-3D94-2D5034711DA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" name="Shape0_20220516_120635">
            <a:extLst>
              <a:ext uri="{FF2B5EF4-FFF2-40B4-BE49-F238E27FC236}">
                <a16:creationId xmlns:a16="http://schemas.microsoft.com/office/drawing/2014/main" id="{C19B3402-32F2-EE78-0DF8-1AF34BAD92E9}"/>
              </a:ext>
            </a:extLst>
          </p:cNvPr>
          <p:cNvSpPr/>
          <p:nvPr/>
        </p:nvSpPr>
        <p:spPr>
          <a:xfrm>
            <a:off x="805346" y="1241723"/>
            <a:ext cx="718167" cy="3821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0" name="Shape1_20220425_170201">
            <a:extLst>
              <a:ext uri="{FF2B5EF4-FFF2-40B4-BE49-F238E27FC236}">
                <a16:creationId xmlns:a16="http://schemas.microsoft.com/office/drawing/2014/main" id="{8567D362-CE74-9E59-4590-D63B7308224D}"/>
              </a:ext>
            </a:extLst>
          </p:cNvPr>
          <p:cNvSpPr/>
          <p:nvPr/>
        </p:nvSpPr>
        <p:spPr>
          <a:xfrm>
            <a:off x="1701116" y="1241723"/>
            <a:ext cx="718167" cy="3821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1" name="Shape1_20220516_120635">
            <a:extLst>
              <a:ext uri="{FF2B5EF4-FFF2-40B4-BE49-F238E27FC236}">
                <a16:creationId xmlns:a16="http://schemas.microsoft.com/office/drawing/2014/main" id="{BF6755F0-101D-8C74-00AC-FAC63B743064}"/>
              </a:ext>
            </a:extLst>
          </p:cNvPr>
          <p:cNvSpPr/>
          <p:nvPr/>
        </p:nvSpPr>
        <p:spPr>
          <a:xfrm>
            <a:off x="2596882" y="1241723"/>
            <a:ext cx="718167" cy="3821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2" name="Shape2_20220425_170201">
            <a:extLst>
              <a:ext uri="{FF2B5EF4-FFF2-40B4-BE49-F238E27FC236}">
                <a16:creationId xmlns:a16="http://schemas.microsoft.com/office/drawing/2014/main" id="{052E2EB5-9F84-C3AD-4E88-0E6980348BF2}"/>
              </a:ext>
            </a:extLst>
          </p:cNvPr>
          <p:cNvSpPr/>
          <p:nvPr/>
        </p:nvSpPr>
        <p:spPr>
          <a:xfrm>
            <a:off x="3492654" y="1241723"/>
            <a:ext cx="718167" cy="3821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3" name="Shape2_20220516_120635">
            <a:extLst>
              <a:ext uri="{FF2B5EF4-FFF2-40B4-BE49-F238E27FC236}">
                <a16:creationId xmlns:a16="http://schemas.microsoft.com/office/drawing/2014/main" id="{AFC4A959-D0D5-029D-0146-941788DB3CDE}"/>
              </a:ext>
            </a:extLst>
          </p:cNvPr>
          <p:cNvSpPr/>
          <p:nvPr/>
        </p:nvSpPr>
        <p:spPr>
          <a:xfrm>
            <a:off x="4388421" y="1241723"/>
            <a:ext cx="718167" cy="3821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4" name="Shape3_20220425_170201">
            <a:extLst>
              <a:ext uri="{FF2B5EF4-FFF2-40B4-BE49-F238E27FC236}">
                <a16:creationId xmlns:a16="http://schemas.microsoft.com/office/drawing/2014/main" id="{9F928865-BDCE-9BAF-7147-75BE12E6395F}"/>
              </a:ext>
            </a:extLst>
          </p:cNvPr>
          <p:cNvSpPr/>
          <p:nvPr/>
        </p:nvSpPr>
        <p:spPr>
          <a:xfrm>
            <a:off x="5284190" y="1241723"/>
            <a:ext cx="718167" cy="3821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5" name="Shape3_20220516_120635">
            <a:extLst>
              <a:ext uri="{FF2B5EF4-FFF2-40B4-BE49-F238E27FC236}">
                <a16:creationId xmlns:a16="http://schemas.microsoft.com/office/drawing/2014/main" id="{FE5E7F23-5F3B-BF8E-3BB4-7F7D799734E0}"/>
              </a:ext>
            </a:extLst>
          </p:cNvPr>
          <p:cNvSpPr/>
          <p:nvPr/>
        </p:nvSpPr>
        <p:spPr>
          <a:xfrm>
            <a:off x="6179959" y="1241723"/>
            <a:ext cx="718167" cy="3821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6" name="Shape4_20220425_170201">
            <a:extLst>
              <a:ext uri="{FF2B5EF4-FFF2-40B4-BE49-F238E27FC236}">
                <a16:creationId xmlns:a16="http://schemas.microsoft.com/office/drawing/2014/main" id="{E52B2464-7AEE-7B0B-02A4-EA87F760D188}"/>
              </a:ext>
            </a:extLst>
          </p:cNvPr>
          <p:cNvSpPr/>
          <p:nvPr/>
        </p:nvSpPr>
        <p:spPr>
          <a:xfrm>
            <a:off x="7075726" y="1241723"/>
            <a:ext cx="718167" cy="3821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7" name="Shape4_20220516_120635">
            <a:extLst>
              <a:ext uri="{FF2B5EF4-FFF2-40B4-BE49-F238E27FC236}">
                <a16:creationId xmlns:a16="http://schemas.microsoft.com/office/drawing/2014/main" id="{20360C88-235E-E385-A306-23EBA10FA839}"/>
              </a:ext>
            </a:extLst>
          </p:cNvPr>
          <p:cNvSpPr/>
          <p:nvPr/>
        </p:nvSpPr>
        <p:spPr>
          <a:xfrm>
            <a:off x="7971497" y="1241723"/>
            <a:ext cx="718167" cy="3821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8" name="Shape5_20220425_170201">
            <a:extLst>
              <a:ext uri="{FF2B5EF4-FFF2-40B4-BE49-F238E27FC236}">
                <a16:creationId xmlns:a16="http://schemas.microsoft.com/office/drawing/2014/main" id="{1D3AE645-50C4-B57B-7DDD-01CDCE771428}"/>
              </a:ext>
            </a:extLst>
          </p:cNvPr>
          <p:cNvSpPr/>
          <p:nvPr/>
        </p:nvSpPr>
        <p:spPr>
          <a:xfrm>
            <a:off x="8867264" y="1241723"/>
            <a:ext cx="718167" cy="3821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9" name="Shape5_20220516_120635">
            <a:extLst>
              <a:ext uri="{FF2B5EF4-FFF2-40B4-BE49-F238E27FC236}">
                <a16:creationId xmlns:a16="http://schemas.microsoft.com/office/drawing/2014/main" id="{32C0D0FE-5D3C-D963-4D8F-7E36C1E328AA}"/>
              </a:ext>
            </a:extLst>
          </p:cNvPr>
          <p:cNvSpPr/>
          <p:nvPr/>
        </p:nvSpPr>
        <p:spPr>
          <a:xfrm>
            <a:off x="9763032" y="1241723"/>
            <a:ext cx="718167" cy="3821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40" name="Shape6_20220425_170201">
            <a:extLst>
              <a:ext uri="{FF2B5EF4-FFF2-40B4-BE49-F238E27FC236}">
                <a16:creationId xmlns:a16="http://schemas.microsoft.com/office/drawing/2014/main" id="{966B206D-03A0-4B56-A2CE-29EDE09BB132}"/>
              </a:ext>
            </a:extLst>
          </p:cNvPr>
          <p:cNvSpPr/>
          <p:nvPr/>
        </p:nvSpPr>
        <p:spPr>
          <a:xfrm>
            <a:off x="10658796" y="1241723"/>
            <a:ext cx="718167" cy="3821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41" name="Shape13_20220106_182657">
            <a:extLst>
              <a:ext uri="{FF2B5EF4-FFF2-40B4-BE49-F238E27FC236}">
                <a16:creationId xmlns:a16="http://schemas.microsoft.com/office/drawing/2014/main" id="{F6EF5B55-9853-2BBA-E219-2B88D2C102F8}"/>
              </a:ext>
            </a:extLst>
          </p:cNvPr>
          <p:cNvSpPr txBox="1"/>
          <p:nvPr/>
        </p:nvSpPr>
        <p:spPr>
          <a:xfrm>
            <a:off x="805349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rgbClr val="0C0B45"/>
                </a:solidFill>
              </a:rPr>
              <a:t>Jan</a:t>
            </a:r>
          </a:p>
        </p:txBody>
      </p:sp>
      <p:sp>
        <p:nvSpPr>
          <p:cNvPr id="42" name="Shape14_20220106_182657">
            <a:extLst>
              <a:ext uri="{FF2B5EF4-FFF2-40B4-BE49-F238E27FC236}">
                <a16:creationId xmlns:a16="http://schemas.microsoft.com/office/drawing/2014/main" id="{75F437C8-06B3-8DF9-C571-FD1365713811}"/>
              </a:ext>
            </a:extLst>
          </p:cNvPr>
          <p:cNvSpPr txBox="1"/>
          <p:nvPr/>
        </p:nvSpPr>
        <p:spPr>
          <a:xfrm>
            <a:off x="1699978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rgbClr val="0C0B45"/>
                </a:solidFill>
              </a:rPr>
              <a:t>Feb</a:t>
            </a:r>
          </a:p>
        </p:txBody>
      </p:sp>
      <p:sp>
        <p:nvSpPr>
          <p:cNvPr id="43" name="Shape15_20220106_182657">
            <a:extLst>
              <a:ext uri="{FF2B5EF4-FFF2-40B4-BE49-F238E27FC236}">
                <a16:creationId xmlns:a16="http://schemas.microsoft.com/office/drawing/2014/main" id="{E0EAD47F-3E44-1D34-FB6B-45FA7FA58EFF}"/>
              </a:ext>
            </a:extLst>
          </p:cNvPr>
          <p:cNvSpPr txBox="1"/>
          <p:nvPr/>
        </p:nvSpPr>
        <p:spPr>
          <a:xfrm>
            <a:off x="2594606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US" sz="1400" b="1" dirty="0">
                <a:solidFill>
                  <a:srgbClr val="0C0B45"/>
                </a:solidFill>
              </a:rPr>
              <a:t>Mar</a:t>
            </a:r>
            <a:endParaRPr lang="en-IN" sz="1400" b="1" dirty="0">
              <a:solidFill>
                <a:srgbClr val="0C0B45"/>
              </a:solidFill>
            </a:endParaRPr>
          </a:p>
        </p:txBody>
      </p:sp>
      <p:sp>
        <p:nvSpPr>
          <p:cNvPr id="44" name="Shape16_20220106_182657">
            <a:extLst>
              <a:ext uri="{FF2B5EF4-FFF2-40B4-BE49-F238E27FC236}">
                <a16:creationId xmlns:a16="http://schemas.microsoft.com/office/drawing/2014/main" id="{9F910BB4-5D83-27D5-4F65-2844CAB32642}"/>
              </a:ext>
            </a:extLst>
          </p:cNvPr>
          <p:cNvSpPr txBox="1"/>
          <p:nvPr/>
        </p:nvSpPr>
        <p:spPr>
          <a:xfrm>
            <a:off x="3489236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rgbClr val="0C0B45"/>
                </a:solidFill>
              </a:rPr>
              <a:t>Apr</a:t>
            </a:r>
          </a:p>
        </p:txBody>
      </p:sp>
      <p:sp>
        <p:nvSpPr>
          <p:cNvPr id="45" name="Shape17_20220106_182657">
            <a:extLst>
              <a:ext uri="{FF2B5EF4-FFF2-40B4-BE49-F238E27FC236}">
                <a16:creationId xmlns:a16="http://schemas.microsoft.com/office/drawing/2014/main" id="{A1FD763D-1AF0-3D1F-3990-28E512E1F97A}"/>
              </a:ext>
            </a:extLst>
          </p:cNvPr>
          <p:cNvSpPr txBox="1"/>
          <p:nvPr/>
        </p:nvSpPr>
        <p:spPr>
          <a:xfrm>
            <a:off x="4383864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rgbClr val="0C0B45"/>
                </a:solidFill>
              </a:rPr>
              <a:t>May</a:t>
            </a:r>
          </a:p>
        </p:txBody>
      </p:sp>
      <p:sp>
        <p:nvSpPr>
          <p:cNvPr id="46" name="Shape18_20220106_182657">
            <a:extLst>
              <a:ext uri="{FF2B5EF4-FFF2-40B4-BE49-F238E27FC236}">
                <a16:creationId xmlns:a16="http://schemas.microsoft.com/office/drawing/2014/main" id="{4027AC8D-C725-8554-B8A4-91D918CA4A41}"/>
              </a:ext>
            </a:extLst>
          </p:cNvPr>
          <p:cNvSpPr txBox="1"/>
          <p:nvPr/>
        </p:nvSpPr>
        <p:spPr>
          <a:xfrm>
            <a:off x="5278493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rgbClr val="0C0B45"/>
                </a:solidFill>
              </a:rPr>
              <a:t>Jun</a:t>
            </a:r>
          </a:p>
        </p:txBody>
      </p:sp>
      <p:sp>
        <p:nvSpPr>
          <p:cNvPr id="47" name="Shape19_20220106_182657">
            <a:extLst>
              <a:ext uri="{FF2B5EF4-FFF2-40B4-BE49-F238E27FC236}">
                <a16:creationId xmlns:a16="http://schemas.microsoft.com/office/drawing/2014/main" id="{4ACE4401-DEFC-1CC9-7798-EE2D234274FE}"/>
              </a:ext>
            </a:extLst>
          </p:cNvPr>
          <p:cNvSpPr txBox="1"/>
          <p:nvPr/>
        </p:nvSpPr>
        <p:spPr>
          <a:xfrm>
            <a:off x="6173125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rgbClr val="0C0B45"/>
                </a:solidFill>
              </a:rPr>
              <a:t>Jul</a:t>
            </a:r>
          </a:p>
        </p:txBody>
      </p:sp>
      <p:sp>
        <p:nvSpPr>
          <p:cNvPr id="48" name="Shape20_20220106_182657">
            <a:extLst>
              <a:ext uri="{FF2B5EF4-FFF2-40B4-BE49-F238E27FC236}">
                <a16:creationId xmlns:a16="http://schemas.microsoft.com/office/drawing/2014/main" id="{56442FB8-7E3D-DFA4-DC3B-6560636A79C3}"/>
              </a:ext>
            </a:extLst>
          </p:cNvPr>
          <p:cNvSpPr txBox="1"/>
          <p:nvPr/>
        </p:nvSpPr>
        <p:spPr>
          <a:xfrm>
            <a:off x="7067751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rgbClr val="0C0B45"/>
                </a:solidFill>
              </a:rPr>
              <a:t>Aug</a:t>
            </a:r>
          </a:p>
        </p:txBody>
      </p:sp>
      <p:sp>
        <p:nvSpPr>
          <p:cNvPr id="49" name="Shape21_20220106_182657">
            <a:extLst>
              <a:ext uri="{FF2B5EF4-FFF2-40B4-BE49-F238E27FC236}">
                <a16:creationId xmlns:a16="http://schemas.microsoft.com/office/drawing/2014/main" id="{F34B6D3D-9D8A-92B1-DF8A-E06034F3AA68}"/>
              </a:ext>
            </a:extLst>
          </p:cNvPr>
          <p:cNvSpPr txBox="1"/>
          <p:nvPr/>
        </p:nvSpPr>
        <p:spPr>
          <a:xfrm>
            <a:off x="7962382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rgbClr val="0C0B45"/>
                </a:solidFill>
              </a:rPr>
              <a:t>Sep</a:t>
            </a:r>
          </a:p>
        </p:txBody>
      </p:sp>
      <p:sp>
        <p:nvSpPr>
          <p:cNvPr id="50" name="Shape22_20220106_182657">
            <a:extLst>
              <a:ext uri="{FF2B5EF4-FFF2-40B4-BE49-F238E27FC236}">
                <a16:creationId xmlns:a16="http://schemas.microsoft.com/office/drawing/2014/main" id="{79360829-81AC-6ED3-3D7A-B7EA2D5B1F67}"/>
              </a:ext>
            </a:extLst>
          </p:cNvPr>
          <p:cNvSpPr txBox="1"/>
          <p:nvPr/>
        </p:nvSpPr>
        <p:spPr>
          <a:xfrm>
            <a:off x="8857011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rgbClr val="0C0B45"/>
                </a:solidFill>
              </a:rPr>
              <a:t>Oct</a:t>
            </a:r>
          </a:p>
        </p:txBody>
      </p:sp>
      <p:sp>
        <p:nvSpPr>
          <p:cNvPr id="51" name="Shape23_20220106_182657">
            <a:extLst>
              <a:ext uri="{FF2B5EF4-FFF2-40B4-BE49-F238E27FC236}">
                <a16:creationId xmlns:a16="http://schemas.microsoft.com/office/drawing/2014/main" id="{1CFD85AE-699B-5053-C65C-F6667D3A33A0}"/>
              </a:ext>
            </a:extLst>
          </p:cNvPr>
          <p:cNvSpPr txBox="1"/>
          <p:nvPr/>
        </p:nvSpPr>
        <p:spPr>
          <a:xfrm>
            <a:off x="9751637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rgbClr val="0C0B45"/>
                </a:solidFill>
              </a:rPr>
              <a:t>Nov</a:t>
            </a:r>
          </a:p>
        </p:txBody>
      </p:sp>
      <p:sp>
        <p:nvSpPr>
          <p:cNvPr id="52" name="Shape24_20220106_182657">
            <a:extLst>
              <a:ext uri="{FF2B5EF4-FFF2-40B4-BE49-F238E27FC236}">
                <a16:creationId xmlns:a16="http://schemas.microsoft.com/office/drawing/2014/main" id="{FCC0805A-E25C-17B9-E058-F6C28A4653DC}"/>
              </a:ext>
            </a:extLst>
          </p:cNvPr>
          <p:cNvSpPr txBox="1"/>
          <p:nvPr/>
        </p:nvSpPr>
        <p:spPr>
          <a:xfrm>
            <a:off x="10646265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rgbClr val="0C0B45"/>
                </a:solidFill>
              </a:rPr>
              <a:t>Dec</a:t>
            </a:r>
          </a:p>
        </p:txBody>
      </p:sp>
      <p:sp>
        <p:nvSpPr>
          <p:cNvPr id="53" name="Shape25_20220106_182657">
            <a:extLst>
              <a:ext uri="{FF2B5EF4-FFF2-40B4-BE49-F238E27FC236}">
                <a16:creationId xmlns:a16="http://schemas.microsoft.com/office/drawing/2014/main" id="{F53B438E-7018-D975-A5FA-271F3D4D8533}"/>
              </a:ext>
            </a:extLst>
          </p:cNvPr>
          <p:cNvSpPr txBox="1"/>
          <p:nvPr/>
        </p:nvSpPr>
        <p:spPr>
          <a:xfrm>
            <a:off x="3645371" y="5711809"/>
            <a:ext cx="170205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1501427">
              <a:defRPr/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54" name="Shape6_20220425_170157">
            <a:extLst>
              <a:ext uri="{FF2B5EF4-FFF2-40B4-BE49-F238E27FC236}">
                <a16:creationId xmlns:a16="http://schemas.microsoft.com/office/drawing/2014/main" id="{DE6A0C8B-4ED2-594B-CAB1-7384087B7DDB}"/>
              </a:ext>
            </a:extLst>
          </p:cNvPr>
          <p:cNvSpPr/>
          <p:nvPr/>
        </p:nvSpPr>
        <p:spPr>
          <a:xfrm>
            <a:off x="3391303" y="5751128"/>
            <a:ext cx="195863" cy="1983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56" name="Shape26_20220106_182657">
            <a:extLst>
              <a:ext uri="{FF2B5EF4-FFF2-40B4-BE49-F238E27FC236}">
                <a16:creationId xmlns:a16="http://schemas.microsoft.com/office/drawing/2014/main" id="{962CA6F9-48D5-B161-3CB4-5FECEB9377FE}"/>
              </a:ext>
            </a:extLst>
          </p:cNvPr>
          <p:cNvSpPr txBox="1"/>
          <p:nvPr/>
        </p:nvSpPr>
        <p:spPr>
          <a:xfrm>
            <a:off x="6042681" y="5711809"/>
            <a:ext cx="170205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1501427">
              <a:defRPr/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57" name="Shape0_20220425_170201">
            <a:extLst>
              <a:ext uri="{FF2B5EF4-FFF2-40B4-BE49-F238E27FC236}">
                <a16:creationId xmlns:a16="http://schemas.microsoft.com/office/drawing/2014/main" id="{CF18086A-8F79-CCB6-B981-CEEE3749A344}"/>
              </a:ext>
            </a:extLst>
          </p:cNvPr>
          <p:cNvSpPr/>
          <p:nvPr/>
        </p:nvSpPr>
        <p:spPr>
          <a:xfrm>
            <a:off x="5788615" y="5751128"/>
            <a:ext cx="195863" cy="1983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58" name="Shape27_20220106_182657">
            <a:extLst>
              <a:ext uri="{FF2B5EF4-FFF2-40B4-BE49-F238E27FC236}">
                <a16:creationId xmlns:a16="http://schemas.microsoft.com/office/drawing/2014/main" id="{7B72F30D-518C-F62A-7A2F-9B9734AC1A3E}"/>
              </a:ext>
            </a:extLst>
          </p:cNvPr>
          <p:cNvSpPr txBox="1"/>
          <p:nvPr/>
        </p:nvSpPr>
        <p:spPr>
          <a:xfrm>
            <a:off x="1742312" y="3410383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59" name="Shape28_20220106_182657">
            <a:extLst>
              <a:ext uri="{FF2B5EF4-FFF2-40B4-BE49-F238E27FC236}">
                <a16:creationId xmlns:a16="http://schemas.microsoft.com/office/drawing/2014/main" id="{E0B1A95A-5338-113C-91D2-E2D93BEBDAAF}"/>
              </a:ext>
            </a:extLst>
          </p:cNvPr>
          <p:cNvSpPr txBox="1"/>
          <p:nvPr/>
        </p:nvSpPr>
        <p:spPr>
          <a:xfrm>
            <a:off x="3567909" y="2412771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0" name="Shape29_20220106_182657">
            <a:extLst>
              <a:ext uri="{FF2B5EF4-FFF2-40B4-BE49-F238E27FC236}">
                <a16:creationId xmlns:a16="http://schemas.microsoft.com/office/drawing/2014/main" id="{340F5A32-A5E6-4545-6CAD-AB39C8FB633B}"/>
              </a:ext>
            </a:extLst>
          </p:cNvPr>
          <p:cNvSpPr txBox="1"/>
          <p:nvPr/>
        </p:nvSpPr>
        <p:spPr>
          <a:xfrm>
            <a:off x="7159884" y="3233077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1" name="Shape30_20220106_182657">
            <a:extLst>
              <a:ext uri="{FF2B5EF4-FFF2-40B4-BE49-F238E27FC236}">
                <a16:creationId xmlns:a16="http://schemas.microsoft.com/office/drawing/2014/main" id="{BCC42C66-0176-C3D3-3B74-2F2F79263377}"/>
              </a:ext>
            </a:extLst>
          </p:cNvPr>
          <p:cNvSpPr txBox="1"/>
          <p:nvPr/>
        </p:nvSpPr>
        <p:spPr>
          <a:xfrm>
            <a:off x="8851414" y="2022517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2" name="Shape31_20220106_182657">
            <a:extLst>
              <a:ext uri="{FF2B5EF4-FFF2-40B4-BE49-F238E27FC236}">
                <a16:creationId xmlns:a16="http://schemas.microsoft.com/office/drawing/2014/main" id="{E288EC04-26AC-73C9-1B40-84A174ACAB7E}"/>
              </a:ext>
            </a:extLst>
          </p:cNvPr>
          <p:cNvSpPr txBox="1"/>
          <p:nvPr/>
        </p:nvSpPr>
        <p:spPr>
          <a:xfrm>
            <a:off x="6369203" y="1333327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3" name="Shape0_20210707_143722">
            <a:extLst>
              <a:ext uri="{FF2B5EF4-FFF2-40B4-BE49-F238E27FC236}">
                <a16:creationId xmlns:a16="http://schemas.microsoft.com/office/drawing/2014/main" id="{40C19E35-75D9-E4F9-FCBA-FDF9940EF91C}"/>
              </a:ext>
            </a:extLst>
          </p:cNvPr>
          <p:cNvSpPr/>
          <p:nvPr/>
        </p:nvSpPr>
        <p:spPr>
          <a:xfrm rot="16200000">
            <a:off x="1684231" y="3545888"/>
            <a:ext cx="125904" cy="136368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4" name="Shape0_20210707_143728">
            <a:extLst>
              <a:ext uri="{FF2B5EF4-FFF2-40B4-BE49-F238E27FC236}">
                <a16:creationId xmlns:a16="http://schemas.microsoft.com/office/drawing/2014/main" id="{6A357832-61B9-E0E3-66EF-93849A864777}"/>
              </a:ext>
            </a:extLst>
          </p:cNvPr>
          <p:cNvSpPr/>
          <p:nvPr/>
        </p:nvSpPr>
        <p:spPr>
          <a:xfrm rot="5400000" flipH="1">
            <a:off x="3104475" y="3479587"/>
            <a:ext cx="125904" cy="149628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5" name="Shape1_20210707_143736">
            <a:extLst>
              <a:ext uri="{FF2B5EF4-FFF2-40B4-BE49-F238E27FC236}">
                <a16:creationId xmlns:a16="http://schemas.microsoft.com/office/drawing/2014/main" id="{980E3C35-0BF9-77E0-CD51-DA80D5E22524}"/>
              </a:ext>
            </a:extLst>
          </p:cNvPr>
          <p:cNvSpPr/>
          <p:nvPr/>
        </p:nvSpPr>
        <p:spPr>
          <a:xfrm>
            <a:off x="2346417" y="4146056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rgbClr val="195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6" name="Shape1_20210707_143722">
            <a:extLst>
              <a:ext uri="{FF2B5EF4-FFF2-40B4-BE49-F238E27FC236}">
                <a16:creationId xmlns:a16="http://schemas.microsoft.com/office/drawing/2014/main" id="{BD12C624-A890-D67C-F33A-E0AE6DBC4D02}"/>
              </a:ext>
            </a:extLst>
          </p:cNvPr>
          <p:cNvSpPr/>
          <p:nvPr/>
        </p:nvSpPr>
        <p:spPr>
          <a:xfrm rot="16200000">
            <a:off x="3719288" y="2268557"/>
            <a:ext cx="125904" cy="178919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7" name="Shape1_20210707_143728">
            <a:extLst>
              <a:ext uri="{FF2B5EF4-FFF2-40B4-BE49-F238E27FC236}">
                <a16:creationId xmlns:a16="http://schemas.microsoft.com/office/drawing/2014/main" id="{D50A7E30-D68F-A79C-B9FE-303D5D3A9EB6}"/>
              </a:ext>
            </a:extLst>
          </p:cNvPr>
          <p:cNvSpPr/>
          <p:nvPr/>
        </p:nvSpPr>
        <p:spPr>
          <a:xfrm rot="5400000" flipH="1">
            <a:off x="5149839" y="2627198"/>
            <a:ext cx="125904" cy="107191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8" name="Shape2_20210707_143736">
            <a:extLst>
              <a:ext uri="{FF2B5EF4-FFF2-40B4-BE49-F238E27FC236}">
                <a16:creationId xmlns:a16="http://schemas.microsoft.com/office/drawing/2014/main" id="{F06B9F2E-F7E6-434F-6C42-E898DBE22029}"/>
              </a:ext>
            </a:extLst>
          </p:cNvPr>
          <p:cNvSpPr/>
          <p:nvPr/>
        </p:nvSpPr>
        <p:spPr>
          <a:xfrm>
            <a:off x="4603970" y="3081482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rgbClr val="195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9" name="Shape2_20210707_143722">
            <a:extLst>
              <a:ext uri="{FF2B5EF4-FFF2-40B4-BE49-F238E27FC236}">
                <a16:creationId xmlns:a16="http://schemas.microsoft.com/office/drawing/2014/main" id="{E8437F99-1B5C-9315-158A-4E0B77309B01}"/>
              </a:ext>
            </a:extLst>
          </p:cNvPr>
          <p:cNvSpPr/>
          <p:nvPr/>
        </p:nvSpPr>
        <p:spPr>
          <a:xfrm rot="16200000">
            <a:off x="6567205" y="961977"/>
            <a:ext cx="125904" cy="212107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0" name="Shape2_20210707_143728">
            <a:extLst>
              <a:ext uri="{FF2B5EF4-FFF2-40B4-BE49-F238E27FC236}">
                <a16:creationId xmlns:a16="http://schemas.microsoft.com/office/drawing/2014/main" id="{A016648B-327B-F4E2-7C7A-16BC22AC91FF}"/>
              </a:ext>
            </a:extLst>
          </p:cNvPr>
          <p:cNvSpPr/>
          <p:nvPr/>
        </p:nvSpPr>
        <p:spPr>
          <a:xfrm rot="5400000" flipH="1">
            <a:off x="7997810" y="1663434"/>
            <a:ext cx="125904" cy="71816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1" name="Shape3_20210707_143736">
            <a:extLst>
              <a:ext uri="{FF2B5EF4-FFF2-40B4-BE49-F238E27FC236}">
                <a16:creationId xmlns:a16="http://schemas.microsoft.com/office/drawing/2014/main" id="{74455FED-5578-FCC4-21BF-B32BE0234BDE}"/>
              </a:ext>
            </a:extLst>
          </p:cNvPr>
          <p:cNvSpPr/>
          <p:nvPr/>
        </p:nvSpPr>
        <p:spPr>
          <a:xfrm>
            <a:off x="7617826" y="1940843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rgbClr val="195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2" name="Shape3_20210707_143722">
            <a:extLst>
              <a:ext uri="{FF2B5EF4-FFF2-40B4-BE49-F238E27FC236}">
                <a16:creationId xmlns:a16="http://schemas.microsoft.com/office/drawing/2014/main" id="{5F0413B4-3B78-7D7B-B90C-D7CACF9B677E}"/>
              </a:ext>
            </a:extLst>
          </p:cNvPr>
          <p:cNvSpPr/>
          <p:nvPr/>
        </p:nvSpPr>
        <p:spPr>
          <a:xfrm rot="16200000">
            <a:off x="9352578" y="1467804"/>
            <a:ext cx="125904" cy="250746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3" name="Shape3_20210707_143728">
            <a:extLst>
              <a:ext uri="{FF2B5EF4-FFF2-40B4-BE49-F238E27FC236}">
                <a16:creationId xmlns:a16="http://schemas.microsoft.com/office/drawing/2014/main" id="{318AE8C4-BAF7-8D93-EB0A-83C6E522ECA3}"/>
              </a:ext>
            </a:extLst>
          </p:cNvPr>
          <p:cNvSpPr/>
          <p:nvPr/>
        </p:nvSpPr>
        <p:spPr>
          <a:xfrm rot="5400000" flipH="1">
            <a:off x="10785852" y="2541993"/>
            <a:ext cx="125904" cy="35908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4" name="Shape4_20210707_143736">
            <a:extLst>
              <a:ext uri="{FF2B5EF4-FFF2-40B4-BE49-F238E27FC236}">
                <a16:creationId xmlns:a16="http://schemas.microsoft.com/office/drawing/2014/main" id="{7C6E6341-C92B-F13F-3FF1-93899C2C4E8A}"/>
              </a:ext>
            </a:extLst>
          </p:cNvPr>
          <p:cNvSpPr/>
          <p:nvPr/>
        </p:nvSpPr>
        <p:spPr>
          <a:xfrm>
            <a:off x="10585414" y="2639864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rgbClr val="195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5" name="Shape4_20210707_143722">
            <a:extLst>
              <a:ext uri="{FF2B5EF4-FFF2-40B4-BE49-F238E27FC236}">
                <a16:creationId xmlns:a16="http://schemas.microsoft.com/office/drawing/2014/main" id="{5BA280C9-F164-AD17-14A0-4B34FDAC608E}"/>
              </a:ext>
            </a:extLst>
          </p:cNvPr>
          <p:cNvSpPr/>
          <p:nvPr/>
        </p:nvSpPr>
        <p:spPr>
          <a:xfrm rot="16200000">
            <a:off x="6852659" y="3598249"/>
            <a:ext cx="125904" cy="72904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6" name="Shape4_20210707_143728">
            <a:extLst>
              <a:ext uri="{FF2B5EF4-FFF2-40B4-BE49-F238E27FC236}">
                <a16:creationId xmlns:a16="http://schemas.microsoft.com/office/drawing/2014/main" id="{94EAD0CD-5013-E09E-8F92-763891A8E9B7}"/>
              </a:ext>
            </a:extLst>
          </p:cNvPr>
          <p:cNvSpPr/>
          <p:nvPr/>
        </p:nvSpPr>
        <p:spPr>
          <a:xfrm rot="5400000" flipH="1">
            <a:off x="8272535" y="2882263"/>
            <a:ext cx="125904" cy="216103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7" name="Shape0_20210707_143736">
            <a:extLst>
              <a:ext uri="{FF2B5EF4-FFF2-40B4-BE49-F238E27FC236}">
                <a16:creationId xmlns:a16="http://schemas.microsoft.com/office/drawing/2014/main" id="{007DBDDA-BEBD-AF0C-1080-E957D8481AE3}"/>
              </a:ext>
            </a:extLst>
          </p:cNvPr>
          <p:cNvSpPr/>
          <p:nvPr/>
        </p:nvSpPr>
        <p:spPr>
          <a:xfrm>
            <a:off x="7171118" y="3881101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rgbClr val="195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8" name="Shape32_20220106_182657">
            <a:extLst>
              <a:ext uri="{FF2B5EF4-FFF2-40B4-BE49-F238E27FC236}">
                <a16:creationId xmlns:a16="http://schemas.microsoft.com/office/drawing/2014/main" id="{41BB7E76-01CF-B6A7-620B-F358E0CE16D6}"/>
              </a:ext>
            </a:extLst>
          </p:cNvPr>
          <p:cNvSpPr txBox="1"/>
          <p:nvPr/>
        </p:nvSpPr>
        <p:spPr>
          <a:xfrm>
            <a:off x="1665736" y="3680710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79" name="Shape0_20220106_182657">
            <a:extLst>
              <a:ext uri="{FF2B5EF4-FFF2-40B4-BE49-F238E27FC236}">
                <a16:creationId xmlns:a16="http://schemas.microsoft.com/office/drawing/2014/main" id="{ECE841DA-7C74-5F4F-B51A-A6247232BF21}"/>
              </a:ext>
            </a:extLst>
          </p:cNvPr>
          <p:cNvSpPr txBox="1"/>
          <p:nvPr/>
        </p:nvSpPr>
        <p:spPr>
          <a:xfrm>
            <a:off x="3491334" y="2683098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0" name="Shape33_20220106_182657">
            <a:extLst>
              <a:ext uri="{FF2B5EF4-FFF2-40B4-BE49-F238E27FC236}">
                <a16:creationId xmlns:a16="http://schemas.microsoft.com/office/drawing/2014/main" id="{62BA9218-DD60-A859-A34E-093F54C0DA37}"/>
              </a:ext>
            </a:extLst>
          </p:cNvPr>
          <p:cNvSpPr txBox="1"/>
          <p:nvPr/>
        </p:nvSpPr>
        <p:spPr>
          <a:xfrm>
            <a:off x="7083312" y="3503405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1" name="Shape34_20220106_182657">
            <a:extLst>
              <a:ext uri="{FF2B5EF4-FFF2-40B4-BE49-F238E27FC236}">
                <a16:creationId xmlns:a16="http://schemas.microsoft.com/office/drawing/2014/main" id="{EB890AB1-8E77-FF41-9E0D-7A6DD84CC11B}"/>
              </a:ext>
            </a:extLst>
          </p:cNvPr>
          <p:cNvSpPr txBox="1"/>
          <p:nvPr/>
        </p:nvSpPr>
        <p:spPr>
          <a:xfrm>
            <a:off x="8774835" y="2292843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2" name="Shape35_20220106_182657">
            <a:extLst>
              <a:ext uri="{FF2B5EF4-FFF2-40B4-BE49-F238E27FC236}">
                <a16:creationId xmlns:a16="http://schemas.microsoft.com/office/drawing/2014/main" id="{CB4E8701-AC3C-582F-6114-D13AA8CA5327}"/>
              </a:ext>
            </a:extLst>
          </p:cNvPr>
          <p:cNvSpPr txBox="1"/>
          <p:nvPr/>
        </p:nvSpPr>
        <p:spPr>
          <a:xfrm>
            <a:off x="6292627" y="1603652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28205804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A0778C-9D8C-37EA-C250-410579B4F1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BB6B49C-7C50-0B90-F35D-8644494B8E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7696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CD6EF3-6A63-092A-2372-4754722E3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BD63437F-1F9D-65A9-36F8-2628F5725C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9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64724B-9316-C173-D498-16D6B27C0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unnel</a:t>
            </a:r>
          </a:p>
        </p:txBody>
      </p:sp>
    </p:spTree>
    <p:extLst>
      <p:ext uri="{BB962C8B-B14F-4D97-AF65-F5344CB8AC3E}">
        <p14:creationId xmlns:p14="http://schemas.microsoft.com/office/powerpoint/2010/main" val="34627209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E25F3-8A6D-C8C6-C789-8E6BC21D8D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8AA0EE0-A621-D091-E512-CA76203AAE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AA0EE0-A621-D091-E512-CA76203AAE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7B8F4E-944E-BA67-8D36-03C58431E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FA91330-D289-8A3E-ACFC-A76597C1471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Google Shape;1178;g6b2a921a3a_2_763">
            <a:extLst>
              <a:ext uri="{FF2B5EF4-FFF2-40B4-BE49-F238E27FC236}">
                <a16:creationId xmlns:a16="http://schemas.microsoft.com/office/drawing/2014/main" id="{42E5ED4E-C84D-8299-89B7-2FDB7D319672}"/>
              </a:ext>
            </a:extLst>
          </p:cNvPr>
          <p:cNvSpPr txBox="1"/>
          <p:nvPr/>
        </p:nvSpPr>
        <p:spPr>
          <a:xfrm>
            <a:off x="549930" y="1067490"/>
            <a:ext cx="25632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9" name="Google Shape;1185;g6b2a921a3a_2_763">
            <a:extLst>
              <a:ext uri="{FF2B5EF4-FFF2-40B4-BE49-F238E27FC236}">
                <a16:creationId xmlns:a16="http://schemas.microsoft.com/office/drawing/2014/main" id="{B2E5DC2C-ACA3-8B3D-3A84-0B3D00218E29}"/>
              </a:ext>
            </a:extLst>
          </p:cNvPr>
          <p:cNvSpPr txBox="1"/>
          <p:nvPr/>
        </p:nvSpPr>
        <p:spPr>
          <a:xfrm>
            <a:off x="5372134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0" name="Google Shape;1188;g6b2a921a3a_2_763">
            <a:extLst>
              <a:ext uri="{FF2B5EF4-FFF2-40B4-BE49-F238E27FC236}">
                <a16:creationId xmlns:a16="http://schemas.microsoft.com/office/drawing/2014/main" id="{7359F6B3-C665-3F9D-643D-26525B8DB7E9}"/>
              </a:ext>
            </a:extLst>
          </p:cNvPr>
          <p:cNvSpPr txBox="1"/>
          <p:nvPr/>
        </p:nvSpPr>
        <p:spPr>
          <a:xfrm>
            <a:off x="7513622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1" name="Google Shape;1191;g6b2a921a3a_2_763">
            <a:extLst>
              <a:ext uri="{FF2B5EF4-FFF2-40B4-BE49-F238E27FC236}">
                <a16:creationId xmlns:a16="http://schemas.microsoft.com/office/drawing/2014/main" id="{E3C39783-C73C-CCEF-EA1A-1D48233B348D}"/>
              </a:ext>
            </a:extLst>
          </p:cNvPr>
          <p:cNvSpPr txBox="1"/>
          <p:nvPr/>
        </p:nvSpPr>
        <p:spPr>
          <a:xfrm>
            <a:off x="9655113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2" name="Google Shape;1199;g6b2a921a3a_2_763">
            <a:extLst>
              <a:ext uri="{FF2B5EF4-FFF2-40B4-BE49-F238E27FC236}">
                <a16:creationId xmlns:a16="http://schemas.microsoft.com/office/drawing/2014/main" id="{51E17F0D-00DA-E7B8-3897-9260E730E9E8}"/>
              </a:ext>
            </a:extLst>
          </p:cNvPr>
          <p:cNvSpPr txBox="1"/>
          <p:nvPr/>
        </p:nvSpPr>
        <p:spPr>
          <a:xfrm>
            <a:off x="3230645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3" name="Shape1_20210513_112140">
            <a:extLst>
              <a:ext uri="{FF2B5EF4-FFF2-40B4-BE49-F238E27FC236}">
                <a16:creationId xmlns:a16="http://schemas.microsoft.com/office/drawing/2014/main" id="{6C9BFEF8-E457-64DF-080F-128D8FBFC607}"/>
              </a:ext>
            </a:extLst>
          </p:cNvPr>
          <p:cNvCxnSpPr/>
          <p:nvPr/>
        </p:nvCxnSpPr>
        <p:spPr>
          <a:xfrm>
            <a:off x="3230643" y="37375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" name="Google Shape;1179;g6b2a921a3a_2_763">
            <a:extLst>
              <a:ext uri="{FF2B5EF4-FFF2-40B4-BE49-F238E27FC236}">
                <a16:creationId xmlns:a16="http://schemas.microsoft.com/office/drawing/2014/main" id="{78B01F26-1149-3435-838B-D63B3C46DDEF}"/>
              </a:ext>
            </a:extLst>
          </p:cNvPr>
          <p:cNvSpPr txBox="1"/>
          <p:nvPr/>
        </p:nvSpPr>
        <p:spPr>
          <a:xfrm>
            <a:off x="549928" y="1687754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88969F8-5C5D-622E-4E90-F62C3019445C}"/>
              </a:ext>
            </a:extLst>
          </p:cNvPr>
          <p:cNvSpPr txBox="1">
            <a:spLocks/>
          </p:cNvSpPr>
          <p:nvPr/>
        </p:nvSpPr>
        <p:spPr bwMode="auto">
          <a:xfrm>
            <a:off x="3230644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6" name="Content Placeholder 2~1">
            <a:extLst>
              <a:ext uri="{FF2B5EF4-FFF2-40B4-BE49-F238E27FC236}">
                <a16:creationId xmlns:a16="http://schemas.microsoft.com/office/drawing/2014/main" id="{4493EF8F-5ED7-0C88-3994-31A3A439F22D}"/>
              </a:ext>
            </a:extLst>
          </p:cNvPr>
          <p:cNvSpPr txBox="1">
            <a:spLocks/>
          </p:cNvSpPr>
          <p:nvPr/>
        </p:nvSpPr>
        <p:spPr bwMode="auto">
          <a:xfrm>
            <a:off x="5372134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7" name="Content Placeholder 2~2">
            <a:extLst>
              <a:ext uri="{FF2B5EF4-FFF2-40B4-BE49-F238E27FC236}">
                <a16:creationId xmlns:a16="http://schemas.microsoft.com/office/drawing/2014/main" id="{C5DF55E2-DCB7-CED9-24D3-8BD37CC8CFBE}"/>
              </a:ext>
            </a:extLst>
          </p:cNvPr>
          <p:cNvSpPr txBox="1">
            <a:spLocks/>
          </p:cNvSpPr>
          <p:nvPr/>
        </p:nvSpPr>
        <p:spPr bwMode="auto">
          <a:xfrm>
            <a:off x="7511135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8" name="Content Placeholder 2~3">
            <a:extLst>
              <a:ext uri="{FF2B5EF4-FFF2-40B4-BE49-F238E27FC236}">
                <a16:creationId xmlns:a16="http://schemas.microsoft.com/office/drawing/2014/main" id="{62238AC2-4038-EB0B-F91F-AC1344186CD7}"/>
              </a:ext>
            </a:extLst>
          </p:cNvPr>
          <p:cNvSpPr txBox="1">
            <a:spLocks/>
          </p:cNvSpPr>
          <p:nvPr/>
        </p:nvSpPr>
        <p:spPr bwMode="auto">
          <a:xfrm>
            <a:off x="9650137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9" name="Google Shape;1180;g6b2a921a3a_2_763">
            <a:extLst>
              <a:ext uri="{FF2B5EF4-FFF2-40B4-BE49-F238E27FC236}">
                <a16:creationId xmlns:a16="http://schemas.microsoft.com/office/drawing/2014/main" id="{5EB44D6C-8F43-D9B6-7094-CABEDAE7DF83}"/>
              </a:ext>
            </a:extLst>
          </p:cNvPr>
          <p:cNvSpPr txBox="1"/>
          <p:nvPr/>
        </p:nvSpPr>
        <p:spPr>
          <a:xfrm>
            <a:off x="549928" y="3910852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40" name="Content Placeholder 2~4">
            <a:extLst>
              <a:ext uri="{FF2B5EF4-FFF2-40B4-BE49-F238E27FC236}">
                <a16:creationId xmlns:a16="http://schemas.microsoft.com/office/drawing/2014/main" id="{027F92A9-91DF-EBB4-0E24-8CE746B5D573}"/>
              </a:ext>
            </a:extLst>
          </p:cNvPr>
          <p:cNvSpPr txBox="1">
            <a:spLocks/>
          </p:cNvSpPr>
          <p:nvPr/>
        </p:nvSpPr>
        <p:spPr bwMode="auto">
          <a:xfrm>
            <a:off x="3230644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1" name="Content Placeholder 2~5">
            <a:extLst>
              <a:ext uri="{FF2B5EF4-FFF2-40B4-BE49-F238E27FC236}">
                <a16:creationId xmlns:a16="http://schemas.microsoft.com/office/drawing/2014/main" id="{AAEEB882-FC52-C3FF-F9C1-FF6E55139FF5}"/>
              </a:ext>
            </a:extLst>
          </p:cNvPr>
          <p:cNvSpPr txBox="1">
            <a:spLocks/>
          </p:cNvSpPr>
          <p:nvPr/>
        </p:nvSpPr>
        <p:spPr bwMode="auto">
          <a:xfrm>
            <a:off x="5372134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2" name="Content Placeholder 2~6">
            <a:extLst>
              <a:ext uri="{FF2B5EF4-FFF2-40B4-BE49-F238E27FC236}">
                <a16:creationId xmlns:a16="http://schemas.microsoft.com/office/drawing/2014/main" id="{A5CFB505-2FE9-828E-7A20-0574F2B00807}"/>
              </a:ext>
            </a:extLst>
          </p:cNvPr>
          <p:cNvSpPr txBox="1">
            <a:spLocks/>
          </p:cNvSpPr>
          <p:nvPr/>
        </p:nvSpPr>
        <p:spPr bwMode="auto">
          <a:xfrm>
            <a:off x="7511135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3" name="Content Placeholder 2~7">
            <a:extLst>
              <a:ext uri="{FF2B5EF4-FFF2-40B4-BE49-F238E27FC236}">
                <a16:creationId xmlns:a16="http://schemas.microsoft.com/office/drawing/2014/main" id="{62FD3AC8-29E5-EC69-431D-72FC39636120}"/>
              </a:ext>
            </a:extLst>
          </p:cNvPr>
          <p:cNvSpPr txBox="1">
            <a:spLocks/>
          </p:cNvSpPr>
          <p:nvPr/>
        </p:nvSpPr>
        <p:spPr bwMode="auto">
          <a:xfrm>
            <a:off x="9650137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cxnSp>
        <p:nvCxnSpPr>
          <p:cNvPr id="44" name="Google Shape;1186;g6b2a921a3a_2_763">
            <a:extLst>
              <a:ext uri="{FF2B5EF4-FFF2-40B4-BE49-F238E27FC236}">
                <a16:creationId xmlns:a16="http://schemas.microsoft.com/office/drawing/2014/main" id="{A880D2FE-8847-4B04-4920-77367E541BC7}"/>
              </a:ext>
            </a:extLst>
          </p:cNvPr>
          <p:cNvCxnSpPr/>
          <p:nvPr/>
        </p:nvCxnSpPr>
        <p:spPr>
          <a:xfrm>
            <a:off x="537213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5" name="Google Shape;1189;g6b2a921a3a_2_763">
            <a:extLst>
              <a:ext uri="{FF2B5EF4-FFF2-40B4-BE49-F238E27FC236}">
                <a16:creationId xmlns:a16="http://schemas.microsoft.com/office/drawing/2014/main" id="{129D05D0-741B-E08B-94C6-C3EA0B798401}"/>
              </a:ext>
            </a:extLst>
          </p:cNvPr>
          <p:cNvCxnSpPr/>
          <p:nvPr/>
        </p:nvCxnSpPr>
        <p:spPr>
          <a:xfrm>
            <a:off x="751362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6" name="Google Shape;1192;g6b2a921a3a_2_763">
            <a:extLst>
              <a:ext uri="{FF2B5EF4-FFF2-40B4-BE49-F238E27FC236}">
                <a16:creationId xmlns:a16="http://schemas.microsoft.com/office/drawing/2014/main" id="{628FBDB5-A54C-431B-7191-85B7A3339E39}"/>
              </a:ext>
            </a:extLst>
          </p:cNvPr>
          <p:cNvCxnSpPr/>
          <p:nvPr/>
        </p:nvCxnSpPr>
        <p:spPr>
          <a:xfrm>
            <a:off x="965511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7" name="Google Shape;1200;g6b2a921a3a_2_763">
            <a:extLst>
              <a:ext uri="{FF2B5EF4-FFF2-40B4-BE49-F238E27FC236}">
                <a16:creationId xmlns:a16="http://schemas.microsoft.com/office/drawing/2014/main" id="{240C3ED1-C651-F845-F81C-20AE2FBFAE46}"/>
              </a:ext>
            </a:extLst>
          </p:cNvPr>
          <p:cNvCxnSpPr/>
          <p:nvPr/>
        </p:nvCxnSpPr>
        <p:spPr>
          <a:xfrm>
            <a:off x="323064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148400476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0CC06B-2A88-A0C3-3883-3FE695D097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42F1844-8612-EA1F-CFE0-91435CF74B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542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C82AE2-F666-FBF7-25C9-EB94649C9D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13C946-6D0D-3665-780D-EE16ED1D0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1721F3E-B771-3C55-E2DD-02CBF2C7E8B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0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9B1A4B1-9D10-FDED-659C-879E5C90E381}"/>
              </a:ext>
            </a:extLst>
          </p:cNvPr>
          <p:cNvGrpSpPr/>
          <p:nvPr/>
        </p:nvGrpSpPr>
        <p:grpSpPr>
          <a:xfrm>
            <a:off x="1755234" y="3757665"/>
            <a:ext cx="2079391" cy="1065353"/>
            <a:chOff x="1262064" y="3333195"/>
            <a:chExt cx="1350963" cy="692151"/>
          </a:xfrm>
          <a:solidFill>
            <a:schemeClr val="accent2"/>
          </a:solidFill>
        </p:grpSpPr>
        <p:sp>
          <p:nvSpPr>
            <p:cNvPr id="120" name="Freeform 5">
              <a:extLst>
                <a:ext uri="{FF2B5EF4-FFF2-40B4-BE49-F238E27FC236}">
                  <a16:creationId xmlns:a16="http://schemas.microsoft.com/office/drawing/2014/main" id="{133988B8-7F36-A2AD-EEA2-04CF545A8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064" y="3333195"/>
              <a:ext cx="1350963" cy="144463"/>
            </a:xfrm>
            <a:custGeom>
              <a:avLst/>
              <a:gdLst/>
              <a:ahLst/>
              <a:cxnLst>
                <a:cxn ang="0">
                  <a:pos x="529" y="28"/>
                </a:cxn>
                <a:cxn ang="0">
                  <a:pos x="527" y="30"/>
                </a:cxn>
                <a:cxn ang="0">
                  <a:pos x="451" y="47"/>
                </a:cxn>
                <a:cxn ang="0">
                  <a:pos x="265" y="56"/>
                </a:cxn>
                <a:cxn ang="0">
                  <a:pos x="78" y="47"/>
                </a:cxn>
                <a:cxn ang="0">
                  <a:pos x="2" y="30"/>
                </a:cxn>
                <a:cxn ang="0">
                  <a:pos x="0" y="28"/>
                </a:cxn>
                <a:cxn ang="0">
                  <a:pos x="78" y="8"/>
                </a:cxn>
                <a:cxn ang="0">
                  <a:pos x="265" y="0"/>
                </a:cxn>
                <a:cxn ang="0">
                  <a:pos x="451" y="8"/>
                </a:cxn>
                <a:cxn ang="0">
                  <a:pos x="529" y="28"/>
                </a:cxn>
              </a:cxnLst>
              <a:rect l="0" t="0" r="r" b="b"/>
              <a:pathLst>
                <a:path w="529" h="56">
                  <a:moveTo>
                    <a:pt x="529" y="28"/>
                  </a:moveTo>
                  <a:cubicBezTo>
                    <a:pt x="529" y="29"/>
                    <a:pt x="528" y="30"/>
                    <a:pt x="527" y="30"/>
                  </a:cubicBezTo>
                  <a:cubicBezTo>
                    <a:pt x="522" y="37"/>
                    <a:pt x="496" y="43"/>
                    <a:pt x="451" y="47"/>
                  </a:cubicBezTo>
                  <a:cubicBezTo>
                    <a:pt x="400" y="53"/>
                    <a:pt x="338" y="56"/>
                    <a:pt x="265" y="56"/>
                  </a:cubicBezTo>
                  <a:cubicBezTo>
                    <a:pt x="192" y="56"/>
                    <a:pt x="129" y="53"/>
                    <a:pt x="78" y="47"/>
                  </a:cubicBezTo>
                  <a:cubicBezTo>
                    <a:pt x="33" y="43"/>
                    <a:pt x="7" y="37"/>
                    <a:pt x="2" y="30"/>
                  </a:cubicBezTo>
                  <a:cubicBezTo>
                    <a:pt x="1" y="30"/>
                    <a:pt x="0" y="29"/>
                    <a:pt x="0" y="28"/>
                  </a:cubicBezTo>
                  <a:cubicBezTo>
                    <a:pt x="0" y="20"/>
                    <a:pt x="26" y="13"/>
                    <a:pt x="78" y="8"/>
                  </a:cubicBezTo>
                  <a:cubicBezTo>
                    <a:pt x="129" y="3"/>
                    <a:pt x="192" y="0"/>
                    <a:pt x="265" y="0"/>
                  </a:cubicBezTo>
                  <a:cubicBezTo>
                    <a:pt x="338" y="0"/>
                    <a:pt x="400" y="3"/>
                    <a:pt x="451" y="8"/>
                  </a:cubicBezTo>
                  <a:cubicBezTo>
                    <a:pt x="503" y="13"/>
                    <a:pt x="529" y="20"/>
                    <a:pt x="529" y="28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1" name="Freeform 6">
              <a:extLst>
                <a:ext uri="{FF2B5EF4-FFF2-40B4-BE49-F238E27FC236}">
                  <a16:creationId xmlns:a16="http://schemas.microsoft.com/office/drawing/2014/main" id="{C6E054ED-BA19-8E07-E267-9322FE199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651" y="3410983"/>
              <a:ext cx="1347788" cy="614363"/>
            </a:xfrm>
            <a:custGeom>
              <a:avLst/>
              <a:gdLst/>
              <a:ahLst/>
              <a:cxnLst>
                <a:cxn ang="0">
                  <a:pos x="450" y="17"/>
                </a:cxn>
                <a:cxn ang="0">
                  <a:pos x="526" y="0"/>
                </a:cxn>
                <a:cxn ang="0">
                  <a:pos x="528" y="1"/>
                </a:cxn>
                <a:cxn ang="0">
                  <a:pos x="412" y="223"/>
                </a:cxn>
                <a:cxn ang="0">
                  <a:pos x="411" y="223"/>
                </a:cxn>
                <a:cxn ang="0">
                  <a:pos x="411" y="224"/>
                </a:cxn>
                <a:cxn ang="0">
                  <a:pos x="411" y="225"/>
                </a:cxn>
                <a:cxn ang="0">
                  <a:pos x="410" y="226"/>
                </a:cxn>
                <a:cxn ang="0">
                  <a:pos x="407" y="228"/>
                </a:cxn>
                <a:cxn ang="0">
                  <a:pos x="368" y="236"/>
                </a:cxn>
                <a:cxn ang="0">
                  <a:pos x="264" y="241"/>
                </a:cxn>
                <a:cxn ang="0">
                  <a:pos x="159" y="236"/>
                </a:cxn>
                <a:cxn ang="0">
                  <a:pos x="118" y="227"/>
                </a:cxn>
                <a:cxn ang="0">
                  <a:pos x="116" y="224"/>
                </a:cxn>
                <a:cxn ang="0">
                  <a:pos x="116" y="223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77" y="17"/>
                </a:cxn>
                <a:cxn ang="0">
                  <a:pos x="264" y="26"/>
                </a:cxn>
                <a:cxn ang="0">
                  <a:pos x="450" y="17"/>
                </a:cxn>
              </a:cxnLst>
              <a:rect l="0" t="0" r="r" b="b"/>
              <a:pathLst>
                <a:path w="528" h="241">
                  <a:moveTo>
                    <a:pt x="450" y="17"/>
                  </a:moveTo>
                  <a:cubicBezTo>
                    <a:pt x="495" y="13"/>
                    <a:pt x="521" y="7"/>
                    <a:pt x="526" y="0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412" y="223"/>
                    <a:pt x="412" y="223"/>
                    <a:pt x="412" y="223"/>
                  </a:cubicBezTo>
                  <a:cubicBezTo>
                    <a:pt x="411" y="223"/>
                    <a:pt x="411" y="223"/>
                    <a:pt x="411" y="223"/>
                  </a:cubicBezTo>
                  <a:cubicBezTo>
                    <a:pt x="411" y="224"/>
                    <a:pt x="411" y="224"/>
                    <a:pt x="411" y="224"/>
                  </a:cubicBezTo>
                  <a:cubicBezTo>
                    <a:pt x="411" y="225"/>
                    <a:pt x="411" y="225"/>
                    <a:pt x="411" y="225"/>
                  </a:cubicBezTo>
                  <a:cubicBezTo>
                    <a:pt x="411" y="225"/>
                    <a:pt x="411" y="226"/>
                    <a:pt x="410" y="226"/>
                  </a:cubicBezTo>
                  <a:cubicBezTo>
                    <a:pt x="409" y="227"/>
                    <a:pt x="408" y="228"/>
                    <a:pt x="407" y="228"/>
                  </a:cubicBezTo>
                  <a:cubicBezTo>
                    <a:pt x="368" y="236"/>
                    <a:pt x="368" y="236"/>
                    <a:pt x="368" y="236"/>
                  </a:cubicBezTo>
                  <a:cubicBezTo>
                    <a:pt x="339" y="239"/>
                    <a:pt x="304" y="241"/>
                    <a:pt x="264" y="241"/>
                  </a:cubicBezTo>
                  <a:cubicBezTo>
                    <a:pt x="223" y="241"/>
                    <a:pt x="188" y="239"/>
                    <a:pt x="159" y="236"/>
                  </a:cubicBezTo>
                  <a:cubicBezTo>
                    <a:pt x="136" y="233"/>
                    <a:pt x="122" y="230"/>
                    <a:pt x="118" y="227"/>
                  </a:cubicBezTo>
                  <a:cubicBezTo>
                    <a:pt x="116" y="226"/>
                    <a:pt x="116" y="225"/>
                    <a:pt x="116" y="224"/>
                  </a:cubicBezTo>
                  <a:cubicBezTo>
                    <a:pt x="116" y="224"/>
                    <a:pt x="116" y="223"/>
                    <a:pt x="116" y="22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7"/>
                    <a:pt x="32" y="13"/>
                    <a:pt x="77" y="17"/>
                  </a:cubicBezTo>
                  <a:cubicBezTo>
                    <a:pt x="128" y="23"/>
                    <a:pt x="191" y="26"/>
                    <a:pt x="264" y="26"/>
                  </a:cubicBezTo>
                  <a:cubicBezTo>
                    <a:pt x="337" y="26"/>
                    <a:pt x="399" y="23"/>
                    <a:pt x="450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8B0B0B68-22E0-649E-2779-698EA93D1D86}"/>
              </a:ext>
            </a:extLst>
          </p:cNvPr>
          <p:cNvGrpSpPr/>
          <p:nvPr/>
        </p:nvGrpSpPr>
        <p:grpSpPr>
          <a:xfrm>
            <a:off x="1319074" y="2658105"/>
            <a:ext cx="2951708" cy="1148429"/>
            <a:chOff x="978695" y="2618820"/>
            <a:chExt cx="1917700" cy="746125"/>
          </a:xfrm>
          <a:solidFill>
            <a:schemeClr val="accent3"/>
          </a:solidFill>
        </p:grpSpPr>
        <p:sp>
          <p:nvSpPr>
            <p:cNvPr id="118" name="Freeform 7">
              <a:extLst>
                <a:ext uri="{FF2B5EF4-FFF2-40B4-BE49-F238E27FC236}">
                  <a16:creationId xmlns:a16="http://schemas.microsoft.com/office/drawing/2014/main" id="{9D2CB94D-2C80-8CBF-D432-3B96BE088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695" y="2618820"/>
              <a:ext cx="1917700" cy="260350"/>
            </a:xfrm>
            <a:custGeom>
              <a:avLst/>
              <a:gdLst/>
              <a:ahLst/>
              <a:cxnLst>
                <a:cxn ang="0">
                  <a:pos x="749" y="57"/>
                </a:cxn>
                <a:cxn ang="0">
                  <a:pos x="641" y="87"/>
                </a:cxn>
                <a:cxn ang="0">
                  <a:pos x="375" y="102"/>
                </a:cxn>
                <a:cxn ang="0">
                  <a:pos x="110" y="87"/>
                </a:cxn>
                <a:cxn ang="0">
                  <a:pos x="2" y="57"/>
                </a:cxn>
                <a:cxn ang="0">
                  <a:pos x="0" y="54"/>
                </a:cxn>
                <a:cxn ang="0">
                  <a:pos x="0" y="51"/>
                </a:cxn>
                <a:cxn ang="0">
                  <a:pos x="110" y="15"/>
                </a:cxn>
                <a:cxn ang="0">
                  <a:pos x="375" y="0"/>
                </a:cxn>
                <a:cxn ang="0">
                  <a:pos x="641" y="15"/>
                </a:cxn>
                <a:cxn ang="0">
                  <a:pos x="751" y="51"/>
                </a:cxn>
                <a:cxn ang="0">
                  <a:pos x="749" y="57"/>
                </a:cxn>
              </a:cxnLst>
              <a:rect l="0" t="0" r="r" b="b"/>
              <a:pathLst>
                <a:path w="751" h="102">
                  <a:moveTo>
                    <a:pt x="749" y="57"/>
                  </a:moveTo>
                  <a:cubicBezTo>
                    <a:pt x="741" y="69"/>
                    <a:pt x="705" y="79"/>
                    <a:pt x="641" y="87"/>
                  </a:cubicBezTo>
                  <a:cubicBezTo>
                    <a:pt x="568" y="97"/>
                    <a:pt x="479" y="102"/>
                    <a:pt x="375" y="102"/>
                  </a:cubicBezTo>
                  <a:cubicBezTo>
                    <a:pt x="272" y="102"/>
                    <a:pt x="183" y="97"/>
                    <a:pt x="110" y="87"/>
                  </a:cubicBezTo>
                  <a:cubicBezTo>
                    <a:pt x="47" y="79"/>
                    <a:pt x="11" y="69"/>
                    <a:pt x="2" y="57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3"/>
                    <a:pt x="0" y="52"/>
                    <a:pt x="0" y="51"/>
                  </a:cubicBezTo>
                  <a:cubicBezTo>
                    <a:pt x="0" y="37"/>
                    <a:pt x="36" y="25"/>
                    <a:pt x="110" y="15"/>
                  </a:cubicBezTo>
                  <a:cubicBezTo>
                    <a:pt x="183" y="5"/>
                    <a:pt x="272" y="0"/>
                    <a:pt x="375" y="0"/>
                  </a:cubicBezTo>
                  <a:cubicBezTo>
                    <a:pt x="479" y="0"/>
                    <a:pt x="568" y="5"/>
                    <a:pt x="641" y="15"/>
                  </a:cubicBezTo>
                  <a:cubicBezTo>
                    <a:pt x="714" y="25"/>
                    <a:pt x="751" y="37"/>
                    <a:pt x="751" y="51"/>
                  </a:cubicBezTo>
                  <a:cubicBezTo>
                    <a:pt x="751" y="53"/>
                    <a:pt x="750" y="55"/>
                    <a:pt x="749" y="5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9" name="Freeform 8">
              <a:extLst>
                <a:ext uri="{FF2B5EF4-FFF2-40B4-BE49-F238E27FC236}">
                  <a16:creationId xmlns:a16="http://schemas.microsoft.com/office/drawing/2014/main" id="{9EBC8C70-2054-BFA7-D95D-8742CF915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664" y="2764870"/>
              <a:ext cx="1909763" cy="600075"/>
            </a:xfrm>
            <a:custGeom>
              <a:avLst/>
              <a:gdLst/>
              <a:ahLst/>
              <a:cxnLst>
                <a:cxn ang="0">
                  <a:pos x="748" y="0"/>
                </a:cxn>
                <a:cxn ang="0">
                  <a:pos x="638" y="210"/>
                </a:cxn>
                <a:cxn ang="0">
                  <a:pos x="636" y="209"/>
                </a:cxn>
                <a:cxn ang="0">
                  <a:pos x="560" y="226"/>
                </a:cxn>
                <a:cxn ang="0">
                  <a:pos x="374" y="235"/>
                </a:cxn>
                <a:cxn ang="0">
                  <a:pos x="187" y="226"/>
                </a:cxn>
                <a:cxn ang="0">
                  <a:pos x="111" y="209"/>
                </a:cxn>
                <a:cxn ang="0">
                  <a:pos x="110" y="210"/>
                </a:cxn>
                <a:cxn ang="0">
                  <a:pos x="0" y="0"/>
                </a:cxn>
                <a:cxn ang="0">
                  <a:pos x="108" y="30"/>
                </a:cxn>
                <a:cxn ang="0">
                  <a:pos x="373" y="45"/>
                </a:cxn>
                <a:cxn ang="0">
                  <a:pos x="639" y="30"/>
                </a:cxn>
                <a:cxn ang="0">
                  <a:pos x="747" y="0"/>
                </a:cxn>
                <a:cxn ang="0">
                  <a:pos x="748" y="0"/>
                </a:cxn>
              </a:cxnLst>
              <a:rect l="0" t="0" r="r" b="b"/>
              <a:pathLst>
                <a:path w="748" h="235">
                  <a:moveTo>
                    <a:pt x="748" y="0"/>
                  </a:moveTo>
                  <a:cubicBezTo>
                    <a:pt x="638" y="210"/>
                    <a:pt x="638" y="210"/>
                    <a:pt x="638" y="210"/>
                  </a:cubicBezTo>
                  <a:cubicBezTo>
                    <a:pt x="636" y="209"/>
                    <a:pt x="636" y="209"/>
                    <a:pt x="636" y="209"/>
                  </a:cubicBezTo>
                  <a:cubicBezTo>
                    <a:pt x="631" y="216"/>
                    <a:pt x="605" y="222"/>
                    <a:pt x="560" y="226"/>
                  </a:cubicBezTo>
                  <a:cubicBezTo>
                    <a:pt x="509" y="232"/>
                    <a:pt x="447" y="235"/>
                    <a:pt x="374" y="235"/>
                  </a:cubicBezTo>
                  <a:cubicBezTo>
                    <a:pt x="301" y="235"/>
                    <a:pt x="238" y="232"/>
                    <a:pt x="187" y="226"/>
                  </a:cubicBezTo>
                  <a:cubicBezTo>
                    <a:pt x="142" y="222"/>
                    <a:pt x="116" y="216"/>
                    <a:pt x="111" y="209"/>
                  </a:cubicBezTo>
                  <a:cubicBezTo>
                    <a:pt x="110" y="210"/>
                    <a:pt x="110" y="210"/>
                    <a:pt x="110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12"/>
                    <a:pt x="45" y="22"/>
                    <a:pt x="108" y="30"/>
                  </a:cubicBezTo>
                  <a:cubicBezTo>
                    <a:pt x="181" y="40"/>
                    <a:pt x="270" y="45"/>
                    <a:pt x="373" y="45"/>
                  </a:cubicBezTo>
                  <a:cubicBezTo>
                    <a:pt x="477" y="45"/>
                    <a:pt x="566" y="40"/>
                    <a:pt x="639" y="30"/>
                  </a:cubicBezTo>
                  <a:cubicBezTo>
                    <a:pt x="703" y="22"/>
                    <a:pt x="739" y="12"/>
                    <a:pt x="747" y="0"/>
                  </a:cubicBezTo>
                  <a:lnTo>
                    <a:pt x="7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37D3511B-374C-0077-8F62-738C86CC4AB7}"/>
              </a:ext>
            </a:extLst>
          </p:cNvPr>
          <p:cNvGrpSpPr/>
          <p:nvPr/>
        </p:nvGrpSpPr>
        <p:grpSpPr>
          <a:xfrm>
            <a:off x="858480" y="1495014"/>
            <a:ext cx="3872896" cy="1273047"/>
            <a:chOff x="679451" y="1863170"/>
            <a:chExt cx="2516188" cy="827088"/>
          </a:xfrm>
          <a:solidFill>
            <a:schemeClr val="accent4"/>
          </a:solidFill>
        </p:grpSpPr>
        <p:sp>
          <p:nvSpPr>
            <p:cNvPr id="116" name="Freeform 9">
              <a:extLst>
                <a:ext uri="{FF2B5EF4-FFF2-40B4-BE49-F238E27FC236}">
                  <a16:creationId xmlns:a16="http://schemas.microsoft.com/office/drawing/2014/main" id="{48059CC2-1572-1677-523F-A56A48EBD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51" y="1863170"/>
              <a:ext cx="2516188" cy="260350"/>
            </a:xfrm>
            <a:custGeom>
              <a:avLst/>
              <a:gdLst/>
              <a:ahLst/>
              <a:cxnLst>
                <a:cxn ang="0">
                  <a:pos x="1" y="55"/>
                </a:cxn>
                <a:cxn ang="0">
                  <a:pos x="0" y="54"/>
                </a:cxn>
                <a:cxn ang="0">
                  <a:pos x="0" y="51"/>
                </a:cxn>
                <a:cxn ang="0">
                  <a:pos x="144" y="15"/>
                </a:cxn>
                <a:cxn ang="0">
                  <a:pos x="492" y="0"/>
                </a:cxn>
                <a:cxn ang="0">
                  <a:pos x="840" y="15"/>
                </a:cxn>
                <a:cxn ang="0">
                  <a:pos x="985" y="51"/>
                </a:cxn>
                <a:cxn ang="0">
                  <a:pos x="984" y="54"/>
                </a:cxn>
                <a:cxn ang="0">
                  <a:pos x="984" y="55"/>
                </a:cxn>
                <a:cxn ang="0">
                  <a:pos x="840" y="87"/>
                </a:cxn>
                <a:cxn ang="0">
                  <a:pos x="492" y="102"/>
                </a:cxn>
                <a:cxn ang="0">
                  <a:pos x="144" y="87"/>
                </a:cxn>
                <a:cxn ang="0">
                  <a:pos x="1" y="55"/>
                </a:cxn>
              </a:cxnLst>
              <a:rect l="0" t="0" r="r" b="b"/>
              <a:pathLst>
                <a:path w="985" h="102">
                  <a:moveTo>
                    <a:pt x="1" y="55"/>
                  </a:moveTo>
                  <a:cubicBezTo>
                    <a:pt x="1" y="55"/>
                    <a:pt x="1" y="54"/>
                    <a:pt x="0" y="54"/>
                  </a:cubicBezTo>
                  <a:cubicBezTo>
                    <a:pt x="0" y="53"/>
                    <a:pt x="0" y="52"/>
                    <a:pt x="0" y="51"/>
                  </a:cubicBezTo>
                  <a:cubicBezTo>
                    <a:pt x="0" y="37"/>
                    <a:pt x="48" y="25"/>
                    <a:pt x="144" y="15"/>
                  </a:cubicBezTo>
                  <a:cubicBezTo>
                    <a:pt x="240" y="5"/>
                    <a:pt x="357" y="0"/>
                    <a:pt x="492" y="0"/>
                  </a:cubicBezTo>
                  <a:cubicBezTo>
                    <a:pt x="628" y="0"/>
                    <a:pt x="744" y="5"/>
                    <a:pt x="840" y="15"/>
                  </a:cubicBezTo>
                  <a:cubicBezTo>
                    <a:pt x="937" y="25"/>
                    <a:pt x="985" y="37"/>
                    <a:pt x="985" y="51"/>
                  </a:cubicBezTo>
                  <a:cubicBezTo>
                    <a:pt x="985" y="52"/>
                    <a:pt x="984" y="53"/>
                    <a:pt x="984" y="54"/>
                  </a:cubicBezTo>
                  <a:cubicBezTo>
                    <a:pt x="984" y="54"/>
                    <a:pt x="984" y="54"/>
                    <a:pt x="984" y="55"/>
                  </a:cubicBezTo>
                  <a:cubicBezTo>
                    <a:pt x="976" y="67"/>
                    <a:pt x="929" y="78"/>
                    <a:pt x="840" y="87"/>
                  </a:cubicBezTo>
                  <a:cubicBezTo>
                    <a:pt x="744" y="97"/>
                    <a:pt x="628" y="102"/>
                    <a:pt x="492" y="102"/>
                  </a:cubicBezTo>
                  <a:cubicBezTo>
                    <a:pt x="357" y="102"/>
                    <a:pt x="240" y="97"/>
                    <a:pt x="144" y="87"/>
                  </a:cubicBezTo>
                  <a:cubicBezTo>
                    <a:pt x="57" y="78"/>
                    <a:pt x="10" y="68"/>
                    <a:pt x="1" y="5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7" name="Freeform 10">
              <a:extLst>
                <a:ext uri="{FF2B5EF4-FFF2-40B4-BE49-F238E27FC236}">
                  <a16:creationId xmlns:a16="http://schemas.microsoft.com/office/drawing/2014/main" id="{C90A2487-CAB5-89BE-D942-8D312B72C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626" y="2002870"/>
              <a:ext cx="2509838" cy="687388"/>
            </a:xfrm>
            <a:custGeom>
              <a:avLst/>
              <a:gdLst/>
              <a:ahLst/>
              <a:cxnLst>
                <a:cxn ang="0">
                  <a:pos x="983" y="0"/>
                </a:cxn>
                <a:cxn ang="0">
                  <a:pos x="866" y="224"/>
                </a:cxn>
                <a:cxn ang="0">
                  <a:pos x="865" y="224"/>
                </a:cxn>
                <a:cxn ang="0">
                  <a:pos x="757" y="254"/>
                </a:cxn>
                <a:cxn ang="0">
                  <a:pos x="491" y="269"/>
                </a:cxn>
                <a:cxn ang="0">
                  <a:pos x="226" y="254"/>
                </a:cxn>
                <a:cxn ang="0">
                  <a:pos x="118" y="224"/>
                </a:cxn>
                <a:cxn ang="0">
                  <a:pos x="116" y="221"/>
                </a:cxn>
                <a:cxn ang="0">
                  <a:pos x="115" y="218"/>
                </a:cxn>
                <a:cxn ang="0">
                  <a:pos x="115" y="219"/>
                </a:cxn>
                <a:cxn ang="0">
                  <a:pos x="0" y="0"/>
                </a:cxn>
                <a:cxn ang="0">
                  <a:pos x="143" y="32"/>
                </a:cxn>
                <a:cxn ang="0">
                  <a:pos x="491" y="47"/>
                </a:cxn>
                <a:cxn ang="0">
                  <a:pos x="839" y="32"/>
                </a:cxn>
                <a:cxn ang="0">
                  <a:pos x="983" y="0"/>
                </a:cxn>
              </a:cxnLst>
              <a:rect l="0" t="0" r="r" b="b"/>
              <a:pathLst>
                <a:path w="983" h="269">
                  <a:moveTo>
                    <a:pt x="983" y="0"/>
                  </a:moveTo>
                  <a:cubicBezTo>
                    <a:pt x="866" y="224"/>
                    <a:pt x="866" y="224"/>
                    <a:pt x="866" y="224"/>
                  </a:cubicBezTo>
                  <a:cubicBezTo>
                    <a:pt x="865" y="224"/>
                    <a:pt x="865" y="224"/>
                    <a:pt x="865" y="224"/>
                  </a:cubicBezTo>
                  <a:cubicBezTo>
                    <a:pt x="857" y="235"/>
                    <a:pt x="821" y="246"/>
                    <a:pt x="757" y="254"/>
                  </a:cubicBezTo>
                  <a:cubicBezTo>
                    <a:pt x="683" y="264"/>
                    <a:pt x="595" y="269"/>
                    <a:pt x="491" y="269"/>
                  </a:cubicBezTo>
                  <a:cubicBezTo>
                    <a:pt x="388" y="269"/>
                    <a:pt x="299" y="264"/>
                    <a:pt x="226" y="254"/>
                  </a:cubicBezTo>
                  <a:cubicBezTo>
                    <a:pt x="163" y="246"/>
                    <a:pt x="127" y="236"/>
                    <a:pt x="118" y="224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5" y="220"/>
                    <a:pt x="115" y="219"/>
                    <a:pt x="115" y="218"/>
                  </a:cubicBezTo>
                  <a:cubicBezTo>
                    <a:pt x="115" y="219"/>
                    <a:pt x="115" y="219"/>
                    <a:pt x="115" y="2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13"/>
                    <a:pt x="56" y="23"/>
                    <a:pt x="143" y="32"/>
                  </a:cubicBezTo>
                  <a:cubicBezTo>
                    <a:pt x="239" y="42"/>
                    <a:pt x="356" y="47"/>
                    <a:pt x="491" y="47"/>
                  </a:cubicBezTo>
                  <a:cubicBezTo>
                    <a:pt x="627" y="47"/>
                    <a:pt x="743" y="42"/>
                    <a:pt x="839" y="32"/>
                  </a:cubicBezTo>
                  <a:cubicBezTo>
                    <a:pt x="928" y="23"/>
                    <a:pt x="975" y="12"/>
                    <a:pt x="98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56E4F66-B846-BBE9-BBDE-8CC3B9FEF796}"/>
              </a:ext>
            </a:extLst>
          </p:cNvPr>
          <p:cNvGrpSpPr/>
          <p:nvPr/>
        </p:nvGrpSpPr>
        <p:grpSpPr>
          <a:xfrm>
            <a:off x="2212160" y="4832790"/>
            <a:ext cx="1165535" cy="777024"/>
            <a:chOff x="1558926" y="4031695"/>
            <a:chExt cx="757238" cy="504826"/>
          </a:xfrm>
          <a:solidFill>
            <a:schemeClr val="accent1"/>
          </a:solidFill>
        </p:grpSpPr>
        <p:sp>
          <p:nvSpPr>
            <p:cNvPr id="114" name="Freeform 12">
              <a:extLst>
                <a:ext uri="{FF2B5EF4-FFF2-40B4-BE49-F238E27FC236}">
                  <a16:creationId xmlns:a16="http://schemas.microsoft.com/office/drawing/2014/main" id="{BD011C1A-CF64-341F-DAF2-F2092028E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514" y="4031695"/>
              <a:ext cx="754063" cy="85725"/>
            </a:xfrm>
            <a:custGeom>
              <a:avLst/>
              <a:gdLst/>
              <a:ahLst/>
              <a:cxnLst>
                <a:cxn ang="0">
                  <a:pos x="43" y="5"/>
                </a:cxn>
                <a:cxn ang="0">
                  <a:pos x="148" y="0"/>
                </a:cxn>
                <a:cxn ang="0">
                  <a:pos x="252" y="5"/>
                </a:cxn>
                <a:cxn ang="0">
                  <a:pos x="256" y="5"/>
                </a:cxn>
                <a:cxn ang="0">
                  <a:pos x="295" y="15"/>
                </a:cxn>
                <a:cxn ang="0">
                  <a:pos x="295" y="17"/>
                </a:cxn>
                <a:cxn ang="0">
                  <a:pos x="295" y="18"/>
                </a:cxn>
                <a:cxn ang="0">
                  <a:pos x="294" y="19"/>
                </a:cxn>
                <a:cxn ang="0">
                  <a:pos x="294" y="19"/>
                </a:cxn>
                <a:cxn ang="0">
                  <a:pos x="292" y="20"/>
                </a:cxn>
                <a:cxn ang="0">
                  <a:pos x="290" y="21"/>
                </a:cxn>
                <a:cxn ang="0">
                  <a:pos x="252" y="29"/>
                </a:cxn>
                <a:cxn ang="0">
                  <a:pos x="148" y="34"/>
                </a:cxn>
                <a:cxn ang="0">
                  <a:pos x="43" y="29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0" y="16"/>
                </a:cxn>
                <a:cxn ang="0">
                  <a:pos x="43" y="5"/>
                </a:cxn>
              </a:cxnLst>
              <a:rect l="0" t="0" r="r" b="b"/>
              <a:pathLst>
                <a:path w="295" h="34">
                  <a:moveTo>
                    <a:pt x="43" y="5"/>
                  </a:moveTo>
                  <a:cubicBezTo>
                    <a:pt x="72" y="2"/>
                    <a:pt x="107" y="0"/>
                    <a:pt x="148" y="0"/>
                  </a:cubicBezTo>
                  <a:cubicBezTo>
                    <a:pt x="188" y="0"/>
                    <a:pt x="223" y="2"/>
                    <a:pt x="252" y="5"/>
                  </a:cubicBezTo>
                  <a:cubicBezTo>
                    <a:pt x="253" y="5"/>
                    <a:pt x="255" y="5"/>
                    <a:pt x="256" y="5"/>
                  </a:cubicBezTo>
                  <a:cubicBezTo>
                    <a:pt x="295" y="15"/>
                    <a:pt x="295" y="15"/>
                    <a:pt x="295" y="15"/>
                  </a:cubicBezTo>
                  <a:cubicBezTo>
                    <a:pt x="295" y="16"/>
                    <a:pt x="295" y="16"/>
                    <a:pt x="295" y="17"/>
                  </a:cubicBezTo>
                  <a:cubicBezTo>
                    <a:pt x="295" y="18"/>
                    <a:pt x="295" y="18"/>
                    <a:pt x="295" y="18"/>
                  </a:cubicBezTo>
                  <a:cubicBezTo>
                    <a:pt x="295" y="18"/>
                    <a:pt x="295" y="19"/>
                    <a:pt x="294" y="19"/>
                  </a:cubicBezTo>
                  <a:cubicBezTo>
                    <a:pt x="294" y="19"/>
                    <a:pt x="294" y="19"/>
                    <a:pt x="294" y="19"/>
                  </a:cubicBezTo>
                  <a:cubicBezTo>
                    <a:pt x="294" y="20"/>
                    <a:pt x="293" y="20"/>
                    <a:pt x="292" y="20"/>
                  </a:cubicBezTo>
                  <a:cubicBezTo>
                    <a:pt x="292" y="21"/>
                    <a:pt x="291" y="21"/>
                    <a:pt x="290" y="21"/>
                  </a:cubicBezTo>
                  <a:cubicBezTo>
                    <a:pt x="284" y="24"/>
                    <a:pt x="271" y="27"/>
                    <a:pt x="252" y="29"/>
                  </a:cubicBezTo>
                  <a:cubicBezTo>
                    <a:pt x="223" y="32"/>
                    <a:pt x="188" y="34"/>
                    <a:pt x="148" y="34"/>
                  </a:cubicBezTo>
                  <a:cubicBezTo>
                    <a:pt x="107" y="34"/>
                    <a:pt x="72" y="32"/>
                    <a:pt x="43" y="29"/>
                  </a:cubicBezTo>
                  <a:cubicBezTo>
                    <a:pt x="20" y="26"/>
                    <a:pt x="7" y="23"/>
                    <a:pt x="2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2"/>
                    <a:pt x="16" y="8"/>
                    <a:pt x="43" y="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5" name="Freeform 13">
              <a:extLst>
                <a:ext uri="{FF2B5EF4-FFF2-40B4-BE49-F238E27FC236}">
                  <a16:creationId xmlns:a16="http://schemas.microsoft.com/office/drawing/2014/main" id="{EADDE5FB-8C2D-F8B6-B52E-3715D6111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8926" y="4074558"/>
              <a:ext cx="757238" cy="461963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43" y="12"/>
                </a:cxn>
                <a:cxn ang="0">
                  <a:pos x="148" y="17"/>
                </a:cxn>
                <a:cxn ang="0">
                  <a:pos x="252" y="12"/>
                </a:cxn>
                <a:cxn ang="0">
                  <a:pos x="290" y="4"/>
                </a:cxn>
                <a:cxn ang="0">
                  <a:pos x="291" y="4"/>
                </a:cxn>
                <a:cxn ang="0">
                  <a:pos x="294" y="2"/>
                </a:cxn>
                <a:cxn ang="0">
                  <a:pos x="295" y="1"/>
                </a:cxn>
                <a:cxn ang="0">
                  <a:pos x="295" y="0"/>
                </a:cxn>
                <a:cxn ang="0">
                  <a:pos x="296" y="0"/>
                </a:cxn>
                <a:cxn ang="0">
                  <a:pos x="296" y="164"/>
                </a:cxn>
                <a:cxn ang="0">
                  <a:pos x="295" y="164"/>
                </a:cxn>
                <a:cxn ang="0">
                  <a:pos x="252" y="176"/>
                </a:cxn>
                <a:cxn ang="0">
                  <a:pos x="148" y="181"/>
                </a:cxn>
                <a:cxn ang="0">
                  <a:pos x="43" y="176"/>
                </a:cxn>
                <a:cxn ang="0">
                  <a:pos x="2" y="167"/>
                </a:cxn>
                <a:cxn ang="0">
                  <a:pos x="0" y="164"/>
                </a:cxn>
                <a:cxn ang="0">
                  <a:pos x="2" y="161"/>
                </a:cxn>
                <a:cxn ang="0">
                  <a:pos x="2" y="3"/>
                </a:cxn>
              </a:cxnLst>
              <a:rect l="0" t="0" r="r" b="b"/>
              <a:pathLst>
                <a:path w="296" h="181">
                  <a:moveTo>
                    <a:pt x="2" y="3"/>
                  </a:moveTo>
                  <a:cubicBezTo>
                    <a:pt x="7" y="6"/>
                    <a:pt x="20" y="9"/>
                    <a:pt x="43" y="12"/>
                  </a:cubicBezTo>
                  <a:cubicBezTo>
                    <a:pt x="72" y="15"/>
                    <a:pt x="107" y="17"/>
                    <a:pt x="148" y="17"/>
                  </a:cubicBezTo>
                  <a:cubicBezTo>
                    <a:pt x="188" y="17"/>
                    <a:pt x="223" y="15"/>
                    <a:pt x="252" y="12"/>
                  </a:cubicBezTo>
                  <a:cubicBezTo>
                    <a:pt x="271" y="10"/>
                    <a:pt x="284" y="7"/>
                    <a:pt x="290" y="4"/>
                  </a:cubicBezTo>
                  <a:cubicBezTo>
                    <a:pt x="291" y="4"/>
                    <a:pt x="291" y="4"/>
                    <a:pt x="291" y="4"/>
                  </a:cubicBezTo>
                  <a:cubicBezTo>
                    <a:pt x="292" y="4"/>
                    <a:pt x="293" y="3"/>
                    <a:pt x="294" y="2"/>
                  </a:cubicBezTo>
                  <a:cubicBezTo>
                    <a:pt x="295" y="2"/>
                    <a:pt x="295" y="1"/>
                    <a:pt x="295" y="1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96" y="0"/>
                    <a:pt x="296" y="0"/>
                    <a:pt x="296" y="0"/>
                  </a:cubicBezTo>
                  <a:cubicBezTo>
                    <a:pt x="296" y="164"/>
                    <a:pt x="296" y="164"/>
                    <a:pt x="296" y="164"/>
                  </a:cubicBezTo>
                  <a:cubicBezTo>
                    <a:pt x="295" y="164"/>
                    <a:pt x="295" y="164"/>
                    <a:pt x="295" y="164"/>
                  </a:cubicBezTo>
                  <a:cubicBezTo>
                    <a:pt x="295" y="169"/>
                    <a:pt x="281" y="173"/>
                    <a:pt x="252" y="176"/>
                  </a:cubicBezTo>
                  <a:cubicBezTo>
                    <a:pt x="223" y="179"/>
                    <a:pt x="188" y="181"/>
                    <a:pt x="148" y="181"/>
                  </a:cubicBezTo>
                  <a:cubicBezTo>
                    <a:pt x="107" y="181"/>
                    <a:pt x="72" y="179"/>
                    <a:pt x="43" y="176"/>
                  </a:cubicBezTo>
                  <a:cubicBezTo>
                    <a:pt x="20" y="173"/>
                    <a:pt x="7" y="170"/>
                    <a:pt x="2" y="167"/>
                  </a:cubicBezTo>
                  <a:cubicBezTo>
                    <a:pt x="0" y="166"/>
                    <a:pt x="0" y="165"/>
                    <a:pt x="0" y="164"/>
                  </a:cubicBezTo>
                  <a:cubicBezTo>
                    <a:pt x="0" y="163"/>
                    <a:pt x="0" y="162"/>
                    <a:pt x="2" y="161"/>
                  </a:cubicBezTo>
                  <a:lnTo>
                    <a:pt x="2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064B1B3-EC12-31A9-AFC2-1ABA5E958BDE}"/>
              </a:ext>
            </a:extLst>
          </p:cNvPr>
          <p:cNvCxnSpPr/>
          <p:nvPr/>
        </p:nvCxnSpPr>
        <p:spPr>
          <a:xfrm flipH="1" flipV="1">
            <a:off x="4968535" y="1726658"/>
            <a:ext cx="2350471" cy="2444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A75E3F1D-5F42-6BC3-3304-5E3C2E59F658}"/>
              </a:ext>
            </a:extLst>
          </p:cNvPr>
          <p:cNvCxnSpPr/>
          <p:nvPr/>
        </p:nvCxnSpPr>
        <p:spPr>
          <a:xfrm flipH="1" flipV="1">
            <a:off x="4574880" y="2851667"/>
            <a:ext cx="2350471" cy="2444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D9ED7CEF-A0C1-D298-A7F2-E5784669A9A2}"/>
              </a:ext>
            </a:extLst>
          </p:cNvPr>
          <p:cNvCxnSpPr/>
          <p:nvPr/>
        </p:nvCxnSpPr>
        <p:spPr>
          <a:xfrm flipH="1" flipV="1">
            <a:off x="4154412" y="3935399"/>
            <a:ext cx="2350471" cy="2444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F904CE2C-C35A-1E53-3008-A8799065E929}"/>
              </a:ext>
            </a:extLst>
          </p:cNvPr>
          <p:cNvCxnSpPr/>
          <p:nvPr/>
        </p:nvCxnSpPr>
        <p:spPr>
          <a:xfrm flipH="1" flipV="1">
            <a:off x="3678385" y="5000326"/>
            <a:ext cx="2350471" cy="2444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Inhaltsplatzhalter 4">
            <a:extLst>
              <a:ext uri="{FF2B5EF4-FFF2-40B4-BE49-F238E27FC236}">
                <a16:creationId xmlns:a16="http://schemas.microsoft.com/office/drawing/2014/main" id="{BD10C423-DA84-9777-7FCA-0F38742E9832}"/>
              </a:ext>
            </a:extLst>
          </p:cNvPr>
          <p:cNvSpPr txBox="1">
            <a:spLocks/>
          </p:cNvSpPr>
          <p:nvPr/>
        </p:nvSpPr>
        <p:spPr>
          <a:xfrm>
            <a:off x="7122947" y="3827216"/>
            <a:ext cx="377633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7" name="Inhaltsplatzhalter 4">
            <a:extLst>
              <a:ext uri="{FF2B5EF4-FFF2-40B4-BE49-F238E27FC236}">
                <a16:creationId xmlns:a16="http://schemas.microsoft.com/office/drawing/2014/main" id="{7C6FE922-1B5D-045D-8DAF-93B16491F00D}"/>
              </a:ext>
            </a:extLst>
          </p:cNvPr>
          <p:cNvSpPr txBox="1">
            <a:spLocks/>
          </p:cNvSpPr>
          <p:nvPr/>
        </p:nvSpPr>
        <p:spPr>
          <a:xfrm flipH="1">
            <a:off x="7536872" y="1740898"/>
            <a:ext cx="381692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8" name="Inhaltsplatzhalter 4">
            <a:extLst>
              <a:ext uri="{FF2B5EF4-FFF2-40B4-BE49-F238E27FC236}">
                <a16:creationId xmlns:a16="http://schemas.microsoft.com/office/drawing/2014/main" id="{7A4A5C59-CC43-9C64-1609-55F2B548D8C7}"/>
              </a:ext>
            </a:extLst>
          </p:cNvPr>
          <p:cNvSpPr txBox="1">
            <a:spLocks/>
          </p:cNvSpPr>
          <p:nvPr/>
        </p:nvSpPr>
        <p:spPr>
          <a:xfrm flipH="1">
            <a:off x="7356983" y="2784057"/>
            <a:ext cx="3840061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9" name="Inhaltsplatzhalter 4">
            <a:extLst>
              <a:ext uri="{FF2B5EF4-FFF2-40B4-BE49-F238E27FC236}">
                <a16:creationId xmlns:a16="http://schemas.microsoft.com/office/drawing/2014/main" id="{51886B27-6035-68C7-8C71-07AE0D80FBE8}"/>
              </a:ext>
            </a:extLst>
          </p:cNvPr>
          <p:cNvSpPr txBox="1">
            <a:spLocks/>
          </p:cNvSpPr>
          <p:nvPr/>
        </p:nvSpPr>
        <p:spPr>
          <a:xfrm>
            <a:off x="6915784" y="4870376"/>
            <a:ext cx="377633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50417CCC-7DBB-CA4B-6D0F-6E23DD0E18D6}"/>
              </a:ext>
            </a:extLst>
          </p:cNvPr>
          <p:cNvGrpSpPr>
            <a:grpSpLocks noChangeAspect="1"/>
          </p:cNvGrpSpPr>
          <p:nvPr/>
        </p:nvGrpSpPr>
        <p:grpSpPr>
          <a:xfrm>
            <a:off x="2579157" y="3299831"/>
            <a:ext cx="385069" cy="366530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108" name="Freeform 23">
              <a:extLst>
                <a:ext uri="{FF2B5EF4-FFF2-40B4-BE49-F238E27FC236}">
                  <a16:creationId xmlns:a16="http://schemas.microsoft.com/office/drawing/2014/main" id="{383D3C6D-A224-793C-3F8E-2D8FB75774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09" name="Freeform 24">
              <a:extLst>
                <a:ext uri="{FF2B5EF4-FFF2-40B4-BE49-F238E27FC236}">
                  <a16:creationId xmlns:a16="http://schemas.microsoft.com/office/drawing/2014/main" id="{AAE9A40C-AD9C-E739-5016-E7AC097C75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0" name="Freeform 25">
              <a:extLst>
                <a:ext uri="{FF2B5EF4-FFF2-40B4-BE49-F238E27FC236}">
                  <a16:creationId xmlns:a16="http://schemas.microsoft.com/office/drawing/2014/main" id="{51269BCF-94A0-950B-B25C-D46378F023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1" name="Freeform 26">
              <a:extLst>
                <a:ext uri="{FF2B5EF4-FFF2-40B4-BE49-F238E27FC236}">
                  <a16:creationId xmlns:a16="http://schemas.microsoft.com/office/drawing/2014/main" id="{01B8E973-668A-B02A-A96A-9C067ACAB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2" name="Freeform 27">
              <a:extLst>
                <a:ext uri="{FF2B5EF4-FFF2-40B4-BE49-F238E27FC236}">
                  <a16:creationId xmlns:a16="http://schemas.microsoft.com/office/drawing/2014/main" id="{F54BE3B5-D137-B761-5EC8-6442CEC73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3" name="Freeform 28">
              <a:extLst>
                <a:ext uri="{FF2B5EF4-FFF2-40B4-BE49-F238E27FC236}">
                  <a16:creationId xmlns:a16="http://schemas.microsoft.com/office/drawing/2014/main" id="{BE6CB95B-D253-01EE-7BBC-E6322D1C7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</p:grpSp>
      <p:sp>
        <p:nvSpPr>
          <p:cNvPr id="101" name="Freeform 29">
            <a:extLst>
              <a:ext uri="{FF2B5EF4-FFF2-40B4-BE49-F238E27FC236}">
                <a16:creationId xmlns:a16="http://schemas.microsoft.com/office/drawing/2014/main" id="{94BC05D4-35F0-5F41-5A2F-45B874B23F27}"/>
              </a:ext>
            </a:extLst>
          </p:cNvPr>
          <p:cNvSpPr>
            <a:spLocks noChangeAspect="1" noEditPoints="1"/>
          </p:cNvSpPr>
          <p:nvPr/>
        </p:nvSpPr>
        <p:spPr bwMode="auto">
          <a:xfrm rot="2700000">
            <a:off x="2656404" y="4180985"/>
            <a:ext cx="230575" cy="424531"/>
          </a:xfrm>
          <a:custGeom>
            <a:avLst/>
            <a:gdLst>
              <a:gd name="T0" fmla="*/ 482 w 579"/>
              <a:gd name="T1" fmla="*/ 367 h 1073"/>
              <a:gd name="T2" fmla="*/ 482 w 579"/>
              <a:gd name="T3" fmla="*/ 148 h 1073"/>
              <a:gd name="T4" fmla="*/ 525 w 579"/>
              <a:gd name="T5" fmla="*/ 79 h 1073"/>
              <a:gd name="T6" fmla="*/ 447 w 579"/>
              <a:gd name="T7" fmla="*/ 0 h 1073"/>
              <a:gd name="T8" fmla="*/ 132 w 579"/>
              <a:gd name="T9" fmla="*/ 0 h 1073"/>
              <a:gd name="T10" fmla="*/ 54 w 579"/>
              <a:gd name="T11" fmla="*/ 79 h 1073"/>
              <a:gd name="T12" fmla="*/ 96 w 579"/>
              <a:gd name="T13" fmla="*/ 148 h 1073"/>
              <a:gd name="T14" fmla="*/ 96 w 579"/>
              <a:gd name="T15" fmla="*/ 367 h 1073"/>
              <a:gd name="T16" fmla="*/ 0 w 579"/>
              <a:gd name="T17" fmla="*/ 583 h 1073"/>
              <a:gd name="T18" fmla="*/ 0 w 579"/>
              <a:gd name="T19" fmla="*/ 612 h 1073"/>
              <a:gd name="T20" fmla="*/ 224 w 579"/>
              <a:gd name="T21" fmla="*/ 612 h 1073"/>
              <a:gd name="T22" fmla="*/ 224 w 579"/>
              <a:gd name="T23" fmla="*/ 923 h 1073"/>
              <a:gd name="T24" fmla="*/ 289 w 579"/>
              <a:gd name="T25" fmla="*/ 1073 h 1073"/>
              <a:gd name="T26" fmla="*/ 355 w 579"/>
              <a:gd name="T27" fmla="*/ 923 h 1073"/>
              <a:gd name="T28" fmla="*/ 355 w 579"/>
              <a:gd name="T29" fmla="*/ 612 h 1073"/>
              <a:gd name="T30" fmla="*/ 579 w 579"/>
              <a:gd name="T31" fmla="*/ 612 h 1073"/>
              <a:gd name="T32" fmla="*/ 579 w 579"/>
              <a:gd name="T33" fmla="*/ 583 h 1073"/>
              <a:gd name="T34" fmla="*/ 482 w 579"/>
              <a:gd name="T35" fmla="*/ 367 h 1073"/>
              <a:gd name="T36" fmla="*/ 132 w 579"/>
              <a:gd name="T37" fmla="*/ 58 h 1073"/>
              <a:gd name="T38" fmla="*/ 447 w 579"/>
              <a:gd name="T39" fmla="*/ 58 h 1073"/>
              <a:gd name="T40" fmla="*/ 467 w 579"/>
              <a:gd name="T41" fmla="*/ 79 h 1073"/>
              <a:gd name="T42" fmla="*/ 449 w 579"/>
              <a:gd name="T43" fmla="*/ 99 h 1073"/>
              <a:gd name="T44" fmla="*/ 436 w 579"/>
              <a:gd name="T45" fmla="*/ 101 h 1073"/>
              <a:gd name="T46" fmla="*/ 143 w 579"/>
              <a:gd name="T47" fmla="*/ 101 h 1073"/>
              <a:gd name="T48" fmla="*/ 129 w 579"/>
              <a:gd name="T49" fmla="*/ 99 h 1073"/>
              <a:gd name="T50" fmla="*/ 111 w 579"/>
              <a:gd name="T51" fmla="*/ 79 h 1073"/>
              <a:gd name="T52" fmla="*/ 132 w 579"/>
              <a:gd name="T53" fmla="*/ 58 h 1073"/>
              <a:gd name="T54" fmla="*/ 424 w 579"/>
              <a:gd name="T55" fmla="*/ 370 h 1073"/>
              <a:gd name="T56" fmla="*/ 154 w 579"/>
              <a:gd name="T57" fmla="*/ 370 h 1073"/>
              <a:gd name="T58" fmla="*/ 154 w 579"/>
              <a:gd name="T59" fmla="*/ 130 h 1073"/>
              <a:gd name="T60" fmla="*/ 424 w 579"/>
              <a:gd name="T61" fmla="*/ 130 h 1073"/>
              <a:gd name="T62" fmla="*/ 424 w 579"/>
              <a:gd name="T63" fmla="*/ 370 h 1073"/>
              <a:gd name="T64" fmla="*/ 297 w 579"/>
              <a:gd name="T65" fmla="*/ 911 h 1073"/>
              <a:gd name="T66" fmla="*/ 289 w 579"/>
              <a:gd name="T67" fmla="*/ 928 h 1073"/>
              <a:gd name="T68" fmla="*/ 282 w 579"/>
              <a:gd name="T69" fmla="*/ 911 h 1073"/>
              <a:gd name="T70" fmla="*/ 282 w 579"/>
              <a:gd name="T71" fmla="*/ 612 h 1073"/>
              <a:gd name="T72" fmla="*/ 297 w 579"/>
              <a:gd name="T73" fmla="*/ 612 h 1073"/>
              <a:gd name="T74" fmla="*/ 297 w 579"/>
              <a:gd name="T75" fmla="*/ 911 h 1073"/>
              <a:gd name="T76" fmla="*/ 355 w 579"/>
              <a:gd name="T77" fmla="*/ 554 h 1073"/>
              <a:gd name="T78" fmla="*/ 224 w 579"/>
              <a:gd name="T79" fmla="*/ 554 h 1073"/>
              <a:gd name="T80" fmla="*/ 59 w 579"/>
              <a:gd name="T81" fmla="*/ 554 h 1073"/>
              <a:gd name="T82" fmla="*/ 144 w 579"/>
              <a:gd name="T83" fmla="*/ 403 h 1073"/>
              <a:gd name="T84" fmla="*/ 149 w 579"/>
              <a:gd name="T85" fmla="*/ 399 h 1073"/>
              <a:gd name="T86" fmla="*/ 430 w 579"/>
              <a:gd name="T87" fmla="*/ 399 h 1073"/>
              <a:gd name="T88" fmla="*/ 435 w 579"/>
              <a:gd name="T89" fmla="*/ 403 h 1073"/>
              <a:gd name="T90" fmla="*/ 519 w 579"/>
              <a:gd name="T91" fmla="*/ 554 h 1073"/>
              <a:gd name="T92" fmla="*/ 355 w 579"/>
              <a:gd name="T93" fmla="*/ 554 h 1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9" h="1073">
                <a:moveTo>
                  <a:pt x="482" y="367"/>
                </a:moveTo>
                <a:cubicBezTo>
                  <a:pt x="482" y="148"/>
                  <a:pt x="482" y="148"/>
                  <a:pt x="482" y="148"/>
                </a:cubicBezTo>
                <a:cubicBezTo>
                  <a:pt x="508" y="135"/>
                  <a:pt x="525" y="109"/>
                  <a:pt x="525" y="79"/>
                </a:cubicBezTo>
                <a:cubicBezTo>
                  <a:pt x="525" y="35"/>
                  <a:pt x="490" y="0"/>
                  <a:pt x="447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89" y="0"/>
                  <a:pt x="54" y="35"/>
                  <a:pt x="54" y="79"/>
                </a:cubicBezTo>
                <a:cubicBezTo>
                  <a:pt x="54" y="109"/>
                  <a:pt x="71" y="135"/>
                  <a:pt x="96" y="148"/>
                </a:cubicBezTo>
                <a:cubicBezTo>
                  <a:pt x="96" y="367"/>
                  <a:pt x="96" y="367"/>
                  <a:pt x="96" y="367"/>
                </a:cubicBezTo>
                <a:cubicBezTo>
                  <a:pt x="35" y="422"/>
                  <a:pt x="0" y="500"/>
                  <a:pt x="0" y="583"/>
                </a:cubicBezTo>
                <a:cubicBezTo>
                  <a:pt x="0" y="612"/>
                  <a:pt x="0" y="612"/>
                  <a:pt x="0" y="612"/>
                </a:cubicBezTo>
                <a:cubicBezTo>
                  <a:pt x="224" y="612"/>
                  <a:pt x="224" y="612"/>
                  <a:pt x="224" y="612"/>
                </a:cubicBezTo>
                <a:cubicBezTo>
                  <a:pt x="224" y="923"/>
                  <a:pt x="224" y="923"/>
                  <a:pt x="224" y="923"/>
                </a:cubicBezTo>
                <a:cubicBezTo>
                  <a:pt x="289" y="1073"/>
                  <a:pt x="289" y="1073"/>
                  <a:pt x="289" y="1073"/>
                </a:cubicBezTo>
                <a:cubicBezTo>
                  <a:pt x="355" y="923"/>
                  <a:pt x="355" y="923"/>
                  <a:pt x="355" y="923"/>
                </a:cubicBezTo>
                <a:cubicBezTo>
                  <a:pt x="355" y="612"/>
                  <a:pt x="355" y="612"/>
                  <a:pt x="355" y="612"/>
                </a:cubicBezTo>
                <a:cubicBezTo>
                  <a:pt x="579" y="612"/>
                  <a:pt x="579" y="612"/>
                  <a:pt x="579" y="612"/>
                </a:cubicBezTo>
                <a:cubicBezTo>
                  <a:pt x="579" y="583"/>
                  <a:pt x="579" y="583"/>
                  <a:pt x="579" y="583"/>
                </a:cubicBezTo>
                <a:cubicBezTo>
                  <a:pt x="579" y="500"/>
                  <a:pt x="544" y="422"/>
                  <a:pt x="482" y="367"/>
                </a:cubicBezTo>
                <a:close/>
                <a:moveTo>
                  <a:pt x="132" y="58"/>
                </a:moveTo>
                <a:cubicBezTo>
                  <a:pt x="447" y="58"/>
                  <a:pt x="447" y="58"/>
                  <a:pt x="447" y="58"/>
                </a:cubicBezTo>
                <a:cubicBezTo>
                  <a:pt x="458" y="58"/>
                  <a:pt x="467" y="67"/>
                  <a:pt x="467" y="79"/>
                </a:cubicBezTo>
                <a:cubicBezTo>
                  <a:pt x="467" y="89"/>
                  <a:pt x="459" y="97"/>
                  <a:pt x="449" y="99"/>
                </a:cubicBezTo>
                <a:cubicBezTo>
                  <a:pt x="436" y="101"/>
                  <a:pt x="436" y="101"/>
                  <a:pt x="436" y="101"/>
                </a:cubicBezTo>
                <a:cubicBezTo>
                  <a:pt x="143" y="101"/>
                  <a:pt x="143" y="101"/>
                  <a:pt x="143" y="101"/>
                </a:cubicBezTo>
                <a:cubicBezTo>
                  <a:pt x="129" y="99"/>
                  <a:pt x="129" y="99"/>
                  <a:pt x="129" y="99"/>
                </a:cubicBezTo>
                <a:cubicBezTo>
                  <a:pt x="119" y="97"/>
                  <a:pt x="111" y="89"/>
                  <a:pt x="111" y="79"/>
                </a:cubicBezTo>
                <a:cubicBezTo>
                  <a:pt x="111" y="67"/>
                  <a:pt x="121" y="58"/>
                  <a:pt x="132" y="58"/>
                </a:cubicBezTo>
                <a:close/>
                <a:moveTo>
                  <a:pt x="424" y="370"/>
                </a:moveTo>
                <a:cubicBezTo>
                  <a:pt x="154" y="370"/>
                  <a:pt x="154" y="370"/>
                  <a:pt x="154" y="370"/>
                </a:cubicBezTo>
                <a:cubicBezTo>
                  <a:pt x="154" y="130"/>
                  <a:pt x="154" y="130"/>
                  <a:pt x="154" y="130"/>
                </a:cubicBezTo>
                <a:cubicBezTo>
                  <a:pt x="424" y="130"/>
                  <a:pt x="424" y="130"/>
                  <a:pt x="424" y="130"/>
                </a:cubicBezTo>
                <a:lnTo>
                  <a:pt x="424" y="370"/>
                </a:lnTo>
                <a:close/>
                <a:moveTo>
                  <a:pt x="297" y="911"/>
                </a:moveTo>
                <a:cubicBezTo>
                  <a:pt x="289" y="928"/>
                  <a:pt x="289" y="928"/>
                  <a:pt x="289" y="928"/>
                </a:cubicBezTo>
                <a:cubicBezTo>
                  <a:pt x="282" y="911"/>
                  <a:pt x="282" y="911"/>
                  <a:pt x="282" y="911"/>
                </a:cubicBezTo>
                <a:cubicBezTo>
                  <a:pt x="282" y="612"/>
                  <a:pt x="282" y="612"/>
                  <a:pt x="282" y="612"/>
                </a:cubicBezTo>
                <a:cubicBezTo>
                  <a:pt x="297" y="612"/>
                  <a:pt x="297" y="612"/>
                  <a:pt x="297" y="612"/>
                </a:cubicBezTo>
                <a:lnTo>
                  <a:pt x="297" y="911"/>
                </a:lnTo>
                <a:close/>
                <a:moveTo>
                  <a:pt x="355" y="554"/>
                </a:moveTo>
                <a:cubicBezTo>
                  <a:pt x="224" y="554"/>
                  <a:pt x="224" y="554"/>
                  <a:pt x="224" y="554"/>
                </a:cubicBezTo>
                <a:cubicBezTo>
                  <a:pt x="59" y="554"/>
                  <a:pt x="59" y="554"/>
                  <a:pt x="59" y="554"/>
                </a:cubicBezTo>
                <a:cubicBezTo>
                  <a:pt x="67" y="495"/>
                  <a:pt x="97" y="441"/>
                  <a:pt x="144" y="403"/>
                </a:cubicBezTo>
                <a:cubicBezTo>
                  <a:pt x="149" y="399"/>
                  <a:pt x="149" y="399"/>
                  <a:pt x="149" y="399"/>
                </a:cubicBezTo>
                <a:cubicBezTo>
                  <a:pt x="430" y="399"/>
                  <a:pt x="430" y="399"/>
                  <a:pt x="430" y="399"/>
                </a:cubicBezTo>
                <a:cubicBezTo>
                  <a:pt x="435" y="403"/>
                  <a:pt x="435" y="403"/>
                  <a:pt x="435" y="403"/>
                </a:cubicBezTo>
                <a:cubicBezTo>
                  <a:pt x="482" y="441"/>
                  <a:pt x="512" y="495"/>
                  <a:pt x="519" y="554"/>
                </a:cubicBezTo>
                <a:lnTo>
                  <a:pt x="355" y="5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endParaRPr lang="id-ID" sz="840" dirty="0">
              <a:solidFill>
                <a:schemeClr val="tx2"/>
              </a:solidFill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7A8E5782-88E7-1403-74C1-81BFA7D23F02}"/>
              </a:ext>
            </a:extLst>
          </p:cNvPr>
          <p:cNvGrpSpPr>
            <a:grpSpLocks noChangeAspect="1"/>
          </p:cNvGrpSpPr>
          <p:nvPr/>
        </p:nvGrpSpPr>
        <p:grpSpPr>
          <a:xfrm>
            <a:off x="2591578" y="2024845"/>
            <a:ext cx="360226" cy="574904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06" name="Freeform 31">
              <a:extLst>
                <a:ext uri="{FF2B5EF4-FFF2-40B4-BE49-F238E27FC236}">
                  <a16:creationId xmlns:a16="http://schemas.microsoft.com/office/drawing/2014/main" id="{768B672A-6F6B-D707-56CC-EC83C359D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107" name="Freeform 32">
              <a:extLst>
                <a:ext uri="{FF2B5EF4-FFF2-40B4-BE49-F238E27FC236}">
                  <a16:creationId xmlns:a16="http://schemas.microsoft.com/office/drawing/2014/main" id="{0815EE8D-6743-9B9B-CB2E-9CB27357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A153438-F5E7-D373-A9AC-A975DA400FB3}"/>
              </a:ext>
            </a:extLst>
          </p:cNvPr>
          <p:cNvGrpSpPr/>
          <p:nvPr/>
        </p:nvGrpSpPr>
        <p:grpSpPr>
          <a:xfrm>
            <a:off x="2608637" y="5131994"/>
            <a:ext cx="326108" cy="312620"/>
            <a:chOff x="8783638" y="1235076"/>
            <a:chExt cx="360363" cy="312738"/>
          </a:xfrm>
          <a:solidFill>
            <a:schemeClr val="bg1"/>
          </a:solidFill>
        </p:grpSpPr>
        <p:sp>
          <p:nvSpPr>
            <p:cNvPr id="104" name="Freeform 51">
              <a:extLst>
                <a:ext uri="{FF2B5EF4-FFF2-40B4-BE49-F238E27FC236}">
                  <a16:creationId xmlns:a16="http://schemas.microsoft.com/office/drawing/2014/main" id="{0527FB30-DDB1-50AB-E5A7-7494C97DE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42375" y="1290638"/>
              <a:ext cx="128588" cy="8413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27"/>
                </a:cxn>
                <a:cxn ang="0">
                  <a:pos x="1" y="29"/>
                </a:cxn>
                <a:cxn ang="0">
                  <a:pos x="3" y="27"/>
                </a:cxn>
                <a:cxn ang="0">
                  <a:pos x="42" y="4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42" y="0"/>
                </a:cxn>
              </a:cxnLst>
              <a:rect l="0" t="0" r="r" b="b"/>
              <a:pathLst>
                <a:path w="44" h="29">
                  <a:moveTo>
                    <a:pt x="42" y="0"/>
                  </a:moveTo>
                  <a:cubicBezTo>
                    <a:pt x="19" y="0"/>
                    <a:pt x="0" y="12"/>
                    <a:pt x="0" y="27"/>
                  </a:cubicBezTo>
                  <a:cubicBezTo>
                    <a:pt x="0" y="28"/>
                    <a:pt x="0" y="29"/>
                    <a:pt x="1" y="29"/>
                  </a:cubicBezTo>
                  <a:cubicBezTo>
                    <a:pt x="3" y="29"/>
                    <a:pt x="3" y="28"/>
                    <a:pt x="3" y="27"/>
                  </a:cubicBezTo>
                  <a:cubicBezTo>
                    <a:pt x="3" y="15"/>
                    <a:pt x="21" y="4"/>
                    <a:pt x="42" y="4"/>
                  </a:cubicBezTo>
                  <a:cubicBezTo>
                    <a:pt x="43" y="4"/>
                    <a:pt x="44" y="3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52">
              <a:extLst>
                <a:ext uri="{FF2B5EF4-FFF2-40B4-BE49-F238E27FC236}">
                  <a16:creationId xmlns:a16="http://schemas.microsoft.com/office/drawing/2014/main" id="{91B83382-A9F1-3C0E-B01F-31B13A95F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83638" y="1235076"/>
              <a:ext cx="360363" cy="312738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46"/>
                </a:cxn>
                <a:cxn ang="0">
                  <a:pos x="27" y="84"/>
                </a:cxn>
                <a:cxn ang="0">
                  <a:pos x="27" y="84"/>
                </a:cxn>
                <a:cxn ang="0">
                  <a:pos x="20" y="102"/>
                </a:cxn>
                <a:cxn ang="0">
                  <a:pos x="20" y="104"/>
                </a:cxn>
                <a:cxn ang="0">
                  <a:pos x="23" y="107"/>
                </a:cxn>
                <a:cxn ang="0">
                  <a:pos x="24" y="107"/>
                </a:cxn>
                <a:cxn ang="0">
                  <a:pos x="50" y="91"/>
                </a:cxn>
                <a:cxn ang="0">
                  <a:pos x="62" y="92"/>
                </a:cxn>
                <a:cxn ang="0">
                  <a:pos x="123" y="46"/>
                </a:cxn>
                <a:cxn ang="0">
                  <a:pos x="62" y="0"/>
                </a:cxn>
                <a:cxn ang="0">
                  <a:pos x="62" y="84"/>
                </a:cxn>
                <a:cxn ang="0">
                  <a:pos x="51" y="83"/>
                </a:cxn>
                <a:cxn ang="0">
                  <a:pos x="50" y="83"/>
                </a:cxn>
                <a:cxn ang="0">
                  <a:pos x="44" y="86"/>
                </a:cxn>
                <a:cxn ang="0">
                  <a:pos x="32" y="96"/>
                </a:cxn>
                <a:cxn ang="0">
                  <a:pos x="35" y="85"/>
                </a:cxn>
                <a:cxn ang="0">
                  <a:pos x="35" y="84"/>
                </a:cxn>
                <a:cxn ang="0">
                  <a:pos x="31" y="77"/>
                </a:cxn>
                <a:cxn ang="0">
                  <a:pos x="8" y="46"/>
                </a:cxn>
                <a:cxn ang="0">
                  <a:pos x="62" y="7"/>
                </a:cxn>
                <a:cxn ang="0">
                  <a:pos x="115" y="46"/>
                </a:cxn>
                <a:cxn ang="0">
                  <a:pos x="62" y="84"/>
                </a:cxn>
                <a:cxn ang="0">
                  <a:pos x="62" y="84"/>
                </a:cxn>
                <a:cxn ang="0">
                  <a:pos x="62" y="84"/>
                </a:cxn>
              </a:cxnLst>
              <a:rect l="0" t="0" r="r" b="b"/>
              <a:pathLst>
                <a:path w="123" h="107">
                  <a:moveTo>
                    <a:pt x="62" y="0"/>
                  </a:moveTo>
                  <a:cubicBezTo>
                    <a:pt x="28" y="0"/>
                    <a:pt x="0" y="20"/>
                    <a:pt x="0" y="46"/>
                  </a:cubicBezTo>
                  <a:cubicBezTo>
                    <a:pt x="0" y="62"/>
                    <a:pt x="11" y="76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91"/>
                    <a:pt x="22" y="98"/>
                    <a:pt x="20" y="102"/>
                  </a:cubicBezTo>
                  <a:cubicBezTo>
                    <a:pt x="20" y="103"/>
                    <a:pt x="20" y="103"/>
                    <a:pt x="20" y="104"/>
                  </a:cubicBezTo>
                  <a:cubicBezTo>
                    <a:pt x="20" y="106"/>
                    <a:pt x="21" y="107"/>
                    <a:pt x="23" y="107"/>
                  </a:cubicBezTo>
                  <a:cubicBezTo>
                    <a:pt x="23" y="107"/>
                    <a:pt x="24" y="107"/>
                    <a:pt x="24" y="107"/>
                  </a:cubicBezTo>
                  <a:cubicBezTo>
                    <a:pt x="36" y="105"/>
                    <a:pt x="47" y="94"/>
                    <a:pt x="50" y="91"/>
                  </a:cubicBezTo>
                  <a:cubicBezTo>
                    <a:pt x="54" y="92"/>
                    <a:pt x="58" y="92"/>
                    <a:pt x="62" y="92"/>
                  </a:cubicBezTo>
                  <a:cubicBezTo>
                    <a:pt x="96" y="92"/>
                    <a:pt x="123" y="71"/>
                    <a:pt x="123" y="46"/>
                  </a:cubicBezTo>
                  <a:cubicBezTo>
                    <a:pt x="123" y="20"/>
                    <a:pt x="96" y="0"/>
                    <a:pt x="62" y="0"/>
                  </a:cubicBezTo>
                  <a:close/>
                  <a:moveTo>
                    <a:pt x="62" y="84"/>
                  </a:moveTo>
                  <a:cubicBezTo>
                    <a:pt x="58" y="84"/>
                    <a:pt x="55" y="84"/>
                    <a:pt x="51" y="83"/>
                  </a:cubicBezTo>
                  <a:cubicBezTo>
                    <a:pt x="51" y="83"/>
                    <a:pt x="50" y="83"/>
                    <a:pt x="50" y="83"/>
                  </a:cubicBezTo>
                  <a:cubicBezTo>
                    <a:pt x="48" y="83"/>
                    <a:pt x="45" y="84"/>
                    <a:pt x="44" y="86"/>
                  </a:cubicBezTo>
                  <a:cubicBezTo>
                    <a:pt x="42" y="88"/>
                    <a:pt x="38" y="93"/>
                    <a:pt x="32" y="96"/>
                  </a:cubicBezTo>
                  <a:cubicBezTo>
                    <a:pt x="34" y="92"/>
                    <a:pt x="35" y="89"/>
                    <a:pt x="35" y="85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1"/>
                    <a:pt x="33" y="78"/>
                    <a:pt x="31" y="77"/>
                  </a:cubicBezTo>
                  <a:cubicBezTo>
                    <a:pt x="17" y="70"/>
                    <a:pt x="8" y="58"/>
                    <a:pt x="8" y="46"/>
                  </a:cubicBezTo>
                  <a:cubicBezTo>
                    <a:pt x="8" y="25"/>
                    <a:pt x="32" y="7"/>
                    <a:pt x="62" y="7"/>
                  </a:cubicBezTo>
                  <a:cubicBezTo>
                    <a:pt x="91" y="7"/>
                    <a:pt x="115" y="25"/>
                    <a:pt x="115" y="46"/>
                  </a:cubicBezTo>
                  <a:cubicBezTo>
                    <a:pt x="115" y="67"/>
                    <a:pt x="91" y="84"/>
                    <a:pt x="62" y="84"/>
                  </a:cubicBezTo>
                  <a:close/>
                  <a:moveTo>
                    <a:pt x="62" y="84"/>
                  </a:moveTo>
                  <a:cubicBezTo>
                    <a:pt x="62" y="84"/>
                    <a:pt x="62" y="84"/>
                    <a:pt x="62" y="8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66592368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89C808-3106-018B-DF5F-25E781AE20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D55A5EC-B73C-514B-224C-7F5BE087D0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F1844-8612-EA1F-CFE0-91435CF74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45A8D4-A199-560C-8D67-D79A25EA6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834A3D3-5E0E-1A18-979D-56B4B3E0D096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Freeform 49">
            <a:extLst>
              <a:ext uri="{FF2B5EF4-FFF2-40B4-BE49-F238E27FC236}">
                <a16:creationId xmlns:a16="http://schemas.microsoft.com/office/drawing/2014/main" id="{1749A457-6AD9-70CD-BEE4-DEA9D272686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054937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10" y="0"/>
                </a:lnTo>
                <a:lnTo>
                  <a:pt x="1828800" y="457200"/>
                </a:lnTo>
                <a:lnTo>
                  <a:pt x="1690310" y="914402"/>
                </a:lnTo>
                <a:lnTo>
                  <a:pt x="0" y="914400"/>
                </a:lnTo>
                <a:lnTo>
                  <a:pt x="138491" y="45720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" name="Freeform 45">
            <a:extLst>
              <a:ext uri="{FF2B5EF4-FFF2-40B4-BE49-F238E27FC236}">
                <a16:creationId xmlns:a16="http://schemas.microsoft.com/office/drawing/2014/main" id="{0A8AA557-C269-8BD5-8A81-8CD5011BDA8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111019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09" y="0"/>
                </a:lnTo>
                <a:lnTo>
                  <a:pt x="1828800" y="457200"/>
                </a:lnTo>
                <a:lnTo>
                  <a:pt x="1690309" y="914402"/>
                </a:lnTo>
                <a:lnTo>
                  <a:pt x="0" y="914400"/>
                </a:lnTo>
                <a:lnTo>
                  <a:pt x="138490" y="457202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7" name="Freeform 43">
            <a:extLst>
              <a:ext uri="{FF2B5EF4-FFF2-40B4-BE49-F238E27FC236}">
                <a16:creationId xmlns:a16="http://schemas.microsoft.com/office/drawing/2014/main" id="{403C32D8-6FD8-30DB-4C0F-6CCC8F23250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167101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09" y="0"/>
                </a:lnTo>
                <a:lnTo>
                  <a:pt x="1828800" y="457200"/>
                </a:lnTo>
                <a:lnTo>
                  <a:pt x="1690309" y="914402"/>
                </a:lnTo>
                <a:lnTo>
                  <a:pt x="0" y="914400"/>
                </a:lnTo>
                <a:lnTo>
                  <a:pt x="138490" y="457202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8" name="Freeform 47">
            <a:extLst>
              <a:ext uri="{FF2B5EF4-FFF2-40B4-BE49-F238E27FC236}">
                <a16:creationId xmlns:a16="http://schemas.microsoft.com/office/drawing/2014/main" id="{A0753DBD-2DEA-E3EB-6AD1-65B71E85A98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98856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10" y="0"/>
                </a:lnTo>
                <a:lnTo>
                  <a:pt x="1828800" y="457200"/>
                </a:lnTo>
                <a:lnTo>
                  <a:pt x="1690310" y="914402"/>
                </a:lnTo>
                <a:lnTo>
                  <a:pt x="0" y="914400"/>
                </a:lnTo>
                <a:lnTo>
                  <a:pt x="0" y="457202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" name="Freeform 52">
            <a:extLst>
              <a:ext uri="{FF2B5EF4-FFF2-40B4-BE49-F238E27FC236}">
                <a16:creationId xmlns:a16="http://schemas.microsoft.com/office/drawing/2014/main" id="{5FA71D7C-B6B6-6F71-07AB-7AA8A92F3A1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223181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85722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85722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5722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10" y="0"/>
                </a:lnTo>
                <a:lnTo>
                  <a:pt x="1828800" y="457200"/>
                </a:lnTo>
                <a:lnTo>
                  <a:pt x="1690310" y="914402"/>
                </a:lnTo>
                <a:lnTo>
                  <a:pt x="0" y="914400"/>
                </a:lnTo>
                <a:lnTo>
                  <a:pt x="138491" y="45720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6" name="Freeform 6">
            <a:extLst>
              <a:ext uri="{FF2B5EF4-FFF2-40B4-BE49-F238E27FC236}">
                <a16:creationId xmlns:a16="http://schemas.microsoft.com/office/drawing/2014/main" id="{8E935CBE-BFD4-B3BA-53C0-212772DFAF42}"/>
              </a:ext>
            </a:extLst>
          </p:cNvPr>
          <p:cNvSpPr>
            <a:spLocks/>
          </p:cNvSpPr>
          <p:nvPr/>
        </p:nvSpPr>
        <p:spPr bwMode="gray">
          <a:xfrm>
            <a:off x="2421716" y="1712186"/>
            <a:ext cx="7330112" cy="1011926"/>
          </a:xfrm>
          <a:custGeom>
            <a:avLst/>
            <a:gdLst>
              <a:gd name="T0" fmla="*/ 0 w 4138"/>
              <a:gd name="T1" fmla="*/ 0 h 467"/>
              <a:gd name="T2" fmla="*/ 713 w 4138"/>
              <a:gd name="T3" fmla="*/ 185 h 467"/>
              <a:gd name="T4" fmla="*/ 1509 w 4138"/>
              <a:gd name="T5" fmla="*/ 321 h 467"/>
              <a:gd name="T6" fmla="*/ 2449 w 4138"/>
              <a:gd name="T7" fmla="*/ 401 h 467"/>
              <a:gd name="T8" fmla="*/ 4138 w 4138"/>
              <a:gd name="T9" fmla="*/ 467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38" h="467">
                <a:moveTo>
                  <a:pt x="0" y="0"/>
                </a:moveTo>
                <a:cubicBezTo>
                  <a:pt x="119" y="31"/>
                  <a:pt x="462" y="132"/>
                  <a:pt x="713" y="185"/>
                </a:cubicBezTo>
                <a:cubicBezTo>
                  <a:pt x="964" y="238"/>
                  <a:pt x="1220" y="285"/>
                  <a:pt x="1509" y="321"/>
                </a:cubicBezTo>
                <a:cubicBezTo>
                  <a:pt x="1798" y="357"/>
                  <a:pt x="2011" y="377"/>
                  <a:pt x="2449" y="401"/>
                </a:cubicBezTo>
                <a:cubicBezTo>
                  <a:pt x="2887" y="425"/>
                  <a:pt x="3786" y="453"/>
                  <a:pt x="4138" y="467"/>
                </a:cubicBezTo>
              </a:path>
            </a:pathLst>
          </a:cu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400"/>
          </a:p>
        </p:txBody>
      </p:sp>
      <p:sp>
        <p:nvSpPr>
          <p:cNvPr id="27" name="Freeform 7">
            <a:extLst>
              <a:ext uri="{FF2B5EF4-FFF2-40B4-BE49-F238E27FC236}">
                <a16:creationId xmlns:a16="http://schemas.microsoft.com/office/drawing/2014/main" id="{C3083CF2-ED28-6E56-836A-87A6EF0D2E48}"/>
              </a:ext>
            </a:extLst>
          </p:cNvPr>
          <p:cNvSpPr>
            <a:spLocks/>
          </p:cNvSpPr>
          <p:nvPr/>
        </p:nvSpPr>
        <p:spPr bwMode="gray">
          <a:xfrm flipV="1">
            <a:off x="2421716" y="3150985"/>
            <a:ext cx="7326902" cy="1031429"/>
          </a:xfrm>
          <a:custGeom>
            <a:avLst/>
            <a:gdLst>
              <a:gd name="T0" fmla="*/ 0 w 2552"/>
              <a:gd name="T1" fmla="*/ 0 h 616"/>
              <a:gd name="T2" fmla="*/ 968 w 2552"/>
              <a:gd name="T3" fmla="*/ 432 h 616"/>
              <a:gd name="T4" fmla="*/ 2552 w 2552"/>
              <a:gd name="T5" fmla="*/ 616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52" h="616">
                <a:moveTo>
                  <a:pt x="0" y="0"/>
                </a:moveTo>
                <a:cubicBezTo>
                  <a:pt x="271" y="164"/>
                  <a:pt x="543" y="329"/>
                  <a:pt x="968" y="432"/>
                </a:cubicBezTo>
                <a:cubicBezTo>
                  <a:pt x="1393" y="535"/>
                  <a:pt x="1972" y="575"/>
                  <a:pt x="2552" y="616"/>
                </a:cubicBezTo>
              </a:path>
            </a:pathLst>
          </a:cu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40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904F9E9-58DC-3ED3-B34F-EC9310F8A00F}"/>
              </a:ext>
            </a:extLst>
          </p:cNvPr>
          <p:cNvSpPr/>
          <p:nvPr/>
        </p:nvSpPr>
        <p:spPr>
          <a:xfrm>
            <a:off x="8401403" y="2746798"/>
            <a:ext cx="398457" cy="398457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C08B631-A4B7-A236-0C8B-CD22F61CF4A3}"/>
              </a:ext>
            </a:extLst>
          </p:cNvPr>
          <p:cNvSpPr/>
          <p:nvPr/>
        </p:nvSpPr>
        <p:spPr>
          <a:xfrm>
            <a:off x="8883390" y="2746798"/>
            <a:ext cx="398457" cy="398457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C487E6C-847F-F5AA-6050-847C43E260E5}"/>
              </a:ext>
            </a:extLst>
          </p:cNvPr>
          <p:cNvSpPr/>
          <p:nvPr/>
        </p:nvSpPr>
        <p:spPr>
          <a:xfrm>
            <a:off x="9365375" y="2746798"/>
            <a:ext cx="398457" cy="398457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3EE08FD-8B17-F3FE-9E2B-6B3CA3D52257}"/>
              </a:ext>
            </a:extLst>
          </p:cNvPr>
          <p:cNvSpPr/>
          <p:nvPr/>
        </p:nvSpPr>
        <p:spPr>
          <a:xfrm>
            <a:off x="6894935" y="265663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00642F2-B626-AC42-16E2-D2D52006E077}"/>
              </a:ext>
            </a:extLst>
          </p:cNvPr>
          <p:cNvSpPr/>
          <p:nvPr/>
        </p:nvSpPr>
        <p:spPr>
          <a:xfrm>
            <a:off x="7376921" y="265663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FE960E6-93B5-98FD-4EEA-9AD24090185B}"/>
              </a:ext>
            </a:extLst>
          </p:cNvPr>
          <p:cNvSpPr/>
          <p:nvPr/>
        </p:nvSpPr>
        <p:spPr>
          <a:xfrm>
            <a:off x="7947759" y="268438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0496473-BB8D-7B0F-8CD7-D217FFC7B5A2}"/>
              </a:ext>
            </a:extLst>
          </p:cNvPr>
          <p:cNvSpPr/>
          <p:nvPr/>
        </p:nvSpPr>
        <p:spPr>
          <a:xfrm>
            <a:off x="7125037" y="2927169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D76BFDD-481D-A49B-213D-BBE61F4B7312}"/>
              </a:ext>
            </a:extLst>
          </p:cNvPr>
          <p:cNvSpPr/>
          <p:nvPr/>
        </p:nvSpPr>
        <p:spPr>
          <a:xfrm>
            <a:off x="7607024" y="2913605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6A5C9E2-294D-6009-9279-83B0AF7E46CA}"/>
              </a:ext>
            </a:extLst>
          </p:cNvPr>
          <p:cNvSpPr/>
          <p:nvPr/>
        </p:nvSpPr>
        <p:spPr>
          <a:xfrm>
            <a:off x="5378396" y="249762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5C861CA5-0E5C-A45D-7A58-6B5465A22485}"/>
              </a:ext>
            </a:extLst>
          </p:cNvPr>
          <p:cNvSpPr/>
          <p:nvPr/>
        </p:nvSpPr>
        <p:spPr>
          <a:xfrm>
            <a:off x="5860383" y="253240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0EEEE81-B520-B23C-8B45-052EA070F380}"/>
              </a:ext>
            </a:extLst>
          </p:cNvPr>
          <p:cNvSpPr/>
          <p:nvPr/>
        </p:nvSpPr>
        <p:spPr>
          <a:xfrm>
            <a:off x="6342368" y="2625233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DEA5CDE3-3E78-50C5-DD32-6ED5DFE47E20}"/>
              </a:ext>
            </a:extLst>
          </p:cNvPr>
          <p:cNvSpPr/>
          <p:nvPr/>
        </p:nvSpPr>
        <p:spPr>
          <a:xfrm>
            <a:off x="5606885" y="273545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1927380-A25F-43EC-748B-27C31D577166}"/>
              </a:ext>
            </a:extLst>
          </p:cNvPr>
          <p:cNvSpPr/>
          <p:nvPr/>
        </p:nvSpPr>
        <p:spPr>
          <a:xfrm>
            <a:off x="6054474" y="280514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4D96980-1A4A-9AC1-C150-1869782A2FE1}"/>
              </a:ext>
            </a:extLst>
          </p:cNvPr>
          <p:cNvSpPr/>
          <p:nvPr/>
        </p:nvSpPr>
        <p:spPr>
          <a:xfrm>
            <a:off x="6502982" y="2971079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43EA1B10-935D-42A1-83B8-D3E9D5507AD2}"/>
              </a:ext>
            </a:extLst>
          </p:cNvPr>
          <p:cNvSpPr/>
          <p:nvPr/>
        </p:nvSpPr>
        <p:spPr>
          <a:xfrm>
            <a:off x="5414951" y="3055653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7168AA4-72AB-873D-3594-704177E25172}"/>
              </a:ext>
            </a:extLst>
          </p:cNvPr>
          <p:cNvSpPr/>
          <p:nvPr/>
        </p:nvSpPr>
        <p:spPr>
          <a:xfrm>
            <a:off x="5810330" y="3026756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51B9DD64-1DC8-2536-B236-A45A43F22D2E}"/>
              </a:ext>
            </a:extLst>
          </p:cNvPr>
          <p:cNvSpPr/>
          <p:nvPr/>
        </p:nvSpPr>
        <p:spPr>
          <a:xfrm>
            <a:off x="3872510" y="2268005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BE30809-4C3C-71CD-2483-C8A14BF8D148}"/>
              </a:ext>
            </a:extLst>
          </p:cNvPr>
          <p:cNvSpPr/>
          <p:nvPr/>
        </p:nvSpPr>
        <p:spPr>
          <a:xfrm>
            <a:off x="4381177" y="2397941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77B2866-C45E-55B6-3605-2DFCF89C21D2}"/>
              </a:ext>
            </a:extLst>
          </p:cNvPr>
          <p:cNvSpPr/>
          <p:nvPr/>
        </p:nvSpPr>
        <p:spPr>
          <a:xfrm>
            <a:off x="4910510" y="247001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ED2E412-6E0C-99B7-177F-60B847B520C8}"/>
              </a:ext>
            </a:extLst>
          </p:cNvPr>
          <p:cNvSpPr/>
          <p:nvPr/>
        </p:nvSpPr>
        <p:spPr>
          <a:xfrm>
            <a:off x="4127680" y="273545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C05D774B-8F1A-19C3-50E5-6E003C5CAB42}"/>
              </a:ext>
            </a:extLst>
          </p:cNvPr>
          <p:cNvSpPr/>
          <p:nvPr/>
        </p:nvSpPr>
        <p:spPr>
          <a:xfrm>
            <a:off x="4575268" y="280514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F01F9720-BB1C-A0CE-4A2B-2E0E5E15E2E5}"/>
              </a:ext>
            </a:extLst>
          </p:cNvPr>
          <p:cNvSpPr/>
          <p:nvPr/>
        </p:nvSpPr>
        <p:spPr>
          <a:xfrm>
            <a:off x="4831385" y="3140255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B11BE087-598D-CF34-6C71-4C65A7B89326}"/>
              </a:ext>
            </a:extLst>
          </p:cNvPr>
          <p:cNvSpPr/>
          <p:nvPr/>
        </p:nvSpPr>
        <p:spPr>
          <a:xfrm>
            <a:off x="3935746" y="3211646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3FF75EB8-4E41-6803-13ED-DD738E80C780}"/>
              </a:ext>
            </a:extLst>
          </p:cNvPr>
          <p:cNvSpPr/>
          <p:nvPr/>
        </p:nvSpPr>
        <p:spPr>
          <a:xfrm>
            <a:off x="4331124" y="318275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218BED1-B123-07B3-439E-EEBAB445AF1E}"/>
              </a:ext>
            </a:extLst>
          </p:cNvPr>
          <p:cNvSpPr/>
          <p:nvPr/>
        </p:nvSpPr>
        <p:spPr>
          <a:xfrm>
            <a:off x="2332714" y="190286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F60AF35-4BBF-0A3F-3D7F-B3D779DD7B9F}"/>
              </a:ext>
            </a:extLst>
          </p:cNvPr>
          <p:cNvSpPr/>
          <p:nvPr/>
        </p:nvSpPr>
        <p:spPr>
          <a:xfrm>
            <a:off x="2794005" y="2067783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103F920-23A0-7604-61B8-B52F61D60C64}"/>
              </a:ext>
            </a:extLst>
          </p:cNvPr>
          <p:cNvSpPr/>
          <p:nvPr/>
        </p:nvSpPr>
        <p:spPr>
          <a:xfrm>
            <a:off x="3332584" y="235991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B3A1603-0D05-E710-E5DB-E33AF07EFCA3}"/>
              </a:ext>
            </a:extLst>
          </p:cNvPr>
          <p:cNvSpPr/>
          <p:nvPr/>
        </p:nvSpPr>
        <p:spPr>
          <a:xfrm>
            <a:off x="2332714" y="2509584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776E6A9B-27D9-89FD-637D-86165CF20E5D}"/>
              </a:ext>
            </a:extLst>
          </p:cNvPr>
          <p:cNvSpPr/>
          <p:nvPr/>
        </p:nvSpPr>
        <p:spPr>
          <a:xfrm>
            <a:off x="2794005" y="2579273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34DB7E5E-BA1C-F2D7-C60F-3E8F2D2804AC}"/>
              </a:ext>
            </a:extLst>
          </p:cNvPr>
          <p:cNvSpPr/>
          <p:nvPr/>
        </p:nvSpPr>
        <p:spPr>
          <a:xfrm>
            <a:off x="3498144" y="2844695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F628BA6-2368-9E24-1D6B-A87761360444}"/>
              </a:ext>
            </a:extLst>
          </p:cNvPr>
          <p:cNvSpPr/>
          <p:nvPr/>
        </p:nvSpPr>
        <p:spPr>
          <a:xfrm>
            <a:off x="2332714" y="366571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698E3E5E-77EB-438F-45D2-C35205F4BBDC}"/>
              </a:ext>
            </a:extLst>
          </p:cNvPr>
          <p:cNvSpPr/>
          <p:nvPr/>
        </p:nvSpPr>
        <p:spPr>
          <a:xfrm>
            <a:off x="2794005" y="363681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7042C00A-B054-D832-D03B-C4A47B1E2CC0}"/>
              </a:ext>
            </a:extLst>
          </p:cNvPr>
          <p:cNvSpPr/>
          <p:nvPr/>
        </p:nvSpPr>
        <p:spPr>
          <a:xfrm>
            <a:off x="3337946" y="3373464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AE7BB03D-CB63-3C1C-DB4B-73C288221EBA}"/>
              </a:ext>
            </a:extLst>
          </p:cNvPr>
          <p:cNvSpPr/>
          <p:nvPr/>
        </p:nvSpPr>
        <p:spPr>
          <a:xfrm>
            <a:off x="2332714" y="3197307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2430796-D0C6-A398-80F2-6A4B9B3CDEC8}"/>
              </a:ext>
            </a:extLst>
          </p:cNvPr>
          <p:cNvSpPr/>
          <p:nvPr/>
        </p:nvSpPr>
        <p:spPr>
          <a:xfrm>
            <a:off x="2794005" y="3110116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0E6B78FA-06CB-8B31-470D-B597667C2DFB}"/>
              </a:ext>
            </a:extLst>
          </p:cNvPr>
          <p:cNvSpPr>
            <a:spLocks/>
          </p:cNvSpPr>
          <p:nvPr/>
        </p:nvSpPr>
        <p:spPr>
          <a:xfrm>
            <a:off x="2580538" y="2908324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CE6C2615-1F09-5890-AF0E-41ABBC0AB227}"/>
              </a:ext>
            </a:extLst>
          </p:cNvPr>
          <p:cNvSpPr/>
          <p:nvPr/>
        </p:nvSpPr>
        <p:spPr>
          <a:xfrm>
            <a:off x="4221288" y="2297298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6B41ACF0-D639-3324-C9D0-CDC6DD89FE73}"/>
              </a:ext>
            </a:extLst>
          </p:cNvPr>
          <p:cNvSpPr/>
          <p:nvPr/>
        </p:nvSpPr>
        <p:spPr>
          <a:xfrm>
            <a:off x="3956918" y="294827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816863FC-13F4-1EF7-4225-88FF7BE38E75}"/>
              </a:ext>
            </a:extLst>
          </p:cNvPr>
          <p:cNvSpPr/>
          <p:nvPr/>
        </p:nvSpPr>
        <p:spPr>
          <a:xfrm>
            <a:off x="6237496" y="3125049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2EEF6D11-5A42-8650-AC96-F560F7BB546D}"/>
              </a:ext>
            </a:extLst>
          </p:cNvPr>
          <p:cNvSpPr/>
          <p:nvPr/>
        </p:nvSpPr>
        <p:spPr>
          <a:xfrm>
            <a:off x="8074830" y="300849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68AB831F-786D-A985-F231-1A3C55FE94A9}"/>
              </a:ext>
            </a:extLst>
          </p:cNvPr>
          <p:cNvSpPr/>
          <p:nvPr/>
        </p:nvSpPr>
        <p:spPr>
          <a:xfrm>
            <a:off x="3197619" y="213295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5C98340-D617-8B39-46CD-EAFAFD370DC7}"/>
              </a:ext>
            </a:extLst>
          </p:cNvPr>
          <p:cNvSpPr>
            <a:spLocks/>
          </p:cNvSpPr>
          <p:nvPr/>
        </p:nvSpPr>
        <p:spPr>
          <a:xfrm>
            <a:off x="3083912" y="3420854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0A41893D-CFFA-2322-CD96-755CFCC3BACB}"/>
              </a:ext>
            </a:extLst>
          </p:cNvPr>
          <p:cNvSpPr>
            <a:spLocks/>
          </p:cNvSpPr>
          <p:nvPr/>
        </p:nvSpPr>
        <p:spPr>
          <a:xfrm>
            <a:off x="3260398" y="309963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7E6EDF28-8E3C-3E9E-6F41-667D58E969FF}"/>
              </a:ext>
            </a:extLst>
          </p:cNvPr>
          <p:cNvSpPr>
            <a:spLocks/>
          </p:cNvSpPr>
          <p:nvPr/>
        </p:nvSpPr>
        <p:spPr>
          <a:xfrm>
            <a:off x="3219897" y="2672419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A50B44CC-F3F2-2FE9-8672-0FE36583F18F}"/>
              </a:ext>
            </a:extLst>
          </p:cNvPr>
          <p:cNvSpPr>
            <a:spLocks/>
          </p:cNvSpPr>
          <p:nvPr/>
        </p:nvSpPr>
        <p:spPr>
          <a:xfrm>
            <a:off x="2596945" y="2306528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FF16C5E2-9957-8D00-9625-7D948F4D5263}"/>
              </a:ext>
            </a:extLst>
          </p:cNvPr>
          <p:cNvSpPr>
            <a:spLocks/>
          </p:cNvSpPr>
          <p:nvPr/>
        </p:nvSpPr>
        <p:spPr>
          <a:xfrm>
            <a:off x="2767446" y="344444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34CD91F7-770A-2357-EAAF-08195C951DFF}"/>
              </a:ext>
            </a:extLst>
          </p:cNvPr>
          <p:cNvSpPr>
            <a:spLocks/>
          </p:cNvSpPr>
          <p:nvPr/>
        </p:nvSpPr>
        <p:spPr>
          <a:xfrm>
            <a:off x="3031785" y="291672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CD2773A-1BA6-0B42-896B-4593CDAA496E}"/>
              </a:ext>
            </a:extLst>
          </p:cNvPr>
          <p:cNvSpPr>
            <a:spLocks/>
          </p:cNvSpPr>
          <p:nvPr/>
        </p:nvSpPr>
        <p:spPr>
          <a:xfrm>
            <a:off x="2686540" y="1891100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2E06B394-32A7-1560-992C-0B9CAEB947B1}"/>
              </a:ext>
            </a:extLst>
          </p:cNvPr>
          <p:cNvSpPr>
            <a:spLocks/>
          </p:cNvSpPr>
          <p:nvPr/>
        </p:nvSpPr>
        <p:spPr>
          <a:xfrm>
            <a:off x="3047200" y="239962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1E8A1071-0D0A-7D91-54A7-7BE9C921B3FF}"/>
              </a:ext>
            </a:extLst>
          </p:cNvPr>
          <p:cNvSpPr>
            <a:spLocks/>
          </p:cNvSpPr>
          <p:nvPr/>
        </p:nvSpPr>
        <p:spPr>
          <a:xfrm>
            <a:off x="3189774" y="3665902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34BEF865-8F08-C93A-223C-1FD4F707C3FE}"/>
              </a:ext>
            </a:extLst>
          </p:cNvPr>
          <p:cNvSpPr>
            <a:spLocks/>
          </p:cNvSpPr>
          <p:nvPr/>
        </p:nvSpPr>
        <p:spPr>
          <a:xfrm>
            <a:off x="2628324" y="3877954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B3E93AC5-1DEC-FA8C-8D28-6BB30A742B6F}"/>
              </a:ext>
            </a:extLst>
          </p:cNvPr>
          <p:cNvSpPr>
            <a:spLocks/>
          </p:cNvSpPr>
          <p:nvPr/>
        </p:nvSpPr>
        <p:spPr>
          <a:xfrm>
            <a:off x="4940624" y="286459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C78C0C8A-696E-7C09-9566-D1D3B5120A8E}"/>
              </a:ext>
            </a:extLst>
          </p:cNvPr>
          <p:cNvSpPr>
            <a:spLocks/>
          </p:cNvSpPr>
          <p:nvPr/>
        </p:nvSpPr>
        <p:spPr>
          <a:xfrm>
            <a:off x="6866202" y="3055653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87EE6038-5220-385E-8935-297733ABD984}"/>
              </a:ext>
            </a:extLst>
          </p:cNvPr>
          <p:cNvSpPr>
            <a:spLocks/>
          </p:cNvSpPr>
          <p:nvPr/>
        </p:nvSpPr>
        <p:spPr>
          <a:xfrm>
            <a:off x="6635681" y="276418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2ED0CB65-D561-699B-C34B-BB93336B1171}"/>
              </a:ext>
            </a:extLst>
          </p:cNvPr>
          <p:cNvSpPr>
            <a:spLocks/>
          </p:cNvSpPr>
          <p:nvPr/>
        </p:nvSpPr>
        <p:spPr>
          <a:xfrm>
            <a:off x="7731814" y="270978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599CFBC8-5D25-6005-470B-01C922C5062E}"/>
              </a:ext>
            </a:extLst>
          </p:cNvPr>
          <p:cNvSpPr>
            <a:spLocks/>
          </p:cNvSpPr>
          <p:nvPr/>
        </p:nvSpPr>
        <p:spPr>
          <a:xfrm>
            <a:off x="3302898" y="2858380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059D518B-132A-8837-6AFE-EA20C13C3149}"/>
              </a:ext>
            </a:extLst>
          </p:cNvPr>
          <p:cNvSpPr>
            <a:spLocks/>
          </p:cNvSpPr>
          <p:nvPr/>
        </p:nvSpPr>
        <p:spPr>
          <a:xfrm>
            <a:off x="2366021" y="291267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7BAEE27B-7B6B-B51D-3FC8-1902E8187712}"/>
              </a:ext>
            </a:extLst>
          </p:cNvPr>
          <p:cNvSpPr>
            <a:spLocks/>
          </p:cNvSpPr>
          <p:nvPr/>
        </p:nvSpPr>
        <p:spPr>
          <a:xfrm>
            <a:off x="2393271" y="2249860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6D61E7FC-D86E-51FF-67CE-74A43C22DE5E}"/>
              </a:ext>
            </a:extLst>
          </p:cNvPr>
          <p:cNvSpPr>
            <a:spLocks/>
          </p:cNvSpPr>
          <p:nvPr/>
        </p:nvSpPr>
        <p:spPr>
          <a:xfrm>
            <a:off x="3593881" y="320116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F96D48FD-CA32-09B2-8971-7118069DBA59}"/>
              </a:ext>
            </a:extLst>
          </p:cNvPr>
          <p:cNvSpPr>
            <a:spLocks/>
          </p:cNvSpPr>
          <p:nvPr/>
        </p:nvSpPr>
        <p:spPr>
          <a:xfrm>
            <a:off x="3674094" y="3545672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F2C80FF3-A99D-ACB2-6C47-0B51DAA4B980}"/>
              </a:ext>
            </a:extLst>
          </p:cNvPr>
          <p:cNvSpPr>
            <a:spLocks/>
          </p:cNvSpPr>
          <p:nvPr/>
        </p:nvSpPr>
        <p:spPr>
          <a:xfrm>
            <a:off x="3660802" y="2546599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9581310D-F481-C6C8-9879-DBDFD51D9C4A}"/>
              </a:ext>
            </a:extLst>
          </p:cNvPr>
          <p:cNvSpPr>
            <a:spLocks/>
          </p:cNvSpPr>
          <p:nvPr/>
        </p:nvSpPr>
        <p:spPr>
          <a:xfrm>
            <a:off x="3537141" y="2155572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B101505C-0B14-ADEC-1614-161ECFDDEFE1}"/>
              </a:ext>
            </a:extLst>
          </p:cNvPr>
          <p:cNvSpPr>
            <a:spLocks/>
          </p:cNvSpPr>
          <p:nvPr/>
        </p:nvSpPr>
        <p:spPr>
          <a:xfrm>
            <a:off x="4160128" y="2529025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A1CA4EEB-1949-7986-5121-1C46E2B0F2E3}"/>
              </a:ext>
            </a:extLst>
          </p:cNvPr>
          <p:cNvSpPr>
            <a:spLocks/>
          </p:cNvSpPr>
          <p:nvPr/>
        </p:nvSpPr>
        <p:spPr>
          <a:xfrm>
            <a:off x="3917352" y="267135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7BC437EB-4F6B-547C-2035-9B36F3D7D760}"/>
              </a:ext>
            </a:extLst>
          </p:cNvPr>
          <p:cNvSpPr>
            <a:spLocks/>
          </p:cNvSpPr>
          <p:nvPr/>
        </p:nvSpPr>
        <p:spPr>
          <a:xfrm>
            <a:off x="2560664" y="351019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207A2836-B199-DA00-6599-98C61092D2E0}"/>
              </a:ext>
            </a:extLst>
          </p:cNvPr>
          <p:cNvSpPr>
            <a:spLocks/>
          </p:cNvSpPr>
          <p:nvPr/>
        </p:nvSpPr>
        <p:spPr>
          <a:xfrm>
            <a:off x="5137510" y="3027145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A55EEE7A-C756-454D-803D-D2DAC7FF3ADE}"/>
              </a:ext>
            </a:extLst>
          </p:cNvPr>
          <p:cNvSpPr>
            <a:spLocks/>
          </p:cNvSpPr>
          <p:nvPr/>
        </p:nvSpPr>
        <p:spPr>
          <a:xfrm>
            <a:off x="4167709" y="306813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cxnSp>
        <p:nvCxnSpPr>
          <p:cNvPr id="22" name="Line">
            <a:extLst>
              <a:ext uri="{FF2B5EF4-FFF2-40B4-BE49-F238E27FC236}">
                <a16:creationId xmlns:a16="http://schemas.microsoft.com/office/drawing/2014/main" id="{37D7C8D7-4608-4658-7885-7CB8C6710291}"/>
              </a:ext>
            </a:extLst>
          </p:cNvPr>
          <p:cNvCxnSpPr/>
          <p:nvPr/>
        </p:nvCxnSpPr>
        <p:spPr>
          <a:xfrm flipH="1">
            <a:off x="2928023" y="1647272"/>
            <a:ext cx="32310" cy="4019152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Line">
            <a:extLst>
              <a:ext uri="{FF2B5EF4-FFF2-40B4-BE49-F238E27FC236}">
                <a16:creationId xmlns:a16="http://schemas.microsoft.com/office/drawing/2014/main" id="{64830D8E-2E4D-8236-8B17-1BD06B972D4A}"/>
              </a:ext>
            </a:extLst>
          </p:cNvPr>
          <p:cNvCxnSpPr/>
          <p:nvPr/>
        </p:nvCxnSpPr>
        <p:spPr>
          <a:xfrm flipH="1">
            <a:off x="4986086" y="1647272"/>
            <a:ext cx="32310" cy="4019152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ne">
            <a:extLst>
              <a:ext uri="{FF2B5EF4-FFF2-40B4-BE49-F238E27FC236}">
                <a16:creationId xmlns:a16="http://schemas.microsoft.com/office/drawing/2014/main" id="{B2C5BDEC-0ED5-36DF-D1FB-2FC35F0ABB9D}"/>
              </a:ext>
            </a:extLst>
          </p:cNvPr>
          <p:cNvCxnSpPr/>
          <p:nvPr/>
        </p:nvCxnSpPr>
        <p:spPr>
          <a:xfrm flipH="1">
            <a:off x="7045117" y="1647272"/>
            <a:ext cx="32310" cy="4019152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Line">
            <a:extLst>
              <a:ext uri="{FF2B5EF4-FFF2-40B4-BE49-F238E27FC236}">
                <a16:creationId xmlns:a16="http://schemas.microsoft.com/office/drawing/2014/main" id="{D03D4A33-2F88-EA65-A67D-81D9379EF9F8}"/>
              </a:ext>
            </a:extLst>
          </p:cNvPr>
          <p:cNvCxnSpPr/>
          <p:nvPr/>
        </p:nvCxnSpPr>
        <p:spPr>
          <a:xfrm flipH="1">
            <a:off x="9066290" y="1647272"/>
            <a:ext cx="32310" cy="4019152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EDBBA9B2-A6BF-90DF-76F5-63EE1E70227B}"/>
              </a:ext>
            </a:extLst>
          </p:cNvPr>
          <p:cNvSpPr txBox="1">
            <a:spLocks/>
          </p:cNvSpPr>
          <p:nvPr/>
        </p:nvSpPr>
        <p:spPr>
          <a:xfrm>
            <a:off x="1148250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1CF1DD0-8781-8725-1890-6FA418B075B5}"/>
              </a:ext>
            </a:extLst>
          </p:cNvPr>
          <p:cNvSpPr txBox="1">
            <a:spLocks/>
          </p:cNvSpPr>
          <p:nvPr/>
        </p:nvSpPr>
        <p:spPr>
          <a:xfrm>
            <a:off x="3218377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475854B-3329-6BF0-F2F2-D9846B2D611F}"/>
              </a:ext>
            </a:extLst>
          </p:cNvPr>
          <p:cNvSpPr txBox="1">
            <a:spLocks/>
          </p:cNvSpPr>
          <p:nvPr/>
        </p:nvSpPr>
        <p:spPr>
          <a:xfrm>
            <a:off x="5274860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13BC3FB-7795-D56C-4700-4052FD161BC7}"/>
              </a:ext>
            </a:extLst>
          </p:cNvPr>
          <p:cNvSpPr txBox="1">
            <a:spLocks/>
          </p:cNvSpPr>
          <p:nvPr/>
        </p:nvSpPr>
        <p:spPr>
          <a:xfrm>
            <a:off x="7326105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2B41ACB-D794-030A-7071-0F98E4B35F3E}"/>
              </a:ext>
            </a:extLst>
          </p:cNvPr>
          <p:cNvSpPr txBox="1">
            <a:spLocks/>
          </p:cNvSpPr>
          <p:nvPr/>
        </p:nvSpPr>
        <p:spPr>
          <a:xfrm>
            <a:off x="9349047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BF8BCAAA-7FA3-AC66-EAE5-9DE9C04D36B9}"/>
              </a:ext>
            </a:extLst>
          </p:cNvPr>
          <p:cNvSpPr txBox="1">
            <a:spLocks/>
          </p:cNvSpPr>
          <p:nvPr/>
        </p:nvSpPr>
        <p:spPr>
          <a:xfrm flipH="1">
            <a:off x="1052121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8" name="Inhaltsplatzhalter 4">
            <a:extLst>
              <a:ext uri="{FF2B5EF4-FFF2-40B4-BE49-F238E27FC236}">
                <a16:creationId xmlns:a16="http://schemas.microsoft.com/office/drawing/2014/main" id="{03C17833-C1E7-5DA6-4054-C7FCB0FFA752}"/>
              </a:ext>
            </a:extLst>
          </p:cNvPr>
          <p:cNvSpPr txBox="1">
            <a:spLocks/>
          </p:cNvSpPr>
          <p:nvPr/>
        </p:nvSpPr>
        <p:spPr>
          <a:xfrm flipH="1">
            <a:off x="3059488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9" name="Inhaltsplatzhalter 4">
            <a:extLst>
              <a:ext uri="{FF2B5EF4-FFF2-40B4-BE49-F238E27FC236}">
                <a16:creationId xmlns:a16="http://schemas.microsoft.com/office/drawing/2014/main" id="{D8616762-304B-EAF8-6E69-9240641EB4E3}"/>
              </a:ext>
            </a:extLst>
          </p:cNvPr>
          <p:cNvSpPr txBox="1">
            <a:spLocks/>
          </p:cNvSpPr>
          <p:nvPr/>
        </p:nvSpPr>
        <p:spPr>
          <a:xfrm flipH="1">
            <a:off x="5131392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3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0" name="Inhaltsplatzhalter 4">
            <a:extLst>
              <a:ext uri="{FF2B5EF4-FFF2-40B4-BE49-F238E27FC236}">
                <a16:creationId xmlns:a16="http://schemas.microsoft.com/office/drawing/2014/main" id="{B775BF75-2B26-A0E4-D00B-5ECF93AFB638}"/>
              </a:ext>
            </a:extLst>
          </p:cNvPr>
          <p:cNvSpPr txBox="1">
            <a:spLocks/>
          </p:cNvSpPr>
          <p:nvPr/>
        </p:nvSpPr>
        <p:spPr>
          <a:xfrm flipH="1">
            <a:off x="7143152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1" name="Inhaltsplatzhalter 4">
            <a:extLst>
              <a:ext uri="{FF2B5EF4-FFF2-40B4-BE49-F238E27FC236}">
                <a16:creationId xmlns:a16="http://schemas.microsoft.com/office/drawing/2014/main" id="{2540F05D-BC46-0DB6-2B4B-C255001DF749}"/>
              </a:ext>
            </a:extLst>
          </p:cNvPr>
          <p:cNvSpPr txBox="1">
            <a:spLocks/>
          </p:cNvSpPr>
          <p:nvPr/>
        </p:nvSpPr>
        <p:spPr>
          <a:xfrm flipH="1">
            <a:off x="9223181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5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</p:spTree>
    <p:extLst>
      <p:ext uri="{BB962C8B-B14F-4D97-AF65-F5344CB8AC3E}">
        <p14:creationId xmlns:p14="http://schemas.microsoft.com/office/powerpoint/2010/main" val="2003147112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934A0-E945-6556-0681-CF9A69A99E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E850B7B-5145-498B-7423-3134F2D5E2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55A5EC-B73C-514B-224C-7F5BE087D0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A7EDDA-AC6B-928A-5A22-0F4A79609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C527BFD-7B53-D537-370F-47DC7EE9333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2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0" name="กลุ่ม 25">
            <a:extLst>
              <a:ext uri="{FF2B5EF4-FFF2-40B4-BE49-F238E27FC236}">
                <a16:creationId xmlns:a16="http://schemas.microsoft.com/office/drawing/2014/main" id="{DD571494-BCFD-96BF-5DC7-02EF72F1C7A4}"/>
              </a:ext>
            </a:extLst>
          </p:cNvPr>
          <p:cNvGrpSpPr/>
          <p:nvPr/>
        </p:nvGrpSpPr>
        <p:grpSpPr>
          <a:xfrm>
            <a:off x="3158156" y="1093894"/>
            <a:ext cx="5474658" cy="4860796"/>
            <a:chOff x="3814763" y="3810000"/>
            <a:chExt cx="9018587" cy="8007351"/>
          </a:xfrm>
        </p:grpSpPr>
        <p:sp>
          <p:nvSpPr>
            <p:cNvPr id="110" name="Oval 6">
              <a:extLst>
                <a:ext uri="{FF2B5EF4-FFF2-40B4-BE49-F238E27FC236}">
                  <a16:creationId xmlns:a16="http://schemas.microsoft.com/office/drawing/2014/main" id="{D9377C49-040E-2517-42D3-8BFAD4D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4763" y="3810000"/>
              <a:ext cx="9018587" cy="86042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1" name="Freeform 7">
              <a:extLst>
                <a:ext uri="{FF2B5EF4-FFF2-40B4-BE49-F238E27FC236}">
                  <a16:creationId xmlns:a16="http://schemas.microsoft.com/office/drawing/2014/main" id="{5CAFB536-D469-8289-81E0-01A0AFE56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6813" y="7720013"/>
              <a:ext cx="4154487" cy="1646238"/>
            </a:xfrm>
            <a:custGeom>
              <a:avLst/>
              <a:gdLst>
                <a:gd name="T0" fmla="*/ 189 w 222"/>
                <a:gd name="T1" fmla="*/ 87 h 88"/>
                <a:gd name="T2" fmla="*/ 222 w 222"/>
                <a:gd name="T3" fmla="*/ 1 h 88"/>
                <a:gd name="T4" fmla="*/ 120 w 222"/>
                <a:gd name="T5" fmla="*/ 3 h 88"/>
                <a:gd name="T6" fmla="*/ 0 w 222"/>
                <a:gd name="T7" fmla="*/ 0 h 88"/>
                <a:gd name="T8" fmla="*/ 33 w 222"/>
                <a:gd name="T9" fmla="*/ 86 h 88"/>
                <a:gd name="T10" fmla="*/ 121 w 222"/>
                <a:gd name="T11" fmla="*/ 88 h 88"/>
                <a:gd name="T12" fmla="*/ 189 w 222"/>
                <a:gd name="T13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2" h="88">
                  <a:moveTo>
                    <a:pt x="189" y="87"/>
                  </a:moveTo>
                  <a:cubicBezTo>
                    <a:pt x="197" y="56"/>
                    <a:pt x="208" y="27"/>
                    <a:pt x="222" y="1"/>
                  </a:cubicBezTo>
                  <a:cubicBezTo>
                    <a:pt x="189" y="2"/>
                    <a:pt x="155" y="3"/>
                    <a:pt x="120" y="3"/>
                  </a:cubicBezTo>
                  <a:cubicBezTo>
                    <a:pt x="79" y="3"/>
                    <a:pt x="39" y="2"/>
                    <a:pt x="0" y="0"/>
                  </a:cubicBezTo>
                  <a:cubicBezTo>
                    <a:pt x="14" y="26"/>
                    <a:pt x="25" y="55"/>
                    <a:pt x="33" y="86"/>
                  </a:cubicBezTo>
                  <a:cubicBezTo>
                    <a:pt x="62" y="87"/>
                    <a:pt x="91" y="88"/>
                    <a:pt x="121" y="88"/>
                  </a:cubicBezTo>
                  <a:cubicBezTo>
                    <a:pt x="144" y="88"/>
                    <a:pt x="166" y="87"/>
                    <a:pt x="189" y="8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2" name="Freeform 8">
              <a:extLst>
                <a:ext uri="{FF2B5EF4-FFF2-40B4-BE49-F238E27FC236}">
                  <a16:creationId xmlns:a16="http://schemas.microsoft.com/office/drawing/2014/main" id="{DB41F66D-796B-E6B6-FC9D-EA708BDF8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4350" y="9329738"/>
              <a:ext cx="2919412" cy="2487613"/>
            </a:xfrm>
            <a:custGeom>
              <a:avLst/>
              <a:gdLst>
                <a:gd name="T0" fmla="*/ 156 w 156"/>
                <a:gd name="T1" fmla="*/ 1 h 133"/>
                <a:gd name="T2" fmla="*/ 88 w 156"/>
                <a:gd name="T3" fmla="*/ 2 h 133"/>
                <a:gd name="T4" fmla="*/ 0 w 156"/>
                <a:gd name="T5" fmla="*/ 0 h 133"/>
                <a:gd name="T6" fmla="*/ 18 w 156"/>
                <a:gd name="T7" fmla="*/ 124 h 133"/>
                <a:gd name="T8" fmla="*/ 18 w 156"/>
                <a:gd name="T9" fmla="*/ 125 h 133"/>
                <a:gd name="T10" fmla="*/ 78 w 156"/>
                <a:gd name="T11" fmla="*/ 133 h 133"/>
                <a:gd name="T12" fmla="*/ 138 w 156"/>
                <a:gd name="T13" fmla="*/ 125 h 133"/>
                <a:gd name="T14" fmla="*/ 138 w 156"/>
                <a:gd name="T15" fmla="*/ 125 h 133"/>
                <a:gd name="T16" fmla="*/ 138 w 156"/>
                <a:gd name="T17" fmla="*/ 125 h 133"/>
                <a:gd name="T18" fmla="*/ 156 w 156"/>
                <a:gd name="T19" fmla="*/ 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33">
                  <a:moveTo>
                    <a:pt x="156" y="1"/>
                  </a:moveTo>
                  <a:cubicBezTo>
                    <a:pt x="133" y="1"/>
                    <a:pt x="111" y="2"/>
                    <a:pt x="88" y="2"/>
                  </a:cubicBezTo>
                  <a:cubicBezTo>
                    <a:pt x="58" y="2"/>
                    <a:pt x="29" y="1"/>
                    <a:pt x="0" y="0"/>
                  </a:cubicBezTo>
                  <a:cubicBezTo>
                    <a:pt x="11" y="39"/>
                    <a:pt x="17" y="81"/>
                    <a:pt x="18" y="124"/>
                  </a:cubicBezTo>
                  <a:cubicBezTo>
                    <a:pt x="18" y="124"/>
                    <a:pt x="18" y="125"/>
                    <a:pt x="18" y="125"/>
                  </a:cubicBezTo>
                  <a:cubicBezTo>
                    <a:pt x="18" y="130"/>
                    <a:pt x="45" y="133"/>
                    <a:pt x="78" y="133"/>
                  </a:cubicBezTo>
                  <a:cubicBezTo>
                    <a:pt x="111" y="133"/>
                    <a:pt x="138" y="130"/>
                    <a:pt x="138" y="125"/>
                  </a:cubicBezTo>
                  <a:cubicBezTo>
                    <a:pt x="138" y="125"/>
                    <a:pt x="138" y="125"/>
                    <a:pt x="138" y="125"/>
                  </a:cubicBezTo>
                  <a:cubicBezTo>
                    <a:pt x="138" y="125"/>
                    <a:pt x="138" y="125"/>
                    <a:pt x="138" y="125"/>
                  </a:cubicBezTo>
                  <a:cubicBezTo>
                    <a:pt x="139" y="81"/>
                    <a:pt x="145" y="39"/>
                    <a:pt x="15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3" name="Freeform 9">
              <a:extLst>
                <a:ext uri="{FF2B5EF4-FFF2-40B4-BE49-F238E27FC236}">
                  <a16:creationId xmlns:a16="http://schemas.microsoft.com/office/drawing/2014/main" id="{C8AF9FFA-77F6-052A-7461-630835DE2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5400" y="6092825"/>
              <a:ext cx="6418262" cy="1684338"/>
            </a:xfrm>
            <a:custGeom>
              <a:avLst/>
              <a:gdLst>
                <a:gd name="T0" fmla="*/ 182 w 343"/>
                <a:gd name="T1" fmla="*/ 8 h 90"/>
                <a:gd name="T2" fmla="*/ 31 w 343"/>
                <a:gd name="T3" fmla="*/ 3 h 90"/>
                <a:gd name="T4" fmla="*/ 0 w 343"/>
                <a:gd name="T5" fmla="*/ 0 h 90"/>
                <a:gd name="T6" fmla="*/ 61 w 343"/>
                <a:gd name="T7" fmla="*/ 86 h 90"/>
                <a:gd name="T8" fmla="*/ 181 w 343"/>
                <a:gd name="T9" fmla="*/ 90 h 90"/>
                <a:gd name="T10" fmla="*/ 283 w 343"/>
                <a:gd name="T11" fmla="*/ 87 h 90"/>
                <a:gd name="T12" fmla="*/ 343 w 343"/>
                <a:gd name="T13" fmla="*/ 2 h 90"/>
                <a:gd name="T14" fmla="*/ 334 w 343"/>
                <a:gd name="T15" fmla="*/ 3 h 90"/>
                <a:gd name="T16" fmla="*/ 182 w 343"/>
                <a:gd name="T17" fmla="*/ 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0">
                  <a:moveTo>
                    <a:pt x="182" y="8"/>
                  </a:moveTo>
                  <a:cubicBezTo>
                    <a:pt x="130" y="8"/>
                    <a:pt x="79" y="6"/>
                    <a:pt x="31" y="3"/>
                  </a:cubicBezTo>
                  <a:cubicBezTo>
                    <a:pt x="20" y="2"/>
                    <a:pt x="10" y="1"/>
                    <a:pt x="0" y="0"/>
                  </a:cubicBezTo>
                  <a:cubicBezTo>
                    <a:pt x="24" y="24"/>
                    <a:pt x="44" y="53"/>
                    <a:pt x="61" y="86"/>
                  </a:cubicBezTo>
                  <a:cubicBezTo>
                    <a:pt x="100" y="89"/>
                    <a:pt x="140" y="90"/>
                    <a:pt x="181" y="90"/>
                  </a:cubicBezTo>
                  <a:cubicBezTo>
                    <a:pt x="216" y="90"/>
                    <a:pt x="250" y="89"/>
                    <a:pt x="283" y="87"/>
                  </a:cubicBezTo>
                  <a:cubicBezTo>
                    <a:pt x="299" y="54"/>
                    <a:pt x="320" y="25"/>
                    <a:pt x="343" y="2"/>
                  </a:cubicBezTo>
                  <a:cubicBezTo>
                    <a:pt x="340" y="2"/>
                    <a:pt x="337" y="2"/>
                    <a:pt x="334" y="3"/>
                  </a:cubicBezTo>
                  <a:cubicBezTo>
                    <a:pt x="286" y="6"/>
                    <a:pt x="235" y="8"/>
                    <a:pt x="182" y="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4" name="Freeform 10">
              <a:extLst>
                <a:ext uri="{FF2B5EF4-FFF2-40B4-BE49-F238E27FC236}">
                  <a16:creationId xmlns:a16="http://schemas.microsoft.com/office/drawing/2014/main" id="{B090B89C-C28C-97CF-11F6-220D34610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763" y="4352925"/>
              <a:ext cx="9018587" cy="1889125"/>
            </a:xfrm>
            <a:custGeom>
              <a:avLst/>
              <a:gdLst>
                <a:gd name="T0" fmla="*/ 100 w 482"/>
                <a:gd name="T1" fmla="*/ 96 h 101"/>
                <a:gd name="T2" fmla="*/ 251 w 482"/>
                <a:gd name="T3" fmla="*/ 101 h 101"/>
                <a:gd name="T4" fmla="*/ 403 w 482"/>
                <a:gd name="T5" fmla="*/ 96 h 101"/>
                <a:gd name="T6" fmla="*/ 412 w 482"/>
                <a:gd name="T7" fmla="*/ 95 h 101"/>
                <a:gd name="T8" fmla="*/ 482 w 482"/>
                <a:gd name="T9" fmla="*/ 45 h 101"/>
                <a:gd name="T10" fmla="*/ 482 w 482"/>
                <a:gd name="T11" fmla="*/ 1 h 101"/>
                <a:gd name="T12" fmla="*/ 480 w 482"/>
                <a:gd name="T13" fmla="*/ 1 h 101"/>
                <a:gd name="T14" fmla="*/ 241 w 482"/>
                <a:gd name="T15" fmla="*/ 20 h 101"/>
                <a:gd name="T16" fmla="*/ 1 w 482"/>
                <a:gd name="T17" fmla="*/ 0 h 101"/>
                <a:gd name="T18" fmla="*/ 0 w 482"/>
                <a:gd name="T19" fmla="*/ 0 h 101"/>
                <a:gd name="T20" fmla="*/ 0 w 482"/>
                <a:gd name="T21" fmla="*/ 44 h 101"/>
                <a:gd name="T22" fmla="*/ 69 w 482"/>
                <a:gd name="T23" fmla="*/ 93 h 101"/>
                <a:gd name="T24" fmla="*/ 100 w 482"/>
                <a:gd name="T25" fmla="*/ 9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101">
                  <a:moveTo>
                    <a:pt x="100" y="96"/>
                  </a:moveTo>
                  <a:cubicBezTo>
                    <a:pt x="148" y="99"/>
                    <a:pt x="199" y="101"/>
                    <a:pt x="251" y="101"/>
                  </a:cubicBezTo>
                  <a:cubicBezTo>
                    <a:pt x="304" y="101"/>
                    <a:pt x="355" y="99"/>
                    <a:pt x="403" y="96"/>
                  </a:cubicBezTo>
                  <a:cubicBezTo>
                    <a:pt x="406" y="95"/>
                    <a:pt x="409" y="95"/>
                    <a:pt x="412" y="95"/>
                  </a:cubicBezTo>
                  <a:cubicBezTo>
                    <a:pt x="433" y="73"/>
                    <a:pt x="457" y="57"/>
                    <a:pt x="482" y="45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0" y="1"/>
                    <a:pt x="480" y="1"/>
                    <a:pt x="480" y="1"/>
                  </a:cubicBezTo>
                  <a:cubicBezTo>
                    <a:pt x="465" y="12"/>
                    <a:pt x="364" y="20"/>
                    <a:pt x="241" y="20"/>
                  </a:cubicBezTo>
                  <a:cubicBezTo>
                    <a:pt x="115" y="20"/>
                    <a:pt x="12" y="1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25" y="55"/>
                    <a:pt x="48" y="72"/>
                    <a:pt x="69" y="93"/>
                  </a:cubicBezTo>
                  <a:cubicBezTo>
                    <a:pt x="79" y="94"/>
                    <a:pt x="89" y="95"/>
                    <a:pt x="100" y="9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</p:grpSp>
      <p:cxnSp>
        <p:nvCxnSpPr>
          <p:cNvPr id="11" name="Line">
            <a:extLst>
              <a:ext uri="{FF2B5EF4-FFF2-40B4-BE49-F238E27FC236}">
                <a16:creationId xmlns:a16="http://schemas.microsoft.com/office/drawing/2014/main" id="{5B034149-7154-9453-2D53-08D6D9946E00}"/>
              </a:ext>
            </a:extLst>
          </p:cNvPr>
          <p:cNvCxnSpPr/>
          <p:nvPr/>
        </p:nvCxnSpPr>
        <p:spPr>
          <a:xfrm flipH="1">
            <a:off x="6364456" y="2089363"/>
            <a:ext cx="3510297" cy="23138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Line">
            <a:extLst>
              <a:ext uri="{FF2B5EF4-FFF2-40B4-BE49-F238E27FC236}">
                <a16:creationId xmlns:a16="http://schemas.microsoft.com/office/drawing/2014/main" id="{A720D8EE-A0E5-FF10-0C6C-6965BAD8875D}"/>
              </a:ext>
            </a:extLst>
          </p:cNvPr>
          <p:cNvCxnSpPr/>
          <p:nvPr/>
        </p:nvCxnSpPr>
        <p:spPr>
          <a:xfrm flipH="1">
            <a:off x="6364456" y="3986852"/>
            <a:ext cx="3510297" cy="23138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Line">
            <a:extLst>
              <a:ext uri="{FF2B5EF4-FFF2-40B4-BE49-F238E27FC236}">
                <a16:creationId xmlns:a16="http://schemas.microsoft.com/office/drawing/2014/main" id="{9E9586D0-AC63-8349-91F1-1C72EB6C44E9}"/>
              </a:ext>
            </a:extLst>
          </p:cNvPr>
          <p:cNvCxnSpPr/>
          <p:nvPr/>
        </p:nvCxnSpPr>
        <p:spPr>
          <a:xfrm flipH="1">
            <a:off x="1989564" y="3039955"/>
            <a:ext cx="3510297" cy="23138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Line">
            <a:extLst>
              <a:ext uri="{FF2B5EF4-FFF2-40B4-BE49-F238E27FC236}">
                <a16:creationId xmlns:a16="http://schemas.microsoft.com/office/drawing/2014/main" id="{2AAB5BCF-0919-04C3-6AEF-08F0D718B904}"/>
              </a:ext>
            </a:extLst>
          </p:cNvPr>
          <p:cNvCxnSpPr/>
          <p:nvPr/>
        </p:nvCxnSpPr>
        <p:spPr>
          <a:xfrm flipH="1">
            <a:off x="1989564" y="5175027"/>
            <a:ext cx="3510297" cy="23138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Inhaltsplatzhalter 4">
            <a:extLst>
              <a:ext uri="{FF2B5EF4-FFF2-40B4-BE49-F238E27FC236}">
                <a16:creationId xmlns:a16="http://schemas.microsoft.com/office/drawing/2014/main" id="{66E21347-F587-D717-80EE-D1DBB3BA58E8}"/>
              </a:ext>
            </a:extLst>
          </p:cNvPr>
          <p:cNvSpPr txBox="1">
            <a:spLocks/>
          </p:cNvSpPr>
          <p:nvPr/>
        </p:nvSpPr>
        <p:spPr>
          <a:xfrm>
            <a:off x="805314" y="3247268"/>
            <a:ext cx="2789871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2" name="Inhaltsplatzhalter 4">
            <a:extLst>
              <a:ext uri="{FF2B5EF4-FFF2-40B4-BE49-F238E27FC236}">
                <a16:creationId xmlns:a16="http://schemas.microsoft.com/office/drawing/2014/main" id="{3A8482F9-6D9F-F6E1-B1DF-E413FF4FA50F}"/>
              </a:ext>
            </a:extLst>
          </p:cNvPr>
          <p:cNvSpPr txBox="1">
            <a:spLocks/>
          </p:cNvSpPr>
          <p:nvPr/>
        </p:nvSpPr>
        <p:spPr>
          <a:xfrm flipH="1">
            <a:off x="8397660" y="2288683"/>
            <a:ext cx="2989027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5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3" name="Inhaltsplatzhalter 4">
            <a:extLst>
              <a:ext uri="{FF2B5EF4-FFF2-40B4-BE49-F238E27FC236}">
                <a16:creationId xmlns:a16="http://schemas.microsoft.com/office/drawing/2014/main" id="{621D0AE3-8D9A-296E-6B7A-A392894621AA}"/>
              </a:ext>
            </a:extLst>
          </p:cNvPr>
          <p:cNvSpPr txBox="1">
            <a:spLocks/>
          </p:cNvSpPr>
          <p:nvPr/>
        </p:nvSpPr>
        <p:spPr>
          <a:xfrm flipH="1">
            <a:off x="1456943" y="5492299"/>
            <a:ext cx="3177569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rgbClr val="81A4CC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rgbClr val="81A4CC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4" name="Inhaltsplatzhalter 4">
            <a:extLst>
              <a:ext uri="{FF2B5EF4-FFF2-40B4-BE49-F238E27FC236}">
                <a16:creationId xmlns:a16="http://schemas.microsoft.com/office/drawing/2014/main" id="{B54C5739-259D-9BCF-4C7C-F777CEA4DCE9}"/>
              </a:ext>
            </a:extLst>
          </p:cNvPr>
          <p:cNvSpPr txBox="1">
            <a:spLocks/>
          </p:cNvSpPr>
          <p:nvPr/>
        </p:nvSpPr>
        <p:spPr>
          <a:xfrm>
            <a:off x="7156459" y="4272278"/>
            <a:ext cx="3573342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92D7634A-2E46-226D-9C2D-9BD9DF14D466}"/>
              </a:ext>
            </a:extLst>
          </p:cNvPr>
          <p:cNvGrpSpPr/>
          <p:nvPr/>
        </p:nvGrpSpPr>
        <p:grpSpPr>
          <a:xfrm>
            <a:off x="5666257" y="5084800"/>
            <a:ext cx="511459" cy="344904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07" name="Freeform 17">
              <a:extLst>
                <a:ext uri="{FF2B5EF4-FFF2-40B4-BE49-F238E27FC236}">
                  <a16:creationId xmlns:a16="http://schemas.microsoft.com/office/drawing/2014/main" id="{F2061F90-FC98-DA9B-AA95-0F537C469451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18">
              <a:extLst>
                <a:ext uri="{FF2B5EF4-FFF2-40B4-BE49-F238E27FC236}">
                  <a16:creationId xmlns:a16="http://schemas.microsoft.com/office/drawing/2014/main" id="{CA999C8A-9033-DA16-B721-7D2B74F9C87E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19">
              <a:extLst>
                <a:ext uri="{FF2B5EF4-FFF2-40B4-BE49-F238E27FC236}">
                  <a16:creationId xmlns:a16="http://schemas.microsoft.com/office/drawing/2014/main" id="{B478EA33-4850-18B4-B96D-38388504E5EB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52F3A272-F7D3-33AB-D66E-F7B0C3F756D1}"/>
              </a:ext>
            </a:extLst>
          </p:cNvPr>
          <p:cNvGrpSpPr>
            <a:grpSpLocks noChangeAspect="1"/>
          </p:cNvGrpSpPr>
          <p:nvPr/>
        </p:nvGrpSpPr>
        <p:grpSpPr>
          <a:xfrm>
            <a:off x="5753665" y="3716167"/>
            <a:ext cx="336646" cy="537268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5E670825-F8A5-E216-5C21-947F6FE751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B9FF8E04-0BA6-5D82-0D1B-7D16CDBE2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sp>
        <p:nvSpPr>
          <p:cNvPr id="97" name="Freeform 23">
            <a:extLst>
              <a:ext uri="{FF2B5EF4-FFF2-40B4-BE49-F238E27FC236}">
                <a16:creationId xmlns:a16="http://schemas.microsoft.com/office/drawing/2014/main" id="{841D62E8-CAEC-9F9B-013F-3A8E970581A6}"/>
              </a:ext>
            </a:extLst>
          </p:cNvPr>
          <p:cNvSpPr>
            <a:spLocks noEditPoints="1"/>
          </p:cNvSpPr>
          <p:nvPr/>
        </p:nvSpPr>
        <p:spPr bwMode="auto">
          <a:xfrm>
            <a:off x="5694940" y="2757947"/>
            <a:ext cx="454094" cy="402143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50E7E2B2-205F-2A7B-44AF-E10602711ED0}"/>
              </a:ext>
            </a:extLst>
          </p:cNvPr>
          <p:cNvGrpSpPr>
            <a:grpSpLocks noChangeAspect="1"/>
          </p:cNvGrpSpPr>
          <p:nvPr/>
        </p:nvGrpSpPr>
        <p:grpSpPr>
          <a:xfrm>
            <a:off x="5712331" y="1889802"/>
            <a:ext cx="419310" cy="399123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99" name="Freeform 26">
              <a:extLst>
                <a:ext uri="{FF2B5EF4-FFF2-40B4-BE49-F238E27FC236}">
                  <a16:creationId xmlns:a16="http://schemas.microsoft.com/office/drawing/2014/main" id="{EF0189E6-DE6C-3558-86B4-65AC151F66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27">
              <a:extLst>
                <a:ext uri="{FF2B5EF4-FFF2-40B4-BE49-F238E27FC236}">
                  <a16:creationId xmlns:a16="http://schemas.microsoft.com/office/drawing/2014/main" id="{A40A3A07-E6DA-D44E-15A7-2F7CEC71B6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28">
              <a:extLst>
                <a:ext uri="{FF2B5EF4-FFF2-40B4-BE49-F238E27FC236}">
                  <a16:creationId xmlns:a16="http://schemas.microsoft.com/office/drawing/2014/main" id="{E7D21A17-C04A-4193-59C9-4EF1A081CD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29">
              <a:extLst>
                <a:ext uri="{FF2B5EF4-FFF2-40B4-BE49-F238E27FC236}">
                  <a16:creationId xmlns:a16="http://schemas.microsoft.com/office/drawing/2014/main" id="{77A1DE49-18F6-3FF4-0679-786354130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30">
              <a:extLst>
                <a:ext uri="{FF2B5EF4-FFF2-40B4-BE49-F238E27FC236}">
                  <a16:creationId xmlns:a16="http://schemas.microsoft.com/office/drawing/2014/main" id="{D4C52B7B-4125-1D0B-98FA-76CD4D92F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31">
              <a:extLst>
                <a:ext uri="{FF2B5EF4-FFF2-40B4-BE49-F238E27FC236}">
                  <a16:creationId xmlns:a16="http://schemas.microsoft.com/office/drawing/2014/main" id="{C284EC47-834E-042D-D417-6008A85C3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6155416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4A073-4CFB-92A9-C823-992266F67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8E8739C-3F35-0DDF-EB7F-DC4E56CCB7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850B7B-5145-498B-7423-3134F2D5E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8A00C8-9A78-F327-BAAC-433EB33C7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FD027F1-B32E-9D2D-DDBD-919EE7920D0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3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กลุ่ม 27">
            <a:extLst>
              <a:ext uri="{FF2B5EF4-FFF2-40B4-BE49-F238E27FC236}">
                <a16:creationId xmlns:a16="http://schemas.microsoft.com/office/drawing/2014/main" id="{5121DA87-9CEB-2284-3126-FD9D9FF428B6}"/>
              </a:ext>
            </a:extLst>
          </p:cNvPr>
          <p:cNvGrpSpPr/>
          <p:nvPr/>
        </p:nvGrpSpPr>
        <p:grpSpPr>
          <a:xfrm rot="16200000">
            <a:off x="5148087" y="451124"/>
            <a:ext cx="3840936" cy="6495554"/>
            <a:chOff x="9793288" y="4267200"/>
            <a:chExt cx="5535612" cy="9361488"/>
          </a:xfrm>
          <a:effectLst/>
        </p:grpSpPr>
        <p:sp>
          <p:nvSpPr>
            <p:cNvPr id="5" name="Oval 6">
              <a:extLst>
                <a:ext uri="{FF2B5EF4-FFF2-40B4-BE49-F238E27FC236}">
                  <a16:creationId xmlns:a16="http://schemas.microsoft.com/office/drawing/2014/main" id="{CC17932D-44EC-7E6C-918F-E42444540C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93288" y="6731000"/>
              <a:ext cx="5535612" cy="52863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9E5C080-BBC9-5D54-43B3-A50C5AD31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4488" y="4267200"/>
              <a:ext cx="1981200" cy="2463800"/>
            </a:xfrm>
            <a:custGeom>
              <a:avLst/>
              <a:gdLst>
                <a:gd name="T0" fmla="*/ 170 w 176"/>
                <a:gd name="T1" fmla="*/ 0 h 219"/>
                <a:gd name="T2" fmla="*/ 164 w 176"/>
                <a:gd name="T3" fmla="*/ 6 h 219"/>
                <a:gd name="T4" fmla="*/ 164 w 176"/>
                <a:gd name="T5" fmla="*/ 96 h 219"/>
                <a:gd name="T6" fmla="*/ 150 w 176"/>
                <a:gd name="T7" fmla="*/ 128 h 219"/>
                <a:gd name="T8" fmla="*/ 123 w 176"/>
                <a:gd name="T9" fmla="*/ 143 h 219"/>
                <a:gd name="T10" fmla="*/ 65 w 176"/>
                <a:gd name="T11" fmla="*/ 143 h 219"/>
                <a:gd name="T12" fmla="*/ 8 w 176"/>
                <a:gd name="T13" fmla="*/ 179 h 219"/>
                <a:gd name="T14" fmla="*/ 0 w 176"/>
                <a:gd name="T15" fmla="*/ 213 h 219"/>
                <a:gd name="T16" fmla="*/ 6 w 176"/>
                <a:gd name="T17" fmla="*/ 219 h 219"/>
                <a:gd name="T18" fmla="*/ 6 w 176"/>
                <a:gd name="T19" fmla="*/ 219 h 219"/>
                <a:gd name="T20" fmla="*/ 12 w 176"/>
                <a:gd name="T21" fmla="*/ 213 h 219"/>
                <a:gd name="T22" fmla="*/ 20 w 176"/>
                <a:gd name="T23" fmla="*/ 184 h 219"/>
                <a:gd name="T24" fmla="*/ 65 w 176"/>
                <a:gd name="T25" fmla="*/ 156 h 219"/>
                <a:gd name="T26" fmla="*/ 124 w 176"/>
                <a:gd name="T27" fmla="*/ 156 h 219"/>
                <a:gd name="T28" fmla="*/ 125 w 176"/>
                <a:gd name="T29" fmla="*/ 156 h 219"/>
                <a:gd name="T30" fmla="*/ 159 w 176"/>
                <a:gd name="T31" fmla="*/ 137 h 219"/>
                <a:gd name="T32" fmla="*/ 176 w 176"/>
                <a:gd name="T33" fmla="*/ 96 h 219"/>
                <a:gd name="T34" fmla="*/ 176 w 176"/>
                <a:gd name="T35" fmla="*/ 6 h 219"/>
                <a:gd name="T36" fmla="*/ 170 w 176"/>
                <a:gd name="T3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19">
                  <a:moveTo>
                    <a:pt x="170" y="0"/>
                  </a:moveTo>
                  <a:cubicBezTo>
                    <a:pt x="167" y="0"/>
                    <a:pt x="164" y="3"/>
                    <a:pt x="164" y="6"/>
                  </a:cubicBezTo>
                  <a:cubicBezTo>
                    <a:pt x="164" y="96"/>
                    <a:pt x="164" y="96"/>
                    <a:pt x="164" y="96"/>
                  </a:cubicBezTo>
                  <a:cubicBezTo>
                    <a:pt x="164" y="108"/>
                    <a:pt x="159" y="120"/>
                    <a:pt x="150" y="128"/>
                  </a:cubicBezTo>
                  <a:cubicBezTo>
                    <a:pt x="140" y="138"/>
                    <a:pt x="126" y="142"/>
                    <a:pt x="123" y="143"/>
                  </a:cubicBezTo>
                  <a:cubicBezTo>
                    <a:pt x="65" y="143"/>
                    <a:pt x="65" y="143"/>
                    <a:pt x="65" y="143"/>
                  </a:cubicBezTo>
                  <a:cubicBezTo>
                    <a:pt x="32" y="143"/>
                    <a:pt x="16" y="162"/>
                    <a:pt x="8" y="179"/>
                  </a:cubicBezTo>
                  <a:cubicBezTo>
                    <a:pt x="0" y="195"/>
                    <a:pt x="0" y="212"/>
                    <a:pt x="0" y="213"/>
                  </a:cubicBezTo>
                  <a:cubicBezTo>
                    <a:pt x="0" y="216"/>
                    <a:pt x="2" y="219"/>
                    <a:pt x="6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9" y="219"/>
                    <a:pt x="12" y="217"/>
                    <a:pt x="12" y="213"/>
                  </a:cubicBezTo>
                  <a:cubicBezTo>
                    <a:pt x="12" y="213"/>
                    <a:pt x="13" y="198"/>
                    <a:pt x="20" y="184"/>
                  </a:cubicBezTo>
                  <a:cubicBezTo>
                    <a:pt x="29" y="165"/>
                    <a:pt x="44" y="156"/>
                    <a:pt x="65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4" y="156"/>
                    <a:pt x="125" y="156"/>
                    <a:pt x="125" y="156"/>
                  </a:cubicBezTo>
                  <a:cubicBezTo>
                    <a:pt x="126" y="155"/>
                    <a:pt x="145" y="151"/>
                    <a:pt x="159" y="137"/>
                  </a:cubicBezTo>
                  <a:cubicBezTo>
                    <a:pt x="170" y="127"/>
                    <a:pt x="176" y="111"/>
                    <a:pt x="176" y="96"/>
                  </a:cubicBezTo>
                  <a:cubicBezTo>
                    <a:pt x="176" y="6"/>
                    <a:pt x="176" y="6"/>
                    <a:pt x="176" y="6"/>
                  </a:cubicBezTo>
                  <a:cubicBezTo>
                    <a:pt x="176" y="3"/>
                    <a:pt x="174" y="0"/>
                    <a:pt x="17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078A9AD-A497-B978-2FE5-D5C4BCE50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1563" y="4267200"/>
              <a:ext cx="1981200" cy="2463800"/>
            </a:xfrm>
            <a:custGeom>
              <a:avLst/>
              <a:gdLst>
                <a:gd name="T0" fmla="*/ 111 w 176"/>
                <a:gd name="T1" fmla="*/ 143 h 219"/>
                <a:gd name="T2" fmla="*/ 53 w 176"/>
                <a:gd name="T3" fmla="*/ 143 h 219"/>
                <a:gd name="T4" fmla="*/ 26 w 176"/>
                <a:gd name="T5" fmla="*/ 128 h 219"/>
                <a:gd name="T6" fmla="*/ 12 w 176"/>
                <a:gd name="T7" fmla="*/ 96 h 219"/>
                <a:gd name="T8" fmla="*/ 12 w 176"/>
                <a:gd name="T9" fmla="*/ 6 h 219"/>
                <a:gd name="T10" fmla="*/ 6 w 176"/>
                <a:gd name="T11" fmla="*/ 0 h 219"/>
                <a:gd name="T12" fmla="*/ 0 w 176"/>
                <a:gd name="T13" fmla="*/ 6 h 219"/>
                <a:gd name="T14" fmla="*/ 0 w 176"/>
                <a:gd name="T15" fmla="*/ 96 h 219"/>
                <a:gd name="T16" fmla="*/ 17 w 176"/>
                <a:gd name="T17" fmla="*/ 137 h 219"/>
                <a:gd name="T18" fmla="*/ 51 w 176"/>
                <a:gd name="T19" fmla="*/ 156 h 219"/>
                <a:gd name="T20" fmla="*/ 52 w 176"/>
                <a:gd name="T21" fmla="*/ 156 h 219"/>
                <a:gd name="T22" fmla="*/ 111 w 176"/>
                <a:gd name="T23" fmla="*/ 156 h 219"/>
                <a:gd name="T24" fmla="*/ 156 w 176"/>
                <a:gd name="T25" fmla="*/ 184 h 219"/>
                <a:gd name="T26" fmla="*/ 164 w 176"/>
                <a:gd name="T27" fmla="*/ 213 h 219"/>
                <a:gd name="T28" fmla="*/ 170 w 176"/>
                <a:gd name="T29" fmla="*/ 219 h 219"/>
                <a:gd name="T30" fmla="*/ 170 w 176"/>
                <a:gd name="T31" fmla="*/ 219 h 219"/>
                <a:gd name="T32" fmla="*/ 176 w 176"/>
                <a:gd name="T33" fmla="*/ 213 h 219"/>
                <a:gd name="T34" fmla="*/ 168 w 176"/>
                <a:gd name="T35" fmla="*/ 179 h 219"/>
                <a:gd name="T36" fmla="*/ 111 w 176"/>
                <a:gd name="T37" fmla="*/ 143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19">
                  <a:moveTo>
                    <a:pt x="111" y="143"/>
                  </a:moveTo>
                  <a:cubicBezTo>
                    <a:pt x="53" y="143"/>
                    <a:pt x="53" y="143"/>
                    <a:pt x="53" y="143"/>
                  </a:cubicBezTo>
                  <a:cubicBezTo>
                    <a:pt x="50" y="142"/>
                    <a:pt x="36" y="138"/>
                    <a:pt x="26" y="128"/>
                  </a:cubicBezTo>
                  <a:cubicBezTo>
                    <a:pt x="17" y="120"/>
                    <a:pt x="12" y="108"/>
                    <a:pt x="12" y="9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1"/>
                    <a:pt x="6" y="127"/>
                    <a:pt x="17" y="137"/>
                  </a:cubicBezTo>
                  <a:cubicBezTo>
                    <a:pt x="31" y="151"/>
                    <a:pt x="50" y="155"/>
                    <a:pt x="51" y="156"/>
                  </a:cubicBezTo>
                  <a:cubicBezTo>
                    <a:pt x="51" y="156"/>
                    <a:pt x="52" y="156"/>
                    <a:pt x="52" y="156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32" y="156"/>
                    <a:pt x="148" y="165"/>
                    <a:pt x="156" y="184"/>
                  </a:cubicBezTo>
                  <a:cubicBezTo>
                    <a:pt x="163" y="198"/>
                    <a:pt x="164" y="213"/>
                    <a:pt x="164" y="213"/>
                  </a:cubicBezTo>
                  <a:cubicBezTo>
                    <a:pt x="164" y="217"/>
                    <a:pt x="167" y="219"/>
                    <a:pt x="170" y="219"/>
                  </a:cubicBezTo>
                  <a:cubicBezTo>
                    <a:pt x="170" y="219"/>
                    <a:pt x="170" y="219"/>
                    <a:pt x="170" y="219"/>
                  </a:cubicBezTo>
                  <a:cubicBezTo>
                    <a:pt x="174" y="219"/>
                    <a:pt x="176" y="216"/>
                    <a:pt x="176" y="213"/>
                  </a:cubicBezTo>
                  <a:cubicBezTo>
                    <a:pt x="176" y="212"/>
                    <a:pt x="176" y="195"/>
                    <a:pt x="168" y="179"/>
                  </a:cubicBezTo>
                  <a:cubicBezTo>
                    <a:pt x="160" y="162"/>
                    <a:pt x="144" y="143"/>
                    <a:pt x="111" y="14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7172D095-C0E5-95A5-8D41-DAF6E345B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93288" y="7056438"/>
              <a:ext cx="5535612" cy="2217738"/>
            </a:xfrm>
            <a:custGeom>
              <a:avLst/>
              <a:gdLst>
                <a:gd name="T0" fmla="*/ 138 w 492"/>
                <a:gd name="T1" fmla="*/ 194 h 197"/>
                <a:gd name="T2" fmla="*/ 251 w 492"/>
                <a:gd name="T3" fmla="*/ 197 h 197"/>
                <a:gd name="T4" fmla="*/ 354 w 492"/>
                <a:gd name="T5" fmla="*/ 194 h 197"/>
                <a:gd name="T6" fmla="*/ 492 w 492"/>
                <a:gd name="T7" fmla="*/ 47 h 197"/>
                <a:gd name="T8" fmla="*/ 492 w 492"/>
                <a:gd name="T9" fmla="*/ 1 h 197"/>
                <a:gd name="T10" fmla="*/ 491 w 492"/>
                <a:gd name="T11" fmla="*/ 1 h 197"/>
                <a:gd name="T12" fmla="*/ 246 w 492"/>
                <a:gd name="T13" fmla="*/ 22 h 197"/>
                <a:gd name="T14" fmla="*/ 1 w 492"/>
                <a:gd name="T15" fmla="*/ 0 h 197"/>
                <a:gd name="T16" fmla="*/ 0 w 492"/>
                <a:gd name="T17" fmla="*/ 0 h 197"/>
                <a:gd name="T18" fmla="*/ 0 w 492"/>
                <a:gd name="T19" fmla="*/ 46 h 197"/>
                <a:gd name="T20" fmla="*/ 138 w 492"/>
                <a:gd name="T21" fmla="*/ 19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2" h="197">
                  <a:moveTo>
                    <a:pt x="138" y="194"/>
                  </a:moveTo>
                  <a:cubicBezTo>
                    <a:pt x="174" y="196"/>
                    <a:pt x="212" y="197"/>
                    <a:pt x="251" y="197"/>
                  </a:cubicBezTo>
                  <a:cubicBezTo>
                    <a:pt x="286" y="197"/>
                    <a:pt x="321" y="196"/>
                    <a:pt x="354" y="194"/>
                  </a:cubicBezTo>
                  <a:cubicBezTo>
                    <a:pt x="388" y="125"/>
                    <a:pt x="436" y="72"/>
                    <a:pt x="492" y="47"/>
                  </a:cubicBezTo>
                  <a:cubicBezTo>
                    <a:pt x="492" y="1"/>
                    <a:pt x="492" y="1"/>
                    <a:pt x="492" y="1"/>
                  </a:cubicBezTo>
                  <a:cubicBezTo>
                    <a:pt x="491" y="1"/>
                    <a:pt x="491" y="1"/>
                    <a:pt x="491" y="1"/>
                  </a:cubicBezTo>
                  <a:cubicBezTo>
                    <a:pt x="475" y="13"/>
                    <a:pt x="372" y="22"/>
                    <a:pt x="246" y="22"/>
                  </a:cubicBezTo>
                  <a:cubicBezTo>
                    <a:pt x="117" y="22"/>
                    <a:pt x="12" y="1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56" y="71"/>
                    <a:pt x="105" y="124"/>
                    <a:pt x="138" y="19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8AE081CF-1027-9816-6411-22E1D09D1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5863" y="9239250"/>
              <a:ext cx="2430462" cy="2408238"/>
            </a:xfrm>
            <a:custGeom>
              <a:avLst/>
              <a:gdLst>
                <a:gd name="T0" fmla="*/ 216 w 216"/>
                <a:gd name="T1" fmla="*/ 1 h 214"/>
                <a:gd name="T2" fmla="*/ 113 w 216"/>
                <a:gd name="T3" fmla="*/ 3 h 214"/>
                <a:gd name="T4" fmla="*/ 0 w 216"/>
                <a:gd name="T5" fmla="*/ 0 h 214"/>
                <a:gd name="T6" fmla="*/ 47 w 216"/>
                <a:gd name="T7" fmla="*/ 205 h 214"/>
                <a:gd name="T8" fmla="*/ 47 w 216"/>
                <a:gd name="T9" fmla="*/ 207 h 214"/>
                <a:gd name="T10" fmla="*/ 108 w 216"/>
                <a:gd name="T11" fmla="*/ 214 h 214"/>
                <a:gd name="T12" fmla="*/ 169 w 216"/>
                <a:gd name="T13" fmla="*/ 207 h 214"/>
                <a:gd name="T14" fmla="*/ 169 w 216"/>
                <a:gd name="T15" fmla="*/ 206 h 214"/>
                <a:gd name="T16" fmla="*/ 169 w 216"/>
                <a:gd name="T17" fmla="*/ 206 h 214"/>
                <a:gd name="T18" fmla="*/ 216 w 216"/>
                <a:gd name="T19" fmla="*/ 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214">
                  <a:moveTo>
                    <a:pt x="216" y="1"/>
                  </a:moveTo>
                  <a:cubicBezTo>
                    <a:pt x="183" y="2"/>
                    <a:pt x="148" y="3"/>
                    <a:pt x="113" y="3"/>
                  </a:cubicBezTo>
                  <a:cubicBezTo>
                    <a:pt x="74" y="3"/>
                    <a:pt x="36" y="2"/>
                    <a:pt x="0" y="0"/>
                  </a:cubicBezTo>
                  <a:cubicBezTo>
                    <a:pt x="28" y="59"/>
                    <a:pt x="45" y="129"/>
                    <a:pt x="47" y="205"/>
                  </a:cubicBezTo>
                  <a:cubicBezTo>
                    <a:pt x="47" y="205"/>
                    <a:pt x="47" y="206"/>
                    <a:pt x="47" y="207"/>
                  </a:cubicBezTo>
                  <a:cubicBezTo>
                    <a:pt x="47" y="211"/>
                    <a:pt x="74" y="214"/>
                    <a:pt x="108" y="214"/>
                  </a:cubicBezTo>
                  <a:cubicBezTo>
                    <a:pt x="142" y="214"/>
                    <a:pt x="169" y="211"/>
                    <a:pt x="169" y="207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71" y="130"/>
                    <a:pt x="188" y="59"/>
                    <a:pt x="21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21AA87A8-08DE-F483-B70A-096FFC0DFECC}"/>
                </a:ext>
              </a:extLst>
            </p:cNvPr>
            <p:cNvSpPr>
              <a:spLocks/>
            </p:cNvSpPr>
            <p:nvPr/>
          </p:nvSpPr>
          <p:spPr bwMode="auto">
            <a:xfrm rot="16200000" flipH="1">
              <a:off x="11570498" y="12280642"/>
              <a:ext cx="1981200" cy="714892"/>
            </a:xfrm>
            <a:prstGeom prst="rightArrow">
              <a:avLst>
                <a:gd name="adj1" fmla="val 17945"/>
                <a:gd name="adj2" fmla="val 5249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957A34CB-7267-584D-40DE-224A03CD79EE}"/>
              </a:ext>
            </a:extLst>
          </p:cNvPr>
          <p:cNvSpPr/>
          <p:nvPr/>
        </p:nvSpPr>
        <p:spPr>
          <a:xfrm>
            <a:off x="2983686" y="1645920"/>
            <a:ext cx="837091" cy="83709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C265AF6-D7D7-7E26-BA42-72CC67F1397A}"/>
              </a:ext>
            </a:extLst>
          </p:cNvPr>
          <p:cNvSpPr/>
          <p:nvPr/>
        </p:nvSpPr>
        <p:spPr>
          <a:xfrm>
            <a:off x="3046474" y="4962746"/>
            <a:ext cx="837091" cy="83709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Inhaltsplatzhalter 4">
            <a:extLst>
              <a:ext uri="{FF2B5EF4-FFF2-40B4-BE49-F238E27FC236}">
                <a16:creationId xmlns:a16="http://schemas.microsoft.com/office/drawing/2014/main" id="{69C8F047-F4D3-C1D9-8D1E-F80B14BA7369}"/>
              </a:ext>
            </a:extLst>
          </p:cNvPr>
          <p:cNvSpPr txBox="1">
            <a:spLocks/>
          </p:cNvSpPr>
          <p:nvPr/>
        </p:nvSpPr>
        <p:spPr>
          <a:xfrm flipH="1">
            <a:off x="818801" y="2606707"/>
            <a:ext cx="3677063" cy="584775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6" name="Inhaltsplatzhalter 4">
            <a:extLst>
              <a:ext uri="{FF2B5EF4-FFF2-40B4-BE49-F238E27FC236}">
                <a16:creationId xmlns:a16="http://schemas.microsoft.com/office/drawing/2014/main" id="{BCE294BC-5081-8432-C2EB-DD7F821DA01A}"/>
              </a:ext>
            </a:extLst>
          </p:cNvPr>
          <p:cNvSpPr txBox="1">
            <a:spLocks/>
          </p:cNvSpPr>
          <p:nvPr/>
        </p:nvSpPr>
        <p:spPr>
          <a:xfrm flipH="1">
            <a:off x="804656" y="4146549"/>
            <a:ext cx="3699350" cy="584775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D9BB3E28-2EF9-0C07-0956-18DE8001B4F5}"/>
              </a:ext>
            </a:extLst>
          </p:cNvPr>
          <p:cNvSpPr txBox="1">
            <a:spLocks/>
          </p:cNvSpPr>
          <p:nvPr/>
        </p:nvSpPr>
        <p:spPr>
          <a:xfrm flipH="1">
            <a:off x="9334832" y="3173265"/>
            <a:ext cx="2052514" cy="923330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8" name="Freeform 23">
            <a:extLst>
              <a:ext uri="{FF2B5EF4-FFF2-40B4-BE49-F238E27FC236}">
                <a16:creationId xmlns:a16="http://schemas.microsoft.com/office/drawing/2014/main" id="{8DCC5102-3151-1A1B-E73E-052190A223BC}"/>
              </a:ext>
            </a:extLst>
          </p:cNvPr>
          <p:cNvSpPr>
            <a:spLocks noEditPoints="1"/>
          </p:cNvSpPr>
          <p:nvPr/>
        </p:nvSpPr>
        <p:spPr bwMode="auto">
          <a:xfrm>
            <a:off x="3207285" y="5144763"/>
            <a:ext cx="535919" cy="474606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340EB93-5F4E-36CE-EF8B-F5600828501E}"/>
              </a:ext>
            </a:extLst>
          </p:cNvPr>
          <p:cNvGrpSpPr>
            <a:grpSpLocks noChangeAspect="1"/>
          </p:cNvGrpSpPr>
          <p:nvPr/>
        </p:nvGrpSpPr>
        <p:grpSpPr>
          <a:xfrm>
            <a:off x="3145027" y="1828945"/>
            <a:ext cx="494865" cy="471042"/>
            <a:chOff x="6719888" y="887413"/>
            <a:chExt cx="492125" cy="468312"/>
          </a:xfrm>
          <a:solidFill>
            <a:schemeClr val="bg1"/>
          </a:solidFill>
          <a:effectLst/>
        </p:grpSpPr>
        <p:sp>
          <p:nvSpPr>
            <p:cNvPr id="20" name="Freeform 26">
              <a:extLst>
                <a:ext uri="{FF2B5EF4-FFF2-40B4-BE49-F238E27FC236}">
                  <a16:creationId xmlns:a16="http://schemas.microsoft.com/office/drawing/2014/main" id="{88B8CF1F-9C21-1F7F-E55E-797BEFFCF2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1E4B6D04-1FF3-27FD-33A4-1E7EB53067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0924830A-B990-5B5B-2B77-6711D09C1E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64E251F6-D466-B731-3FE4-4EEEEACCC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3FDAB5DB-409F-5C0C-B848-ADBF5154BE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31">
              <a:extLst>
                <a:ext uri="{FF2B5EF4-FFF2-40B4-BE49-F238E27FC236}">
                  <a16:creationId xmlns:a16="http://schemas.microsoft.com/office/drawing/2014/main" id="{8DB44E88-E6BC-32C6-4F39-1F971FB89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8327962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BA662-459E-8C9F-00AD-A7A8561A30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CD708BD-0394-D181-3826-49F0162A2E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E8739C-3F35-0DDF-EB7F-DC4E56CCB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23FEF1-97D5-F12C-750D-436601E55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B4B7CE8-724D-734C-3344-F75CE196B7B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4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A6CBF2F-574B-89EA-0DEE-3E1F28E708C1}"/>
              </a:ext>
            </a:extLst>
          </p:cNvPr>
          <p:cNvGrpSpPr/>
          <p:nvPr/>
        </p:nvGrpSpPr>
        <p:grpSpPr>
          <a:xfrm>
            <a:off x="3651370" y="2807185"/>
            <a:ext cx="4935539" cy="3191248"/>
            <a:chOff x="4279109" y="3824718"/>
            <a:chExt cx="4047308" cy="1992971"/>
          </a:xfrm>
        </p:grpSpPr>
        <p:cxnSp>
          <p:nvCxnSpPr>
            <p:cNvPr id="66" name="Line">
              <a:extLst>
                <a:ext uri="{FF2B5EF4-FFF2-40B4-BE49-F238E27FC236}">
                  <a16:creationId xmlns:a16="http://schemas.microsoft.com/office/drawing/2014/main" id="{BFBFD05B-390C-F640-791E-E6262434FABE}"/>
                </a:ext>
              </a:extLst>
            </p:cNvPr>
            <p:cNvCxnSpPr/>
            <p:nvPr/>
          </p:nvCxnSpPr>
          <p:spPr>
            <a:xfrm flipH="1">
              <a:off x="4279109" y="3824718"/>
              <a:ext cx="20137" cy="1992971"/>
            </a:xfrm>
            <a:prstGeom prst="line">
              <a:avLst/>
            </a:prstGeom>
            <a:ln w="6350">
              <a:solidFill>
                <a:schemeClr val="accent5"/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Line">
              <a:extLst>
                <a:ext uri="{FF2B5EF4-FFF2-40B4-BE49-F238E27FC236}">
                  <a16:creationId xmlns:a16="http://schemas.microsoft.com/office/drawing/2014/main" id="{A47E253D-9FCA-59A7-2BE5-6E1F92845308}"/>
                </a:ext>
              </a:extLst>
            </p:cNvPr>
            <p:cNvCxnSpPr/>
            <p:nvPr/>
          </p:nvCxnSpPr>
          <p:spPr>
            <a:xfrm flipH="1">
              <a:off x="6290163" y="3824718"/>
              <a:ext cx="20137" cy="1992971"/>
            </a:xfrm>
            <a:prstGeom prst="line">
              <a:avLst/>
            </a:prstGeom>
            <a:ln w="6350">
              <a:solidFill>
                <a:schemeClr val="accent5"/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Line">
              <a:extLst>
                <a:ext uri="{FF2B5EF4-FFF2-40B4-BE49-F238E27FC236}">
                  <a16:creationId xmlns:a16="http://schemas.microsoft.com/office/drawing/2014/main" id="{F1E6F965-FB48-A79C-01E1-627F9AAEC73E}"/>
                </a:ext>
              </a:extLst>
            </p:cNvPr>
            <p:cNvCxnSpPr/>
            <p:nvPr/>
          </p:nvCxnSpPr>
          <p:spPr>
            <a:xfrm flipH="1">
              <a:off x="8306280" y="3824718"/>
              <a:ext cx="20137" cy="1992971"/>
            </a:xfrm>
            <a:prstGeom prst="line">
              <a:avLst/>
            </a:prstGeom>
            <a:ln w="6350">
              <a:solidFill>
                <a:schemeClr val="accent5"/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77E9C0A-08DB-62B8-2F35-8F79890F9320}"/>
              </a:ext>
            </a:extLst>
          </p:cNvPr>
          <p:cNvGrpSpPr/>
          <p:nvPr/>
        </p:nvGrpSpPr>
        <p:grpSpPr>
          <a:xfrm>
            <a:off x="1237744" y="1229957"/>
            <a:ext cx="9258512" cy="2894606"/>
            <a:chOff x="1869722" y="1127877"/>
            <a:chExt cx="5775466" cy="3323082"/>
          </a:xfrm>
        </p:grpSpPr>
        <p:sp>
          <p:nvSpPr>
            <p:cNvPr id="59" name="Freeform: Shape 4">
              <a:extLst>
                <a:ext uri="{FF2B5EF4-FFF2-40B4-BE49-F238E27FC236}">
                  <a16:creationId xmlns:a16="http://schemas.microsoft.com/office/drawing/2014/main" id="{E8E9F59A-E528-E02C-284E-D53A071A9619}"/>
                </a:ext>
              </a:extLst>
            </p:cNvPr>
            <p:cNvSpPr/>
            <p:nvPr/>
          </p:nvSpPr>
          <p:spPr>
            <a:xfrm rot="16200000">
              <a:off x="2891375" y="2022586"/>
              <a:ext cx="2557706" cy="1533661"/>
            </a:xfrm>
            <a:custGeom>
              <a:avLst/>
              <a:gdLst>
                <a:gd name="connsiteX0" fmla="*/ 0 w 3404699"/>
                <a:gd name="connsiteY0" fmla="*/ 0 h 677588"/>
                <a:gd name="connsiteX1" fmla="*/ 3404699 w 3404699"/>
                <a:gd name="connsiteY1" fmla="*/ 0 h 677588"/>
                <a:gd name="connsiteX2" fmla="*/ 2885871 w 3404699"/>
                <a:gd name="connsiteY2" fmla="*/ 677588 h 677588"/>
                <a:gd name="connsiteX3" fmla="*/ 518827 w 3404699"/>
                <a:gd name="connsiteY3" fmla="*/ 677588 h 677588"/>
                <a:gd name="connsiteX4" fmla="*/ 0 w 3404699"/>
                <a:gd name="connsiteY4" fmla="*/ 0 h 67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4699" h="677588">
                  <a:moveTo>
                    <a:pt x="0" y="0"/>
                  </a:moveTo>
                  <a:lnTo>
                    <a:pt x="3404699" y="0"/>
                  </a:lnTo>
                  <a:lnTo>
                    <a:pt x="2885871" y="677588"/>
                  </a:lnTo>
                  <a:lnTo>
                    <a:pt x="518827" y="677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Freeform: Shape 5">
              <a:extLst>
                <a:ext uri="{FF2B5EF4-FFF2-40B4-BE49-F238E27FC236}">
                  <a16:creationId xmlns:a16="http://schemas.microsoft.com/office/drawing/2014/main" id="{FE9F9942-41E8-51D8-8EDE-93BF70582778}"/>
                </a:ext>
              </a:extLst>
            </p:cNvPr>
            <p:cNvSpPr/>
            <p:nvPr/>
          </p:nvSpPr>
          <p:spPr>
            <a:xfrm rot="16200000">
              <a:off x="4801016" y="2022586"/>
              <a:ext cx="1772578" cy="1533663"/>
            </a:xfrm>
            <a:custGeom>
              <a:avLst/>
              <a:gdLst>
                <a:gd name="connsiteX0" fmla="*/ 0 w 2250352"/>
                <a:gd name="connsiteY0" fmla="*/ 0 h 677589"/>
                <a:gd name="connsiteX1" fmla="*/ 2250352 w 2250352"/>
                <a:gd name="connsiteY1" fmla="*/ 0 h 677589"/>
                <a:gd name="connsiteX2" fmla="*/ 1731524 w 2250352"/>
                <a:gd name="connsiteY2" fmla="*/ 677589 h 677589"/>
                <a:gd name="connsiteX3" fmla="*/ 518829 w 2250352"/>
                <a:gd name="connsiteY3" fmla="*/ 677589 h 677589"/>
                <a:gd name="connsiteX4" fmla="*/ 0 w 2250352"/>
                <a:gd name="connsiteY4" fmla="*/ 0 h 677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0352" h="677589">
                  <a:moveTo>
                    <a:pt x="0" y="0"/>
                  </a:moveTo>
                  <a:lnTo>
                    <a:pt x="2250352" y="0"/>
                  </a:lnTo>
                  <a:lnTo>
                    <a:pt x="1731524" y="677589"/>
                  </a:lnTo>
                  <a:lnTo>
                    <a:pt x="518829" y="6775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Freeform: Shape 3">
              <a:extLst>
                <a:ext uri="{FF2B5EF4-FFF2-40B4-BE49-F238E27FC236}">
                  <a16:creationId xmlns:a16="http://schemas.microsoft.com/office/drawing/2014/main" id="{C6EFF6A3-D8BE-4C23-046B-C8E539C45311}"/>
                </a:ext>
              </a:extLst>
            </p:cNvPr>
            <p:cNvSpPr/>
            <p:nvPr/>
          </p:nvSpPr>
          <p:spPr>
            <a:xfrm rot="16200000">
              <a:off x="975012" y="2022587"/>
              <a:ext cx="3323082" cy="1533661"/>
            </a:xfrm>
            <a:custGeom>
              <a:avLst/>
              <a:gdLst>
                <a:gd name="connsiteX0" fmla="*/ 0 w 4559046"/>
                <a:gd name="connsiteY0" fmla="*/ 0 h 677588"/>
                <a:gd name="connsiteX1" fmla="*/ 4559046 w 4559046"/>
                <a:gd name="connsiteY1" fmla="*/ 0 h 677588"/>
                <a:gd name="connsiteX2" fmla="*/ 4040219 w 4559046"/>
                <a:gd name="connsiteY2" fmla="*/ 677588 h 677588"/>
                <a:gd name="connsiteX3" fmla="*/ 518828 w 4559046"/>
                <a:gd name="connsiteY3" fmla="*/ 677588 h 677588"/>
                <a:gd name="connsiteX4" fmla="*/ 0 w 4559046"/>
                <a:gd name="connsiteY4" fmla="*/ 0 h 67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9046" h="677588">
                  <a:moveTo>
                    <a:pt x="0" y="0"/>
                  </a:moveTo>
                  <a:lnTo>
                    <a:pt x="4559046" y="0"/>
                  </a:lnTo>
                  <a:lnTo>
                    <a:pt x="4040219" y="677588"/>
                  </a:lnTo>
                  <a:lnTo>
                    <a:pt x="518828" y="677588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Freeform: Shape 16">
              <a:extLst>
                <a:ext uri="{FF2B5EF4-FFF2-40B4-BE49-F238E27FC236}">
                  <a16:creationId xmlns:a16="http://schemas.microsoft.com/office/drawing/2014/main" id="{59077C6D-0071-87FB-44E2-0193DEB8F070}"/>
                </a:ext>
              </a:extLst>
            </p:cNvPr>
            <p:cNvSpPr/>
            <p:nvPr/>
          </p:nvSpPr>
          <p:spPr>
            <a:xfrm rot="16200000">
              <a:off x="6577400" y="2200012"/>
              <a:ext cx="944530" cy="1191047"/>
            </a:xfrm>
            <a:custGeom>
              <a:avLst/>
              <a:gdLst>
                <a:gd name="connsiteX0" fmla="*/ 984780 w 984780"/>
                <a:gd name="connsiteY0" fmla="*/ 0 h 1215382"/>
                <a:gd name="connsiteX1" fmla="*/ 622746 w 984780"/>
                <a:gd name="connsiteY1" fmla="*/ 1215382 h 1215382"/>
                <a:gd name="connsiteX2" fmla="*/ 362034 w 984780"/>
                <a:gd name="connsiteY2" fmla="*/ 1215382 h 1215382"/>
                <a:gd name="connsiteX3" fmla="*/ 0 w 984780"/>
                <a:gd name="connsiteY3" fmla="*/ 0 h 1215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780" h="1215382">
                  <a:moveTo>
                    <a:pt x="984780" y="0"/>
                  </a:moveTo>
                  <a:lnTo>
                    <a:pt x="622746" y="1215382"/>
                  </a:lnTo>
                  <a:lnTo>
                    <a:pt x="362034" y="12153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Isosceles Triangle 12">
              <a:extLst>
                <a:ext uri="{FF2B5EF4-FFF2-40B4-BE49-F238E27FC236}">
                  <a16:creationId xmlns:a16="http://schemas.microsoft.com/office/drawing/2014/main" id="{90D5B0DA-7146-C692-9D84-7B412EFF0E95}"/>
                </a:ext>
              </a:extLst>
            </p:cNvPr>
            <p:cNvSpPr/>
            <p:nvPr/>
          </p:nvSpPr>
          <p:spPr>
            <a:xfrm rot="5400000">
              <a:off x="3275531" y="2716835"/>
              <a:ext cx="360954" cy="145162"/>
            </a:xfrm>
            <a:prstGeom prst="triangl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Isosceles Triangle 13">
              <a:extLst>
                <a:ext uri="{FF2B5EF4-FFF2-40B4-BE49-F238E27FC236}">
                  <a16:creationId xmlns:a16="http://schemas.microsoft.com/office/drawing/2014/main" id="{5D1EA202-0C19-22A9-55ED-FB7D36B76258}"/>
                </a:ext>
              </a:extLst>
            </p:cNvPr>
            <p:cNvSpPr/>
            <p:nvPr/>
          </p:nvSpPr>
          <p:spPr>
            <a:xfrm rot="5400000">
              <a:off x="4818875" y="2716835"/>
              <a:ext cx="360954" cy="145162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5" name="Isosceles Triangle 14">
              <a:extLst>
                <a:ext uri="{FF2B5EF4-FFF2-40B4-BE49-F238E27FC236}">
                  <a16:creationId xmlns:a16="http://schemas.microsoft.com/office/drawing/2014/main" id="{1213B469-3C43-522A-3D2F-056A39E664E5}"/>
                </a:ext>
              </a:extLst>
            </p:cNvPr>
            <p:cNvSpPr/>
            <p:nvPr/>
          </p:nvSpPr>
          <p:spPr>
            <a:xfrm rot="5400000">
              <a:off x="6340868" y="2716835"/>
              <a:ext cx="360954" cy="145162"/>
            </a:xfrm>
            <a:prstGeom prst="triangl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3E25431-7D45-AC81-900B-EFEC408853C6}"/>
              </a:ext>
            </a:extLst>
          </p:cNvPr>
          <p:cNvGrpSpPr>
            <a:grpSpLocks noChangeAspect="1"/>
          </p:cNvGrpSpPr>
          <p:nvPr/>
        </p:nvGrpSpPr>
        <p:grpSpPr>
          <a:xfrm>
            <a:off x="4508376" y="2381049"/>
            <a:ext cx="622390" cy="592422"/>
            <a:chOff x="6719888" y="887413"/>
            <a:chExt cx="492125" cy="468312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2" name="Freeform 21">
              <a:extLst>
                <a:ext uri="{FF2B5EF4-FFF2-40B4-BE49-F238E27FC236}">
                  <a16:creationId xmlns:a16="http://schemas.microsoft.com/office/drawing/2014/main" id="{ADDE8EC9-5A1E-32CE-E36C-022613522E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3" name="Freeform 22">
              <a:extLst>
                <a:ext uri="{FF2B5EF4-FFF2-40B4-BE49-F238E27FC236}">
                  <a16:creationId xmlns:a16="http://schemas.microsoft.com/office/drawing/2014/main" id="{33A4488D-121E-9E8C-1C77-A3069EE336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4" name="Freeform 23">
              <a:extLst>
                <a:ext uri="{FF2B5EF4-FFF2-40B4-BE49-F238E27FC236}">
                  <a16:creationId xmlns:a16="http://schemas.microsoft.com/office/drawing/2014/main" id="{1A91DA74-8D57-1CBF-0B2F-1817EDD15B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id="{F536E481-70D3-21C8-8A73-D09944183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7" name="Freeform 25">
              <a:extLst>
                <a:ext uri="{FF2B5EF4-FFF2-40B4-BE49-F238E27FC236}">
                  <a16:creationId xmlns:a16="http://schemas.microsoft.com/office/drawing/2014/main" id="{A11C82C3-4573-C928-2092-AE4FD3C60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8" name="Freeform 26">
              <a:extLst>
                <a:ext uri="{FF2B5EF4-FFF2-40B4-BE49-F238E27FC236}">
                  <a16:creationId xmlns:a16="http://schemas.microsoft.com/office/drawing/2014/main" id="{35A1B680-4C07-F2CF-B545-FAC2AEF14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</p:grpSp>
      <p:sp>
        <p:nvSpPr>
          <p:cNvPr id="28" name="Freeform 27">
            <a:extLst>
              <a:ext uri="{FF2B5EF4-FFF2-40B4-BE49-F238E27FC236}">
                <a16:creationId xmlns:a16="http://schemas.microsoft.com/office/drawing/2014/main" id="{07AD43B8-0C75-7660-CB9B-E775804DC33B}"/>
              </a:ext>
            </a:extLst>
          </p:cNvPr>
          <p:cNvSpPr>
            <a:spLocks noChangeAspect="1" noEditPoints="1"/>
          </p:cNvSpPr>
          <p:nvPr/>
        </p:nvSpPr>
        <p:spPr bwMode="auto">
          <a:xfrm rot="2700000">
            <a:off x="2464010" y="2296351"/>
            <a:ext cx="413768" cy="761818"/>
          </a:xfrm>
          <a:custGeom>
            <a:avLst/>
            <a:gdLst>
              <a:gd name="T0" fmla="*/ 482 w 579"/>
              <a:gd name="T1" fmla="*/ 367 h 1073"/>
              <a:gd name="T2" fmla="*/ 482 w 579"/>
              <a:gd name="T3" fmla="*/ 148 h 1073"/>
              <a:gd name="T4" fmla="*/ 525 w 579"/>
              <a:gd name="T5" fmla="*/ 79 h 1073"/>
              <a:gd name="T6" fmla="*/ 447 w 579"/>
              <a:gd name="T7" fmla="*/ 0 h 1073"/>
              <a:gd name="T8" fmla="*/ 132 w 579"/>
              <a:gd name="T9" fmla="*/ 0 h 1073"/>
              <a:gd name="T10" fmla="*/ 54 w 579"/>
              <a:gd name="T11" fmla="*/ 79 h 1073"/>
              <a:gd name="T12" fmla="*/ 96 w 579"/>
              <a:gd name="T13" fmla="*/ 148 h 1073"/>
              <a:gd name="T14" fmla="*/ 96 w 579"/>
              <a:gd name="T15" fmla="*/ 367 h 1073"/>
              <a:gd name="T16" fmla="*/ 0 w 579"/>
              <a:gd name="T17" fmla="*/ 583 h 1073"/>
              <a:gd name="T18" fmla="*/ 0 w 579"/>
              <a:gd name="T19" fmla="*/ 612 h 1073"/>
              <a:gd name="T20" fmla="*/ 224 w 579"/>
              <a:gd name="T21" fmla="*/ 612 h 1073"/>
              <a:gd name="T22" fmla="*/ 224 w 579"/>
              <a:gd name="T23" fmla="*/ 923 h 1073"/>
              <a:gd name="T24" fmla="*/ 289 w 579"/>
              <a:gd name="T25" fmla="*/ 1073 h 1073"/>
              <a:gd name="T26" fmla="*/ 355 w 579"/>
              <a:gd name="T27" fmla="*/ 923 h 1073"/>
              <a:gd name="T28" fmla="*/ 355 w 579"/>
              <a:gd name="T29" fmla="*/ 612 h 1073"/>
              <a:gd name="T30" fmla="*/ 579 w 579"/>
              <a:gd name="T31" fmla="*/ 612 h 1073"/>
              <a:gd name="T32" fmla="*/ 579 w 579"/>
              <a:gd name="T33" fmla="*/ 583 h 1073"/>
              <a:gd name="T34" fmla="*/ 482 w 579"/>
              <a:gd name="T35" fmla="*/ 367 h 1073"/>
              <a:gd name="T36" fmla="*/ 132 w 579"/>
              <a:gd name="T37" fmla="*/ 58 h 1073"/>
              <a:gd name="T38" fmla="*/ 447 w 579"/>
              <a:gd name="T39" fmla="*/ 58 h 1073"/>
              <a:gd name="T40" fmla="*/ 467 w 579"/>
              <a:gd name="T41" fmla="*/ 79 h 1073"/>
              <a:gd name="T42" fmla="*/ 449 w 579"/>
              <a:gd name="T43" fmla="*/ 99 h 1073"/>
              <a:gd name="T44" fmla="*/ 436 w 579"/>
              <a:gd name="T45" fmla="*/ 101 h 1073"/>
              <a:gd name="T46" fmla="*/ 143 w 579"/>
              <a:gd name="T47" fmla="*/ 101 h 1073"/>
              <a:gd name="T48" fmla="*/ 129 w 579"/>
              <a:gd name="T49" fmla="*/ 99 h 1073"/>
              <a:gd name="T50" fmla="*/ 111 w 579"/>
              <a:gd name="T51" fmla="*/ 79 h 1073"/>
              <a:gd name="T52" fmla="*/ 132 w 579"/>
              <a:gd name="T53" fmla="*/ 58 h 1073"/>
              <a:gd name="T54" fmla="*/ 424 w 579"/>
              <a:gd name="T55" fmla="*/ 370 h 1073"/>
              <a:gd name="T56" fmla="*/ 154 w 579"/>
              <a:gd name="T57" fmla="*/ 370 h 1073"/>
              <a:gd name="T58" fmla="*/ 154 w 579"/>
              <a:gd name="T59" fmla="*/ 130 h 1073"/>
              <a:gd name="T60" fmla="*/ 424 w 579"/>
              <a:gd name="T61" fmla="*/ 130 h 1073"/>
              <a:gd name="T62" fmla="*/ 424 w 579"/>
              <a:gd name="T63" fmla="*/ 370 h 1073"/>
              <a:gd name="T64" fmla="*/ 297 w 579"/>
              <a:gd name="T65" fmla="*/ 911 h 1073"/>
              <a:gd name="T66" fmla="*/ 289 w 579"/>
              <a:gd name="T67" fmla="*/ 928 h 1073"/>
              <a:gd name="T68" fmla="*/ 282 w 579"/>
              <a:gd name="T69" fmla="*/ 911 h 1073"/>
              <a:gd name="T70" fmla="*/ 282 w 579"/>
              <a:gd name="T71" fmla="*/ 612 h 1073"/>
              <a:gd name="T72" fmla="*/ 297 w 579"/>
              <a:gd name="T73" fmla="*/ 612 h 1073"/>
              <a:gd name="T74" fmla="*/ 297 w 579"/>
              <a:gd name="T75" fmla="*/ 911 h 1073"/>
              <a:gd name="T76" fmla="*/ 355 w 579"/>
              <a:gd name="T77" fmla="*/ 554 h 1073"/>
              <a:gd name="T78" fmla="*/ 224 w 579"/>
              <a:gd name="T79" fmla="*/ 554 h 1073"/>
              <a:gd name="T80" fmla="*/ 59 w 579"/>
              <a:gd name="T81" fmla="*/ 554 h 1073"/>
              <a:gd name="T82" fmla="*/ 144 w 579"/>
              <a:gd name="T83" fmla="*/ 403 h 1073"/>
              <a:gd name="T84" fmla="*/ 149 w 579"/>
              <a:gd name="T85" fmla="*/ 399 h 1073"/>
              <a:gd name="T86" fmla="*/ 430 w 579"/>
              <a:gd name="T87" fmla="*/ 399 h 1073"/>
              <a:gd name="T88" fmla="*/ 435 w 579"/>
              <a:gd name="T89" fmla="*/ 403 h 1073"/>
              <a:gd name="T90" fmla="*/ 519 w 579"/>
              <a:gd name="T91" fmla="*/ 554 h 1073"/>
              <a:gd name="T92" fmla="*/ 355 w 579"/>
              <a:gd name="T93" fmla="*/ 554 h 1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9" h="1073">
                <a:moveTo>
                  <a:pt x="482" y="367"/>
                </a:moveTo>
                <a:cubicBezTo>
                  <a:pt x="482" y="148"/>
                  <a:pt x="482" y="148"/>
                  <a:pt x="482" y="148"/>
                </a:cubicBezTo>
                <a:cubicBezTo>
                  <a:pt x="508" y="135"/>
                  <a:pt x="525" y="109"/>
                  <a:pt x="525" y="79"/>
                </a:cubicBezTo>
                <a:cubicBezTo>
                  <a:pt x="525" y="35"/>
                  <a:pt x="490" y="0"/>
                  <a:pt x="447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89" y="0"/>
                  <a:pt x="54" y="35"/>
                  <a:pt x="54" y="79"/>
                </a:cubicBezTo>
                <a:cubicBezTo>
                  <a:pt x="54" y="109"/>
                  <a:pt x="71" y="135"/>
                  <a:pt x="96" y="148"/>
                </a:cubicBezTo>
                <a:cubicBezTo>
                  <a:pt x="96" y="367"/>
                  <a:pt x="96" y="367"/>
                  <a:pt x="96" y="367"/>
                </a:cubicBezTo>
                <a:cubicBezTo>
                  <a:pt x="35" y="422"/>
                  <a:pt x="0" y="500"/>
                  <a:pt x="0" y="583"/>
                </a:cubicBezTo>
                <a:cubicBezTo>
                  <a:pt x="0" y="612"/>
                  <a:pt x="0" y="612"/>
                  <a:pt x="0" y="612"/>
                </a:cubicBezTo>
                <a:cubicBezTo>
                  <a:pt x="224" y="612"/>
                  <a:pt x="224" y="612"/>
                  <a:pt x="224" y="612"/>
                </a:cubicBezTo>
                <a:cubicBezTo>
                  <a:pt x="224" y="923"/>
                  <a:pt x="224" y="923"/>
                  <a:pt x="224" y="923"/>
                </a:cubicBezTo>
                <a:cubicBezTo>
                  <a:pt x="289" y="1073"/>
                  <a:pt x="289" y="1073"/>
                  <a:pt x="289" y="1073"/>
                </a:cubicBezTo>
                <a:cubicBezTo>
                  <a:pt x="355" y="923"/>
                  <a:pt x="355" y="923"/>
                  <a:pt x="355" y="923"/>
                </a:cubicBezTo>
                <a:cubicBezTo>
                  <a:pt x="355" y="612"/>
                  <a:pt x="355" y="612"/>
                  <a:pt x="355" y="612"/>
                </a:cubicBezTo>
                <a:cubicBezTo>
                  <a:pt x="579" y="612"/>
                  <a:pt x="579" y="612"/>
                  <a:pt x="579" y="612"/>
                </a:cubicBezTo>
                <a:cubicBezTo>
                  <a:pt x="579" y="583"/>
                  <a:pt x="579" y="583"/>
                  <a:pt x="579" y="583"/>
                </a:cubicBezTo>
                <a:cubicBezTo>
                  <a:pt x="579" y="500"/>
                  <a:pt x="544" y="422"/>
                  <a:pt x="482" y="367"/>
                </a:cubicBezTo>
                <a:close/>
                <a:moveTo>
                  <a:pt x="132" y="58"/>
                </a:moveTo>
                <a:cubicBezTo>
                  <a:pt x="447" y="58"/>
                  <a:pt x="447" y="58"/>
                  <a:pt x="447" y="58"/>
                </a:cubicBezTo>
                <a:cubicBezTo>
                  <a:pt x="458" y="58"/>
                  <a:pt x="467" y="67"/>
                  <a:pt x="467" y="79"/>
                </a:cubicBezTo>
                <a:cubicBezTo>
                  <a:pt x="467" y="89"/>
                  <a:pt x="459" y="97"/>
                  <a:pt x="449" y="99"/>
                </a:cubicBezTo>
                <a:cubicBezTo>
                  <a:pt x="436" y="101"/>
                  <a:pt x="436" y="101"/>
                  <a:pt x="436" y="101"/>
                </a:cubicBezTo>
                <a:cubicBezTo>
                  <a:pt x="143" y="101"/>
                  <a:pt x="143" y="101"/>
                  <a:pt x="143" y="101"/>
                </a:cubicBezTo>
                <a:cubicBezTo>
                  <a:pt x="129" y="99"/>
                  <a:pt x="129" y="99"/>
                  <a:pt x="129" y="99"/>
                </a:cubicBezTo>
                <a:cubicBezTo>
                  <a:pt x="119" y="97"/>
                  <a:pt x="111" y="89"/>
                  <a:pt x="111" y="79"/>
                </a:cubicBezTo>
                <a:cubicBezTo>
                  <a:pt x="111" y="67"/>
                  <a:pt x="121" y="58"/>
                  <a:pt x="132" y="58"/>
                </a:cubicBezTo>
                <a:close/>
                <a:moveTo>
                  <a:pt x="424" y="370"/>
                </a:moveTo>
                <a:cubicBezTo>
                  <a:pt x="154" y="370"/>
                  <a:pt x="154" y="370"/>
                  <a:pt x="154" y="370"/>
                </a:cubicBezTo>
                <a:cubicBezTo>
                  <a:pt x="154" y="130"/>
                  <a:pt x="154" y="130"/>
                  <a:pt x="154" y="130"/>
                </a:cubicBezTo>
                <a:cubicBezTo>
                  <a:pt x="424" y="130"/>
                  <a:pt x="424" y="130"/>
                  <a:pt x="424" y="130"/>
                </a:cubicBezTo>
                <a:lnTo>
                  <a:pt x="424" y="370"/>
                </a:lnTo>
                <a:close/>
                <a:moveTo>
                  <a:pt x="297" y="911"/>
                </a:moveTo>
                <a:cubicBezTo>
                  <a:pt x="289" y="928"/>
                  <a:pt x="289" y="928"/>
                  <a:pt x="289" y="928"/>
                </a:cubicBezTo>
                <a:cubicBezTo>
                  <a:pt x="282" y="911"/>
                  <a:pt x="282" y="911"/>
                  <a:pt x="282" y="911"/>
                </a:cubicBezTo>
                <a:cubicBezTo>
                  <a:pt x="282" y="612"/>
                  <a:pt x="282" y="612"/>
                  <a:pt x="282" y="612"/>
                </a:cubicBezTo>
                <a:cubicBezTo>
                  <a:pt x="297" y="612"/>
                  <a:pt x="297" y="612"/>
                  <a:pt x="297" y="612"/>
                </a:cubicBezTo>
                <a:lnTo>
                  <a:pt x="297" y="911"/>
                </a:lnTo>
                <a:close/>
                <a:moveTo>
                  <a:pt x="355" y="554"/>
                </a:moveTo>
                <a:cubicBezTo>
                  <a:pt x="224" y="554"/>
                  <a:pt x="224" y="554"/>
                  <a:pt x="224" y="554"/>
                </a:cubicBezTo>
                <a:cubicBezTo>
                  <a:pt x="59" y="554"/>
                  <a:pt x="59" y="554"/>
                  <a:pt x="59" y="554"/>
                </a:cubicBezTo>
                <a:cubicBezTo>
                  <a:pt x="67" y="495"/>
                  <a:pt x="97" y="441"/>
                  <a:pt x="144" y="403"/>
                </a:cubicBezTo>
                <a:cubicBezTo>
                  <a:pt x="149" y="399"/>
                  <a:pt x="149" y="399"/>
                  <a:pt x="149" y="399"/>
                </a:cubicBezTo>
                <a:cubicBezTo>
                  <a:pt x="430" y="399"/>
                  <a:pt x="430" y="399"/>
                  <a:pt x="430" y="399"/>
                </a:cubicBezTo>
                <a:cubicBezTo>
                  <a:pt x="435" y="403"/>
                  <a:pt x="435" y="403"/>
                  <a:pt x="435" y="403"/>
                </a:cubicBezTo>
                <a:cubicBezTo>
                  <a:pt x="482" y="441"/>
                  <a:pt x="512" y="495"/>
                  <a:pt x="519" y="554"/>
                </a:cubicBezTo>
                <a:lnTo>
                  <a:pt x="355" y="5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endParaRPr lang="id-ID" sz="840" dirty="0">
              <a:solidFill>
                <a:schemeClr val="tx2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7E4BD95-89A4-E64E-B48B-1427EB6EF477}"/>
              </a:ext>
            </a:extLst>
          </p:cNvPr>
          <p:cNvGrpSpPr>
            <a:grpSpLocks noChangeAspect="1"/>
          </p:cNvGrpSpPr>
          <p:nvPr/>
        </p:nvGrpSpPr>
        <p:grpSpPr>
          <a:xfrm>
            <a:off x="9095178" y="2521138"/>
            <a:ext cx="195648" cy="312244"/>
            <a:chOff x="6513513" y="557213"/>
            <a:chExt cx="471488" cy="752475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8A2932E0-FC59-DC3E-A292-F523F2EAC4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9E74AAF2-20CE-EC0F-B050-82D13E842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A5C0036-32F4-D50E-51F2-B8EFC9276F6D}"/>
              </a:ext>
            </a:extLst>
          </p:cNvPr>
          <p:cNvGrpSpPr/>
          <p:nvPr/>
        </p:nvGrpSpPr>
        <p:grpSpPr>
          <a:xfrm>
            <a:off x="7025229" y="2445138"/>
            <a:ext cx="534936" cy="464244"/>
            <a:chOff x="8783638" y="1235076"/>
            <a:chExt cx="360363" cy="312738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8" name="Freeform 51">
              <a:extLst>
                <a:ext uri="{FF2B5EF4-FFF2-40B4-BE49-F238E27FC236}">
                  <a16:creationId xmlns:a16="http://schemas.microsoft.com/office/drawing/2014/main" id="{91AE79F2-AB2E-7A7A-1050-8D06C12E83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42375" y="1290638"/>
              <a:ext cx="128588" cy="8413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27"/>
                </a:cxn>
                <a:cxn ang="0">
                  <a:pos x="1" y="29"/>
                </a:cxn>
                <a:cxn ang="0">
                  <a:pos x="3" y="27"/>
                </a:cxn>
                <a:cxn ang="0">
                  <a:pos x="42" y="4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42" y="0"/>
                </a:cxn>
              </a:cxnLst>
              <a:rect l="0" t="0" r="r" b="b"/>
              <a:pathLst>
                <a:path w="44" h="29">
                  <a:moveTo>
                    <a:pt x="42" y="0"/>
                  </a:moveTo>
                  <a:cubicBezTo>
                    <a:pt x="19" y="0"/>
                    <a:pt x="0" y="12"/>
                    <a:pt x="0" y="27"/>
                  </a:cubicBezTo>
                  <a:cubicBezTo>
                    <a:pt x="0" y="28"/>
                    <a:pt x="0" y="29"/>
                    <a:pt x="1" y="29"/>
                  </a:cubicBezTo>
                  <a:cubicBezTo>
                    <a:pt x="3" y="29"/>
                    <a:pt x="3" y="28"/>
                    <a:pt x="3" y="27"/>
                  </a:cubicBezTo>
                  <a:cubicBezTo>
                    <a:pt x="3" y="15"/>
                    <a:pt x="21" y="4"/>
                    <a:pt x="42" y="4"/>
                  </a:cubicBezTo>
                  <a:cubicBezTo>
                    <a:pt x="43" y="4"/>
                    <a:pt x="44" y="3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52">
              <a:extLst>
                <a:ext uri="{FF2B5EF4-FFF2-40B4-BE49-F238E27FC236}">
                  <a16:creationId xmlns:a16="http://schemas.microsoft.com/office/drawing/2014/main" id="{6FAD22A4-050F-AC48-F0C0-D43AAA937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83638" y="1235076"/>
              <a:ext cx="360363" cy="312738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46"/>
                </a:cxn>
                <a:cxn ang="0">
                  <a:pos x="27" y="84"/>
                </a:cxn>
                <a:cxn ang="0">
                  <a:pos x="27" y="84"/>
                </a:cxn>
                <a:cxn ang="0">
                  <a:pos x="20" y="102"/>
                </a:cxn>
                <a:cxn ang="0">
                  <a:pos x="20" y="104"/>
                </a:cxn>
                <a:cxn ang="0">
                  <a:pos x="23" y="107"/>
                </a:cxn>
                <a:cxn ang="0">
                  <a:pos x="24" y="107"/>
                </a:cxn>
                <a:cxn ang="0">
                  <a:pos x="50" y="91"/>
                </a:cxn>
                <a:cxn ang="0">
                  <a:pos x="62" y="92"/>
                </a:cxn>
                <a:cxn ang="0">
                  <a:pos x="123" y="46"/>
                </a:cxn>
                <a:cxn ang="0">
                  <a:pos x="62" y="0"/>
                </a:cxn>
                <a:cxn ang="0">
                  <a:pos x="62" y="84"/>
                </a:cxn>
                <a:cxn ang="0">
                  <a:pos x="51" y="83"/>
                </a:cxn>
                <a:cxn ang="0">
                  <a:pos x="50" y="83"/>
                </a:cxn>
                <a:cxn ang="0">
                  <a:pos x="44" y="86"/>
                </a:cxn>
                <a:cxn ang="0">
                  <a:pos x="32" y="96"/>
                </a:cxn>
                <a:cxn ang="0">
                  <a:pos x="35" y="85"/>
                </a:cxn>
                <a:cxn ang="0">
                  <a:pos x="35" y="84"/>
                </a:cxn>
                <a:cxn ang="0">
                  <a:pos x="31" y="77"/>
                </a:cxn>
                <a:cxn ang="0">
                  <a:pos x="8" y="46"/>
                </a:cxn>
                <a:cxn ang="0">
                  <a:pos x="62" y="7"/>
                </a:cxn>
                <a:cxn ang="0">
                  <a:pos x="115" y="46"/>
                </a:cxn>
                <a:cxn ang="0">
                  <a:pos x="62" y="84"/>
                </a:cxn>
                <a:cxn ang="0">
                  <a:pos x="62" y="84"/>
                </a:cxn>
                <a:cxn ang="0">
                  <a:pos x="62" y="84"/>
                </a:cxn>
              </a:cxnLst>
              <a:rect l="0" t="0" r="r" b="b"/>
              <a:pathLst>
                <a:path w="123" h="107">
                  <a:moveTo>
                    <a:pt x="62" y="0"/>
                  </a:moveTo>
                  <a:cubicBezTo>
                    <a:pt x="28" y="0"/>
                    <a:pt x="0" y="20"/>
                    <a:pt x="0" y="46"/>
                  </a:cubicBezTo>
                  <a:cubicBezTo>
                    <a:pt x="0" y="62"/>
                    <a:pt x="11" y="76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91"/>
                    <a:pt x="22" y="98"/>
                    <a:pt x="20" y="102"/>
                  </a:cubicBezTo>
                  <a:cubicBezTo>
                    <a:pt x="20" y="103"/>
                    <a:pt x="20" y="103"/>
                    <a:pt x="20" y="104"/>
                  </a:cubicBezTo>
                  <a:cubicBezTo>
                    <a:pt x="20" y="106"/>
                    <a:pt x="21" y="107"/>
                    <a:pt x="23" y="107"/>
                  </a:cubicBezTo>
                  <a:cubicBezTo>
                    <a:pt x="23" y="107"/>
                    <a:pt x="24" y="107"/>
                    <a:pt x="24" y="107"/>
                  </a:cubicBezTo>
                  <a:cubicBezTo>
                    <a:pt x="36" y="105"/>
                    <a:pt x="47" y="94"/>
                    <a:pt x="50" y="91"/>
                  </a:cubicBezTo>
                  <a:cubicBezTo>
                    <a:pt x="54" y="92"/>
                    <a:pt x="58" y="92"/>
                    <a:pt x="62" y="92"/>
                  </a:cubicBezTo>
                  <a:cubicBezTo>
                    <a:pt x="96" y="92"/>
                    <a:pt x="123" y="71"/>
                    <a:pt x="123" y="46"/>
                  </a:cubicBezTo>
                  <a:cubicBezTo>
                    <a:pt x="123" y="20"/>
                    <a:pt x="96" y="0"/>
                    <a:pt x="62" y="0"/>
                  </a:cubicBezTo>
                  <a:close/>
                  <a:moveTo>
                    <a:pt x="62" y="84"/>
                  </a:moveTo>
                  <a:cubicBezTo>
                    <a:pt x="58" y="84"/>
                    <a:pt x="55" y="84"/>
                    <a:pt x="51" y="83"/>
                  </a:cubicBezTo>
                  <a:cubicBezTo>
                    <a:pt x="51" y="83"/>
                    <a:pt x="50" y="83"/>
                    <a:pt x="50" y="83"/>
                  </a:cubicBezTo>
                  <a:cubicBezTo>
                    <a:pt x="48" y="83"/>
                    <a:pt x="45" y="84"/>
                    <a:pt x="44" y="86"/>
                  </a:cubicBezTo>
                  <a:cubicBezTo>
                    <a:pt x="42" y="88"/>
                    <a:pt x="38" y="93"/>
                    <a:pt x="32" y="96"/>
                  </a:cubicBezTo>
                  <a:cubicBezTo>
                    <a:pt x="34" y="92"/>
                    <a:pt x="35" y="89"/>
                    <a:pt x="35" y="85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1"/>
                    <a:pt x="33" y="78"/>
                    <a:pt x="31" y="77"/>
                  </a:cubicBezTo>
                  <a:cubicBezTo>
                    <a:pt x="17" y="70"/>
                    <a:pt x="8" y="58"/>
                    <a:pt x="8" y="46"/>
                  </a:cubicBezTo>
                  <a:cubicBezTo>
                    <a:pt x="8" y="25"/>
                    <a:pt x="32" y="7"/>
                    <a:pt x="62" y="7"/>
                  </a:cubicBezTo>
                  <a:cubicBezTo>
                    <a:pt x="91" y="7"/>
                    <a:pt x="115" y="25"/>
                    <a:pt x="115" y="46"/>
                  </a:cubicBezTo>
                  <a:cubicBezTo>
                    <a:pt x="115" y="67"/>
                    <a:pt x="91" y="84"/>
                    <a:pt x="62" y="84"/>
                  </a:cubicBezTo>
                  <a:close/>
                  <a:moveTo>
                    <a:pt x="62" y="84"/>
                  </a:moveTo>
                  <a:cubicBezTo>
                    <a:pt x="62" y="84"/>
                    <a:pt x="62" y="84"/>
                    <a:pt x="62" y="8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1" name="Inhaltsplatzhalter 4">
            <a:extLst>
              <a:ext uri="{FF2B5EF4-FFF2-40B4-BE49-F238E27FC236}">
                <a16:creationId xmlns:a16="http://schemas.microsoft.com/office/drawing/2014/main" id="{D6E422B7-DAE2-E3A4-A0C1-2F73390153B3}"/>
              </a:ext>
            </a:extLst>
          </p:cNvPr>
          <p:cNvSpPr txBox="1">
            <a:spLocks/>
          </p:cNvSpPr>
          <p:nvPr/>
        </p:nvSpPr>
        <p:spPr>
          <a:xfrm>
            <a:off x="3869837" y="4632762"/>
            <a:ext cx="2111584" cy="112338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2" name="Inhaltsplatzhalter 4">
            <a:extLst>
              <a:ext uri="{FF2B5EF4-FFF2-40B4-BE49-F238E27FC236}">
                <a16:creationId xmlns:a16="http://schemas.microsoft.com/office/drawing/2014/main" id="{DFC5D295-BF4F-E704-6CBC-76C6814BBFF3}"/>
              </a:ext>
            </a:extLst>
          </p:cNvPr>
          <p:cNvSpPr txBox="1">
            <a:spLocks/>
          </p:cNvSpPr>
          <p:nvPr/>
        </p:nvSpPr>
        <p:spPr>
          <a:xfrm flipH="1">
            <a:off x="8655639" y="4632762"/>
            <a:ext cx="2134281" cy="112338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3" name="Inhaltsplatzhalter 4">
            <a:extLst>
              <a:ext uri="{FF2B5EF4-FFF2-40B4-BE49-F238E27FC236}">
                <a16:creationId xmlns:a16="http://schemas.microsoft.com/office/drawing/2014/main" id="{504FECFA-06B0-689D-C6B5-2FB82F7711A2}"/>
              </a:ext>
            </a:extLst>
          </p:cNvPr>
          <p:cNvSpPr txBox="1">
            <a:spLocks/>
          </p:cNvSpPr>
          <p:nvPr/>
        </p:nvSpPr>
        <p:spPr>
          <a:xfrm flipH="1">
            <a:off x="1393423" y="4632762"/>
            <a:ext cx="2147217" cy="112338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D0182885-474B-2BC1-3981-CBA743E01E6F}"/>
              </a:ext>
            </a:extLst>
          </p:cNvPr>
          <p:cNvSpPr txBox="1">
            <a:spLocks/>
          </p:cNvSpPr>
          <p:nvPr/>
        </p:nvSpPr>
        <p:spPr>
          <a:xfrm>
            <a:off x="6289550" y="4632762"/>
            <a:ext cx="2111584" cy="112338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</p:spTree>
    <p:extLst>
      <p:ext uri="{BB962C8B-B14F-4D97-AF65-F5344CB8AC3E}">
        <p14:creationId xmlns:p14="http://schemas.microsoft.com/office/powerpoint/2010/main" val="2791981174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A3C9C-A242-A701-90AE-9B1DEA3E5F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CDF2C90-D135-2A4D-D358-691AEE771D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0865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9F7C86-E2E9-551E-D581-DDE10D6ED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1F5EEE9-7C91-C269-B54D-84E37978C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1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86F69B-8F1B-254C-0C36-DD893F0886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Quotes</a:t>
            </a:r>
          </a:p>
        </p:txBody>
      </p:sp>
    </p:spTree>
    <p:extLst>
      <p:ext uri="{BB962C8B-B14F-4D97-AF65-F5344CB8AC3E}">
        <p14:creationId xmlns:p14="http://schemas.microsoft.com/office/powerpoint/2010/main" val="4105557510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7B0EEA-1A52-4D40-DD25-82729E01FA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93C1701-7B2D-6ACC-2136-F78822261A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1475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BB28FA-3FE9-C464-C895-658B102D3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CF4D7D-F813-A555-387F-D5997E24EF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67146E0-454E-6658-6DA1-01CB77BFE56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Shape0_20220517_165518">
            <a:extLst>
              <a:ext uri="{FF2B5EF4-FFF2-40B4-BE49-F238E27FC236}">
                <a16:creationId xmlns:a16="http://schemas.microsoft.com/office/drawing/2014/main" id="{7EF11C74-6BCE-EE52-4AC7-55C479DCC379}"/>
              </a:ext>
            </a:extLst>
          </p:cNvPr>
          <p:cNvSpPr>
            <a:spLocks/>
          </p:cNvSpPr>
          <p:nvPr/>
        </p:nvSpPr>
        <p:spPr>
          <a:xfrm>
            <a:off x="699644" y="1578058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4" name="Shape0_20211213_182644">
            <a:extLst>
              <a:ext uri="{FF2B5EF4-FFF2-40B4-BE49-F238E27FC236}">
                <a16:creationId xmlns:a16="http://schemas.microsoft.com/office/drawing/2014/main" id="{E386C5F8-8425-2064-8726-0FA9469E0A06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0476" y="1484655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5" name="Shape1_20220517_165518">
            <a:extLst>
              <a:ext uri="{FF2B5EF4-FFF2-40B4-BE49-F238E27FC236}">
                <a16:creationId xmlns:a16="http://schemas.microsoft.com/office/drawing/2014/main" id="{90930FEC-2A74-191C-94CA-7A020EE169E9}"/>
              </a:ext>
            </a:extLst>
          </p:cNvPr>
          <p:cNvSpPr>
            <a:spLocks/>
          </p:cNvSpPr>
          <p:nvPr/>
        </p:nvSpPr>
        <p:spPr>
          <a:xfrm>
            <a:off x="6417445" y="1578058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6" name="Shape1_20211213_182644">
            <a:extLst>
              <a:ext uri="{FF2B5EF4-FFF2-40B4-BE49-F238E27FC236}">
                <a16:creationId xmlns:a16="http://schemas.microsoft.com/office/drawing/2014/main" id="{56F1F040-B8A9-E5F2-6C96-7FBECDC1FF95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48278" y="1484655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7" name="Shape2_20220517_165518">
            <a:extLst>
              <a:ext uri="{FF2B5EF4-FFF2-40B4-BE49-F238E27FC236}">
                <a16:creationId xmlns:a16="http://schemas.microsoft.com/office/drawing/2014/main" id="{39F78C77-815A-F46B-8B01-D3A3575AAFDC}"/>
              </a:ext>
            </a:extLst>
          </p:cNvPr>
          <p:cNvSpPr>
            <a:spLocks/>
          </p:cNvSpPr>
          <p:nvPr/>
        </p:nvSpPr>
        <p:spPr>
          <a:xfrm>
            <a:off x="699644" y="3867507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8" name="Shape2_20211213_182644">
            <a:extLst>
              <a:ext uri="{FF2B5EF4-FFF2-40B4-BE49-F238E27FC236}">
                <a16:creationId xmlns:a16="http://schemas.microsoft.com/office/drawing/2014/main" id="{15763B91-99A0-8815-E58E-9DE38C533E05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0476" y="3774104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9" name="Shape3_20220517_165518">
            <a:extLst>
              <a:ext uri="{FF2B5EF4-FFF2-40B4-BE49-F238E27FC236}">
                <a16:creationId xmlns:a16="http://schemas.microsoft.com/office/drawing/2014/main" id="{6529884F-F288-69E8-1BEF-3B91E013082A}"/>
              </a:ext>
            </a:extLst>
          </p:cNvPr>
          <p:cNvSpPr>
            <a:spLocks/>
          </p:cNvSpPr>
          <p:nvPr/>
        </p:nvSpPr>
        <p:spPr>
          <a:xfrm>
            <a:off x="6417445" y="3867507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0" name="Shape3_20211213_182644">
            <a:extLst>
              <a:ext uri="{FF2B5EF4-FFF2-40B4-BE49-F238E27FC236}">
                <a16:creationId xmlns:a16="http://schemas.microsoft.com/office/drawing/2014/main" id="{46AFCDF2-B065-8F0D-CDF1-DF7254C514CD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48278" y="3774104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</p:spTree>
    <p:extLst>
      <p:ext uri="{BB962C8B-B14F-4D97-AF65-F5344CB8AC3E}">
        <p14:creationId xmlns:p14="http://schemas.microsoft.com/office/powerpoint/2010/main" val="3753538339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F43684-F5A5-0EF9-AFCC-24265F4F91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F0C351A-203E-DE33-7761-F64799E639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3C1701-7B2D-6ACC-2136-F78822261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C1108CC-36CC-B325-2E02-3CE344BFC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85374CF-D55F-7BCD-113D-7DF0ADC163C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5" name="Content Placeholder 2">
            <a:extLst>
              <a:ext uri="{FF2B5EF4-FFF2-40B4-BE49-F238E27FC236}">
                <a16:creationId xmlns:a16="http://schemas.microsoft.com/office/drawing/2014/main" id="{9F25B7BD-C1FA-0F7B-6626-6FFEC6CE500F}"/>
              </a:ext>
            </a:extLst>
          </p:cNvPr>
          <p:cNvSpPr txBox="1">
            <a:spLocks/>
          </p:cNvSpPr>
          <p:nvPr/>
        </p:nvSpPr>
        <p:spPr>
          <a:xfrm>
            <a:off x="1079385" y="3870966"/>
            <a:ext cx="9749275" cy="419895"/>
          </a:xfrm>
          <a:prstGeom prst="rect">
            <a:avLst/>
          </a:prstGeom>
        </p:spPr>
        <p:txBody>
          <a:bodyPr vert="horz" lIns="150148" tIns="75075" rIns="150148" bIns="75075" rtlCol="0" anchor="ctr" anchorCtr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Clr>
                <a:srgbClr val="1E5155">
                  <a:lumMod val="40000"/>
                  <a:lumOff val="60000"/>
                </a:srgbClr>
              </a:buClr>
              <a:buNone/>
              <a:defRPr/>
            </a:pPr>
            <a:r>
              <a:rPr lang="en-US" sz="1600" dirty="0">
                <a:latin typeface="+mn-lt"/>
              </a:rPr>
              <a:t>Insert Text Here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1BB45BB5-634D-CFDB-F83F-99878D29C4E1}"/>
              </a:ext>
            </a:extLst>
          </p:cNvPr>
          <p:cNvSpPr/>
          <p:nvPr/>
        </p:nvSpPr>
        <p:spPr>
          <a:xfrm>
            <a:off x="642892" y="2568111"/>
            <a:ext cx="10924404" cy="3025376"/>
          </a:xfrm>
          <a:custGeom>
            <a:avLst/>
            <a:gdLst>
              <a:gd name="connsiteX0" fmla="*/ 323438 w 10749280"/>
              <a:gd name="connsiteY0" fmla="*/ 0 h 2976880"/>
              <a:gd name="connsiteX1" fmla="*/ 352452 w 10749280"/>
              <a:gd name="connsiteY1" fmla="*/ 0 h 2976880"/>
              <a:gd name="connsiteX2" fmla="*/ 352452 w 10749280"/>
              <a:gd name="connsiteY2" fmla="*/ 138789 h 2976880"/>
              <a:gd name="connsiteX3" fmla="*/ 420853 w 10749280"/>
              <a:gd name="connsiteY3" fmla="*/ 207190 h 2976880"/>
              <a:gd name="connsiteX4" fmla="*/ 875209 w 10749280"/>
              <a:gd name="connsiteY4" fmla="*/ 207190 h 2976880"/>
              <a:gd name="connsiteX5" fmla="*/ 943610 w 10749280"/>
              <a:gd name="connsiteY5" fmla="*/ 138789 h 2976880"/>
              <a:gd name="connsiteX6" fmla="*/ 943610 w 10749280"/>
              <a:gd name="connsiteY6" fmla="*/ 0 h 2976880"/>
              <a:gd name="connsiteX7" fmla="*/ 10425842 w 10749280"/>
              <a:gd name="connsiteY7" fmla="*/ 0 h 2976880"/>
              <a:gd name="connsiteX8" fmla="*/ 10749280 w 10749280"/>
              <a:gd name="connsiteY8" fmla="*/ 323438 h 2976880"/>
              <a:gd name="connsiteX9" fmla="*/ 10749280 w 10749280"/>
              <a:gd name="connsiteY9" fmla="*/ 2653442 h 2976880"/>
              <a:gd name="connsiteX10" fmla="*/ 10425842 w 10749280"/>
              <a:gd name="connsiteY10" fmla="*/ 2976880 h 2976880"/>
              <a:gd name="connsiteX11" fmla="*/ 10397159 w 10749280"/>
              <a:gd name="connsiteY11" fmla="*/ 2976880 h 2976880"/>
              <a:gd name="connsiteX12" fmla="*/ 10397159 w 10749280"/>
              <a:gd name="connsiteY12" fmla="*/ 2834578 h 2976880"/>
              <a:gd name="connsiteX13" fmla="*/ 10328758 w 10749280"/>
              <a:gd name="connsiteY13" fmla="*/ 2766177 h 2976880"/>
              <a:gd name="connsiteX14" fmla="*/ 9874402 w 10749280"/>
              <a:gd name="connsiteY14" fmla="*/ 2766177 h 2976880"/>
              <a:gd name="connsiteX15" fmla="*/ 9806001 w 10749280"/>
              <a:gd name="connsiteY15" fmla="*/ 2834578 h 2976880"/>
              <a:gd name="connsiteX16" fmla="*/ 9806001 w 10749280"/>
              <a:gd name="connsiteY16" fmla="*/ 2976880 h 2976880"/>
              <a:gd name="connsiteX17" fmla="*/ 323438 w 10749280"/>
              <a:gd name="connsiteY17" fmla="*/ 2976880 h 2976880"/>
              <a:gd name="connsiteX18" fmla="*/ 0 w 10749280"/>
              <a:gd name="connsiteY18" fmla="*/ 2653442 h 2976880"/>
              <a:gd name="connsiteX19" fmla="*/ 0 w 10749280"/>
              <a:gd name="connsiteY19" fmla="*/ 323438 h 2976880"/>
              <a:gd name="connsiteX20" fmla="*/ 323438 w 10749280"/>
              <a:gd name="connsiteY20" fmla="*/ 0 h 2976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749280" h="2976880">
                <a:moveTo>
                  <a:pt x="323438" y="0"/>
                </a:moveTo>
                <a:lnTo>
                  <a:pt x="352452" y="0"/>
                </a:lnTo>
                <a:lnTo>
                  <a:pt x="352452" y="138789"/>
                </a:lnTo>
                <a:cubicBezTo>
                  <a:pt x="352452" y="176566"/>
                  <a:pt x="383076" y="207190"/>
                  <a:pt x="420853" y="207190"/>
                </a:cubicBezTo>
                <a:lnTo>
                  <a:pt x="875209" y="207190"/>
                </a:lnTo>
                <a:cubicBezTo>
                  <a:pt x="912986" y="207190"/>
                  <a:pt x="943610" y="176566"/>
                  <a:pt x="943610" y="138789"/>
                </a:cubicBezTo>
                <a:lnTo>
                  <a:pt x="943610" y="0"/>
                </a:lnTo>
                <a:lnTo>
                  <a:pt x="10425842" y="0"/>
                </a:lnTo>
                <a:cubicBezTo>
                  <a:pt x="10604472" y="0"/>
                  <a:pt x="10749280" y="144808"/>
                  <a:pt x="10749280" y="323438"/>
                </a:cubicBezTo>
                <a:lnTo>
                  <a:pt x="10749280" y="2653442"/>
                </a:lnTo>
                <a:cubicBezTo>
                  <a:pt x="10749280" y="2832072"/>
                  <a:pt x="10604472" y="2976880"/>
                  <a:pt x="10425842" y="2976880"/>
                </a:cubicBezTo>
                <a:lnTo>
                  <a:pt x="10397159" y="2976880"/>
                </a:lnTo>
                <a:lnTo>
                  <a:pt x="10397159" y="2834578"/>
                </a:lnTo>
                <a:cubicBezTo>
                  <a:pt x="10397159" y="2796801"/>
                  <a:pt x="10366535" y="2766177"/>
                  <a:pt x="10328758" y="2766177"/>
                </a:cubicBezTo>
                <a:lnTo>
                  <a:pt x="9874402" y="2766177"/>
                </a:lnTo>
                <a:cubicBezTo>
                  <a:pt x="9836625" y="2766177"/>
                  <a:pt x="9806001" y="2796801"/>
                  <a:pt x="9806001" y="2834578"/>
                </a:cubicBezTo>
                <a:lnTo>
                  <a:pt x="9806001" y="2976880"/>
                </a:lnTo>
                <a:lnTo>
                  <a:pt x="323438" y="2976880"/>
                </a:lnTo>
                <a:cubicBezTo>
                  <a:pt x="144808" y="2976880"/>
                  <a:pt x="0" y="2832072"/>
                  <a:pt x="0" y="2653442"/>
                </a:cubicBezTo>
                <a:lnTo>
                  <a:pt x="0" y="323438"/>
                </a:lnTo>
                <a:cubicBezTo>
                  <a:pt x="0" y="144808"/>
                  <a:pt x="144808" y="0"/>
                  <a:pt x="323438" y="0"/>
                </a:cubicBez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95231091-9D1E-1393-D0BA-534475864ACC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1087552" y="2351692"/>
            <a:ext cx="436883" cy="358469"/>
          </a:xfrm>
          <a:custGeom>
            <a:avLst/>
            <a:gdLst>
              <a:gd name="T0" fmla="*/ 860 w 1462"/>
              <a:gd name="T1" fmla="*/ 0 h 1204"/>
              <a:gd name="T2" fmla="*/ 860 w 1462"/>
              <a:gd name="T3" fmla="*/ 602 h 1204"/>
              <a:gd name="T4" fmla="*/ 1204 w 1462"/>
              <a:gd name="T5" fmla="*/ 602 h 1204"/>
              <a:gd name="T6" fmla="*/ 860 w 1462"/>
              <a:gd name="T7" fmla="*/ 946 h 1204"/>
              <a:gd name="T8" fmla="*/ 860 w 1462"/>
              <a:gd name="T9" fmla="*/ 1204 h 1204"/>
              <a:gd name="T10" fmla="*/ 1462 w 1462"/>
              <a:gd name="T11" fmla="*/ 602 h 1204"/>
              <a:gd name="T12" fmla="*/ 1462 w 1462"/>
              <a:gd name="T13" fmla="*/ 0 h 1204"/>
              <a:gd name="T14" fmla="*/ 860 w 1462"/>
              <a:gd name="T15" fmla="*/ 0 h 1204"/>
              <a:gd name="T16" fmla="*/ 0 w 1462"/>
              <a:gd name="T17" fmla="*/ 602 h 1204"/>
              <a:gd name="T18" fmla="*/ 344 w 1462"/>
              <a:gd name="T19" fmla="*/ 602 h 1204"/>
              <a:gd name="T20" fmla="*/ 0 w 1462"/>
              <a:gd name="T21" fmla="*/ 946 h 1204"/>
              <a:gd name="T22" fmla="*/ 0 w 1462"/>
              <a:gd name="T23" fmla="*/ 1204 h 1204"/>
              <a:gd name="T24" fmla="*/ 602 w 1462"/>
              <a:gd name="T25" fmla="*/ 602 h 1204"/>
              <a:gd name="T26" fmla="*/ 602 w 1462"/>
              <a:gd name="T27" fmla="*/ 0 h 1204"/>
              <a:gd name="T28" fmla="*/ 0 w 1462"/>
              <a:gd name="T29" fmla="*/ 0 h 1204"/>
              <a:gd name="T30" fmla="*/ 0 w 1462"/>
              <a:gd name="T31" fmla="*/ 602 h 1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62" h="1204">
                <a:moveTo>
                  <a:pt x="860" y="0"/>
                </a:moveTo>
                <a:lnTo>
                  <a:pt x="860" y="602"/>
                </a:lnTo>
                <a:lnTo>
                  <a:pt x="1204" y="602"/>
                </a:lnTo>
                <a:cubicBezTo>
                  <a:pt x="1204" y="792"/>
                  <a:pt x="1050" y="946"/>
                  <a:pt x="860" y="946"/>
                </a:cubicBezTo>
                <a:lnTo>
                  <a:pt x="860" y="1204"/>
                </a:lnTo>
                <a:cubicBezTo>
                  <a:pt x="1193" y="1204"/>
                  <a:pt x="1462" y="935"/>
                  <a:pt x="1462" y="602"/>
                </a:cubicBezTo>
                <a:lnTo>
                  <a:pt x="1462" y="0"/>
                </a:lnTo>
                <a:lnTo>
                  <a:pt x="860" y="0"/>
                </a:lnTo>
                <a:close/>
                <a:moveTo>
                  <a:pt x="0" y="602"/>
                </a:moveTo>
                <a:lnTo>
                  <a:pt x="344" y="602"/>
                </a:lnTo>
                <a:cubicBezTo>
                  <a:pt x="344" y="792"/>
                  <a:pt x="190" y="946"/>
                  <a:pt x="0" y="946"/>
                </a:cubicBezTo>
                <a:lnTo>
                  <a:pt x="0" y="1204"/>
                </a:lnTo>
                <a:cubicBezTo>
                  <a:pt x="333" y="1204"/>
                  <a:pt x="602" y="935"/>
                  <a:pt x="602" y="602"/>
                </a:cubicBezTo>
                <a:lnTo>
                  <a:pt x="602" y="0"/>
                </a:lnTo>
                <a:lnTo>
                  <a:pt x="0" y="0"/>
                </a:lnTo>
                <a:lnTo>
                  <a:pt x="0" y="602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8" name="Freeform 46">
            <a:extLst>
              <a:ext uri="{FF2B5EF4-FFF2-40B4-BE49-F238E27FC236}">
                <a16:creationId xmlns:a16="http://schemas.microsoft.com/office/drawing/2014/main" id="{2DA9F80D-13F0-AA53-B19B-CEE09ADEA6C8}"/>
              </a:ext>
            </a:extLst>
          </p:cNvPr>
          <p:cNvSpPr>
            <a:spLocks noEditPoints="1"/>
          </p:cNvSpPr>
          <p:nvPr/>
        </p:nvSpPr>
        <p:spPr bwMode="auto">
          <a:xfrm>
            <a:off x="10694471" y="5461004"/>
            <a:ext cx="436883" cy="358469"/>
          </a:xfrm>
          <a:custGeom>
            <a:avLst/>
            <a:gdLst>
              <a:gd name="T0" fmla="*/ 860 w 1462"/>
              <a:gd name="T1" fmla="*/ 0 h 1204"/>
              <a:gd name="T2" fmla="*/ 860 w 1462"/>
              <a:gd name="T3" fmla="*/ 602 h 1204"/>
              <a:gd name="T4" fmla="*/ 1204 w 1462"/>
              <a:gd name="T5" fmla="*/ 602 h 1204"/>
              <a:gd name="T6" fmla="*/ 860 w 1462"/>
              <a:gd name="T7" fmla="*/ 946 h 1204"/>
              <a:gd name="T8" fmla="*/ 860 w 1462"/>
              <a:gd name="T9" fmla="*/ 1204 h 1204"/>
              <a:gd name="T10" fmla="*/ 1462 w 1462"/>
              <a:gd name="T11" fmla="*/ 602 h 1204"/>
              <a:gd name="T12" fmla="*/ 1462 w 1462"/>
              <a:gd name="T13" fmla="*/ 0 h 1204"/>
              <a:gd name="T14" fmla="*/ 860 w 1462"/>
              <a:gd name="T15" fmla="*/ 0 h 1204"/>
              <a:gd name="T16" fmla="*/ 0 w 1462"/>
              <a:gd name="T17" fmla="*/ 602 h 1204"/>
              <a:gd name="T18" fmla="*/ 344 w 1462"/>
              <a:gd name="T19" fmla="*/ 602 h 1204"/>
              <a:gd name="T20" fmla="*/ 0 w 1462"/>
              <a:gd name="T21" fmla="*/ 946 h 1204"/>
              <a:gd name="T22" fmla="*/ 0 w 1462"/>
              <a:gd name="T23" fmla="*/ 1204 h 1204"/>
              <a:gd name="T24" fmla="*/ 602 w 1462"/>
              <a:gd name="T25" fmla="*/ 602 h 1204"/>
              <a:gd name="T26" fmla="*/ 602 w 1462"/>
              <a:gd name="T27" fmla="*/ 0 h 1204"/>
              <a:gd name="T28" fmla="*/ 0 w 1462"/>
              <a:gd name="T29" fmla="*/ 0 h 1204"/>
              <a:gd name="T30" fmla="*/ 0 w 1462"/>
              <a:gd name="T31" fmla="*/ 602 h 1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62" h="1204">
                <a:moveTo>
                  <a:pt x="860" y="0"/>
                </a:moveTo>
                <a:lnTo>
                  <a:pt x="860" y="602"/>
                </a:lnTo>
                <a:lnTo>
                  <a:pt x="1204" y="602"/>
                </a:lnTo>
                <a:cubicBezTo>
                  <a:pt x="1204" y="792"/>
                  <a:pt x="1050" y="946"/>
                  <a:pt x="860" y="946"/>
                </a:cubicBezTo>
                <a:lnTo>
                  <a:pt x="860" y="1204"/>
                </a:lnTo>
                <a:cubicBezTo>
                  <a:pt x="1193" y="1204"/>
                  <a:pt x="1462" y="935"/>
                  <a:pt x="1462" y="602"/>
                </a:cubicBezTo>
                <a:lnTo>
                  <a:pt x="1462" y="0"/>
                </a:lnTo>
                <a:lnTo>
                  <a:pt x="860" y="0"/>
                </a:lnTo>
                <a:close/>
                <a:moveTo>
                  <a:pt x="0" y="602"/>
                </a:moveTo>
                <a:lnTo>
                  <a:pt x="344" y="602"/>
                </a:lnTo>
                <a:cubicBezTo>
                  <a:pt x="344" y="792"/>
                  <a:pt x="190" y="946"/>
                  <a:pt x="0" y="946"/>
                </a:cubicBezTo>
                <a:lnTo>
                  <a:pt x="0" y="1204"/>
                </a:lnTo>
                <a:cubicBezTo>
                  <a:pt x="333" y="1204"/>
                  <a:pt x="602" y="935"/>
                  <a:pt x="602" y="602"/>
                </a:cubicBezTo>
                <a:lnTo>
                  <a:pt x="602" y="0"/>
                </a:lnTo>
                <a:lnTo>
                  <a:pt x="0" y="0"/>
                </a:lnTo>
                <a:lnTo>
                  <a:pt x="0" y="602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075E3C5-74DD-A5D5-1A48-C074A6DBA1CA}"/>
              </a:ext>
            </a:extLst>
          </p:cNvPr>
          <p:cNvSpPr/>
          <p:nvPr/>
        </p:nvSpPr>
        <p:spPr>
          <a:xfrm>
            <a:off x="626323" y="1455628"/>
            <a:ext cx="10957546" cy="707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750715">
              <a:defRPr/>
            </a:pPr>
            <a:endParaRPr lang="en-IN" sz="3939" b="1" dirty="0">
              <a:solidFill>
                <a:prstClr val="white"/>
              </a:solidFill>
            </a:endParaRPr>
          </a:p>
        </p:txBody>
      </p:sp>
      <p:sp>
        <p:nvSpPr>
          <p:cNvPr id="80" name="Content Placeholder 2">
            <a:extLst>
              <a:ext uri="{FF2B5EF4-FFF2-40B4-BE49-F238E27FC236}">
                <a16:creationId xmlns:a16="http://schemas.microsoft.com/office/drawing/2014/main" id="{71D5639E-37B4-3A8F-E826-67B70C5A23E9}"/>
              </a:ext>
            </a:extLst>
          </p:cNvPr>
          <p:cNvSpPr txBox="1">
            <a:spLocks/>
          </p:cNvSpPr>
          <p:nvPr/>
        </p:nvSpPr>
        <p:spPr>
          <a:xfrm>
            <a:off x="884667" y="1610531"/>
            <a:ext cx="10440858" cy="397838"/>
          </a:xfrm>
          <a:prstGeom prst="rect">
            <a:avLst/>
          </a:prstGeom>
        </p:spPr>
        <p:txBody>
          <a:bodyPr vert="horz" lIns="150148" tIns="75075" rIns="150148" bIns="75075" rtlCol="0" anchor="ctr" anchorCtr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>
              <a:buClr>
                <a:srgbClr val="1E5155">
                  <a:lumMod val="40000"/>
                  <a:lumOff val="60000"/>
                </a:srgbClr>
              </a:buClr>
              <a:buNone/>
              <a:defRPr/>
            </a:pPr>
            <a:r>
              <a:rPr lang="en-US" sz="1600" b="1" dirty="0">
                <a:solidFill>
                  <a:srgbClr val="FFFFFF"/>
                </a:solidFill>
                <a:latin typeface="+mn-lt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2992773769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11BB19-5EE3-92DC-FA56-BFA2FFE67C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6738947-98B0-3650-1428-919A06F8DB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0C351A-203E-DE33-7761-F64799E639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F9A86D-0B77-CD59-293E-A6E0272B4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12A9720-9764-E99D-CDB2-FE6D2AD14EC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5" name="Shape1_20220426_142924">
            <a:extLst>
              <a:ext uri="{FF2B5EF4-FFF2-40B4-BE49-F238E27FC236}">
                <a16:creationId xmlns:a16="http://schemas.microsoft.com/office/drawing/2014/main" id="{E744176E-4566-EDE8-82F1-2B14FA86CEC7}"/>
              </a:ext>
            </a:extLst>
          </p:cNvPr>
          <p:cNvSpPr/>
          <p:nvPr/>
        </p:nvSpPr>
        <p:spPr>
          <a:xfrm>
            <a:off x="630475" y="3685166"/>
            <a:ext cx="5145501" cy="1896961"/>
          </a:xfrm>
          <a:prstGeom prst="rect">
            <a:avLst/>
          </a:prstGeom>
          <a:noFill/>
          <a:ln>
            <a:solidFill>
              <a:srgbClr val="19516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66" name="Shape1_20220517_165512">
            <a:extLst>
              <a:ext uri="{FF2B5EF4-FFF2-40B4-BE49-F238E27FC236}">
                <a16:creationId xmlns:a16="http://schemas.microsoft.com/office/drawing/2014/main" id="{247D3EBE-C827-C24D-BBE1-32EB713AA28E}"/>
              </a:ext>
            </a:extLst>
          </p:cNvPr>
          <p:cNvSpPr txBox="1">
            <a:spLocks/>
          </p:cNvSpPr>
          <p:nvPr/>
        </p:nvSpPr>
        <p:spPr>
          <a:xfrm>
            <a:off x="750642" y="2972679"/>
            <a:ext cx="2177965" cy="326243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lang="en-US" sz="320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97874">
              <a:buClr>
                <a:srgbClr val="005073"/>
              </a:buClr>
            </a:pPr>
            <a:r>
              <a:rPr lang="en-US" sz="1600" b="1" i="1" dirty="0">
                <a:solidFill>
                  <a:schemeClr val="tx1"/>
                </a:solidFill>
                <a:latin typeface="+mn-lt"/>
              </a:rPr>
              <a:t>Insert Text Here</a:t>
            </a:r>
          </a:p>
        </p:txBody>
      </p:sp>
      <p:sp>
        <p:nvSpPr>
          <p:cNvPr id="67" name="Shape2_20220517_165512">
            <a:extLst>
              <a:ext uri="{FF2B5EF4-FFF2-40B4-BE49-F238E27FC236}">
                <a16:creationId xmlns:a16="http://schemas.microsoft.com/office/drawing/2014/main" id="{27639B06-87DF-0A16-162B-48A6935A449E}"/>
              </a:ext>
            </a:extLst>
          </p:cNvPr>
          <p:cNvSpPr txBox="1">
            <a:spLocks/>
          </p:cNvSpPr>
          <p:nvPr/>
        </p:nvSpPr>
        <p:spPr>
          <a:xfrm>
            <a:off x="750642" y="5203592"/>
            <a:ext cx="2177965" cy="326243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lang="en-US" sz="320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97874">
              <a:buClr>
                <a:srgbClr val="005073"/>
              </a:buClr>
            </a:pPr>
            <a:r>
              <a:rPr lang="en-US" sz="1600" b="1" i="1" dirty="0">
                <a:solidFill>
                  <a:schemeClr val="tx1"/>
                </a:solidFill>
                <a:latin typeface="+mn-lt"/>
              </a:rPr>
              <a:t>Insert Text Here</a:t>
            </a:r>
          </a:p>
        </p:txBody>
      </p:sp>
      <p:sp>
        <p:nvSpPr>
          <p:cNvPr id="68" name="Freeform 5">
            <a:extLst>
              <a:ext uri="{FF2B5EF4-FFF2-40B4-BE49-F238E27FC236}">
                <a16:creationId xmlns:a16="http://schemas.microsoft.com/office/drawing/2014/main" id="{C780E30E-5E8D-BED6-E58D-992A28A91A2E}"/>
              </a:ext>
            </a:extLst>
          </p:cNvPr>
          <p:cNvSpPr>
            <a:spLocks/>
          </p:cNvSpPr>
          <p:nvPr/>
        </p:nvSpPr>
        <p:spPr bwMode="auto">
          <a:xfrm>
            <a:off x="821394" y="3506787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rgbClr val="B2E0D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69" name="Freeform 5~1">
            <a:extLst>
              <a:ext uri="{FF2B5EF4-FFF2-40B4-BE49-F238E27FC236}">
                <a16:creationId xmlns:a16="http://schemas.microsoft.com/office/drawing/2014/main" id="{D1F6BA76-1EB8-0063-611D-D48127795B4D}"/>
              </a:ext>
            </a:extLst>
          </p:cNvPr>
          <p:cNvSpPr>
            <a:spLocks/>
          </p:cNvSpPr>
          <p:nvPr/>
        </p:nvSpPr>
        <p:spPr bwMode="auto">
          <a:xfrm>
            <a:off x="1117551" y="3506787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rgbClr val="B2E0D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70" name="Shape3_20220517_165512">
            <a:extLst>
              <a:ext uri="{FF2B5EF4-FFF2-40B4-BE49-F238E27FC236}">
                <a16:creationId xmlns:a16="http://schemas.microsoft.com/office/drawing/2014/main" id="{169F7E17-84DD-FB77-A09B-D3EF7316389A}"/>
              </a:ext>
            </a:extLst>
          </p:cNvPr>
          <p:cNvSpPr txBox="1">
            <a:spLocks/>
          </p:cNvSpPr>
          <p:nvPr/>
        </p:nvSpPr>
        <p:spPr>
          <a:xfrm>
            <a:off x="6401296" y="2972679"/>
            <a:ext cx="2177965" cy="326243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lang="en-US" sz="320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97874">
              <a:buClr>
                <a:srgbClr val="005073"/>
              </a:buClr>
            </a:pPr>
            <a:r>
              <a:rPr lang="en-US" sz="1600" b="1" i="1" dirty="0">
                <a:solidFill>
                  <a:schemeClr val="tx1"/>
                </a:solidFill>
                <a:latin typeface="+mn-lt"/>
              </a:rPr>
              <a:t>Insert Text Here</a:t>
            </a:r>
          </a:p>
        </p:txBody>
      </p:sp>
      <p:sp>
        <p:nvSpPr>
          <p:cNvPr id="71" name="Shape0_20220517_165512">
            <a:extLst>
              <a:ext uri="{FF2B5EF4-FFF2-40B4-BE49-F238E27FC236}">
                <a16:creationId xmlns:a16="http://schemas.microsoft.com/office/drawing/2014/main" id="{0F1181C7-F9D9-E9AD-AABA-37725D898637}"/>
              </a:ext>
            </a:extLst>
          </p:cNvPr>
          <p:cNvSpPr txBox="1">
            <a:spLocks/>
          </p:cNvSpPr>
          <p:nvPr/>
        </p:nvSpPr>
        <p:spPr>
          <a:xfrm>
            <a:off x="1494188" y="1577426"/>
            <a:ext cx="4144919" cy="584775"/>
          </a:xfrm>
          <a:prstGeom prst="rect">
            <a:avLst/>
          </a:prstGeom>
          <a:noFill/>
        </p:spPr>
        <p:txBody>
          <a:bodyPr wrap="square" lIns="150148" rIns="3002985" rtlCol="0">
            <a:spAutoFit/>
          </a:bodyPr>
          <a:lstStyle/>
          <a:p>
            <a:pPr defTabSz="1000741"/>
            <a:r>
              <a:rPr lang="en-US" sz="1600" dirty="0"/>
              <a:t>Insert Text Here</a:t>
            </a:r>
          </a:p>
        </p:txBody>
      </p:sp>
      <p:sp>
        <p:nvSpPr>
          <p:cNvPr id="72" name="Shape4_20220517_165512">
            <a:extLst>
              <a:ext uri="{FF2B5EF4-FFF2-40B4-BE49-F238E27FC236}">
                <a16:creationId xmlns:a16="http://schemas.microsoft.com/office/drawing/2014/main" id="{A034E006-1D77-A157-CF94-7E8AACFF31E4}"/>
              </a:ext>
            </a:extLst>
          </p:cNvPr>
          <p:cNvSpPr txBox="1">
            <a:spLocks/>
          </p:cNvSpPr>
          <p:nvPr/>
        </p:nvSpPr>
        <p:spPr>
          <a:xfrm>
            <a:off x="1494188" y="3808340"/>
            <a:ext cx="4144919" cy="584775"/>
          </a:xfrm>
          <a:prstGeom prst="rect">
            <a:avLst/>
          </a:prstGeom>
          <a:noFill/>
        </p:spPr>
        <p:txBody>
          <a:bodyPr wrap="square" lIns="150148" rIns="3002985" rtlCol="0">
            <a:spAutoFit/>
          </a:bodyPr>
          <a:lstStyle/>
          <a:p>
            <a:pPr defTabSz="1000741"/>
            <a:r>
              <a:rPr lang="en-IN" sz="1600" dirty="0"/>
              <a:t>Insert Text Here</a:t>
            </a:r>
          </a:p>
        </p:txBody>
      </p:sp>
      <p:sp>
        <p:nvSpPr>
          <p:cNvPr id="73" name="Shape5_20220517_165512">
            <a:extLst>
              <a:ext uri="{FF2B5EF4-FFF2-40B4-BE49-F238E27FC236}">
                <a16:creationId xmlns:a16="http://schemas.microsoft.com/office/drawing/2014/main" id="{FED044AB-BFF6-A0DA-E8C7-900847205F99}"/>
              </a:ext>
            </a:extLst>
          </p:cNvPr>
          <p:cNvSpPr txBox="1">
            <a:spLocks/>
          </p:cNvSpPr>
          <p:nvPr/>
        </p:nvSpPr>
        <p:spPr>
          <a:xfrm>
            <a:off x="7056011" y="1577426"/>
            <a:ext cx="4144919" cy="584775"/>
          </a:xfrm>
          <a:prstGeom prst="rect">
            <a:avLst/>
          </a:prstGeom>
          <a:noFill/>
        </p:spPr>
        <p:txBody>
          <a:bodyPr wrap="square" lIns="150148" rIns="3002985" rtlCol="0">
            <a:spAutoFit/>
          </a:bodyPr>
          <a:lstStyle/>
          <a:p>
            <a:pPr defTabSz="1000741"/>
            <a:r>
              <a:rPr lang="en-IN" sz="1600" dirty="0"/>
              <a:t>Insert Text Here</a:t>
            </a:r>
          </a:p>
        </p:txBody>
      </p:sp>
      <p:sp>
        <p:nvSpPr>
          <p:cNvPr id="74" name="Shape6_20220517_165512">
            <a:extLst>
              <a:ext uri="{FF2B5EF4-FFF2-40B4-BE49-F238E27FC236}">
                <a16:creationId xmlns:a16="http://schemas.microsoft.com/office/drawing/2014/main" id="{2290019D-78B6-8488-F8B1-94A9B073AC5E}"/>
              </a:ext>
            </a:extLst>
          </p:cNvPr>
          <p:cNvSpPr txBox="1">
            <a:spLocks/>
          </p:cNvSpPr>
          <p:nvPr/>
        </p:nvSpPr>
        <p:spPr>
          <a:xfrm>
            <a:off x="7056011" y="3808340"/>
            <a:ext cx="4144919" cy="584775"/>
          </a:xfrm>
          <a:prstGeom prst="rect">
            <a:avLst/>
          </a:prstGeom>
          <a:noFill/>
        </p:spPr>
        <p:txBody>
          <a:bodyPr wrap="square" lIns="150148" rIns="3002985" rtlCol="0">
            <a:spAutoFit/>
          </a:bodyPr>
          <a:lstStyle/>
          <a:p>
            <a:pPr defTabSz="1000741"/>
            <a:r>
              <a:rPr lang="en-IN" sz="1600" dirty="0"/>
              <a:t>Insert Text Here</a:t>
            </a:r>
          </a:p>
        </p:txBody>
      </p:sp>
      <p:sp>
        <p:nvSpPr>
          <p:cNvPr id="81" name="Shape7_20220517_165512">
            <a:extLst>
              <a:ext uri="{FF2B5EF4-FFF2-40B4-BE49-F238E27FC236}">
                <a16:creationId xmlns:a16="http://schemas.microsoft.com/office/drawing/2014/main" id="{D729F7EE-9DF0-BAAD-D475-AD97FBAE2006}"/>
              </a:ext>
            </a:extLst>
          </p:cNvPr>
          <p:cNvSpPr txBox="1">
            <a:spLocks/>
          </p:cNvSpPr>
          <p:nvPr/>
        </p:nvSpPr>
        <p:spPr>
          <a:xfrm>
            <a:off x="6401296" y="5203592"/>
            <a:ext cx="2177965" cy="326243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lang="en-US" sz="320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97874">
              <a:buClr>
                <a:srgbClr val="005073"/>
              </a:buClr>
            </a:pPr>
            <a:r>
              <a:rPr lang="en-US" sz="1600" b="1" i="1" dirty="0">
                <a:solidFill>
                  <a:schemeClr val="tx1"/>
                </a:solidFill>
                <a:latin typeface="+mn-lt"/>
              </a:rPr>
              <a:t>Insert Text Here</a:t>
            </a:r>
          </a:p>
        </p:txBody>
      </p:sp>
      <p:sp>
        <p:nvSpPr>
          <p:cNvPr id="82" name="Shape1_20211019_185929">
            <a:extLst>
              <a:ext uri="{FF2B5EF4-FFF2-40B4-BE49-F238E27FC236}">
                <a16:creationId xmlns:a16="http://schemas.microsoft.com/office/drawing/2014/main" id="{2242C927-3D53-6504-2232-E25CC0CA9899}"/>
              </a:ext>
            </a:extLst>
          </p:cNvPr>
          <p:cNvSpPr/>
          <p:nvPr/>
        </p:nvSpPr>
        <p:spPr>
          <a:xfrm flipH="1" flipV="1">
            <a:off x="796995" y="3506784"/>
            <a:ext cx="535292" cy="5189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83" name="Shape1_20211213_182725">
            <a:extLst>
              <a:ext uri="{FF2B5EF4-FFF2-40B4-BE49-F238E27FC236}">
                <a16:creationId xmlns:a16="http://schemas.microsoft.com/office/drawing/2014/main" id="{79083147-A2A9-0DD5-3E77-1D0FF26CCDC5}"/>
              </a:ext>
            </a:extLst>
          </p:cNvPr>
          <p:cNvSpPr>
            <a:spLocks/>
          </p:cNvSpPr>
          <p:nvPr/>
        </p:nvSpPr>
        <p:spPr bwMode="auto">
          <a:xfrm>
            <a:off x="821394" y="350678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84" name="Shape2_20211213_182725">
            <a:extLst>
              <a:ext uri="{FF2B5EF4-FFF2-40B4-BE49-F238E27FC236}">
                <a16:creationId xmlns:a16="http://schemas.microsoft.com/office/drawing/2014/main" id="{EF9D0E8D-3105-0F90-AE5D-74FABF54AD00}"/>
              </a:ext>
            </a:extLst>
          </p:cNvPr>
          <p:cNvSpPr>
            <a:spLocks/>
          </p:cNvSpPr>
          <p:nvPr/>
        </p:nvSpPr>
        <p:spPr bwMode="auto">
          <a:xfrm>
            <a:off x="1117551" y="350678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85" name="Shape0_20220426_142924">
            <a:extLst>
              <a:ext uri="{FF2B5EF4-FFF2-40B4-BE49-F238E27FC236}">
                <a16:creationId xmlns:a16="http://schemas.microsoft.com/office/drawing/2014/main" id="{1AB479E1-15C2-C974-9E6F-33104C908E0F}"/>
              </a:ext>
            </a:extLst>
          </p:cNvPr>
          <p:cNvSpPr/>
          <p:nvPr/>
        </p:nvSpPr>
        <p:spPr>
          <a:xfrm>
            <a:off x="630475" y="1495310"/>
            <a:ext cx="5145501" cy="1896961"/>
          </a:xfrm>
          <a:prstGeom prst="rect">
            <a:avLst/>
          </a:prstGeom>
          <a:noFill/>
          <a:ln>
            <a:solidFill>
              <a:srgbClr val="19516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86" name="Shape0_20211019_185929">
            <a:extLst>
              <a:ext uri="{FF2B5EF4-FFF2-40B4-BE49-F238E27FC236}">
                <a16:creationId xmlns:a16="http://schemas.microsoft.com/office/drawing/2014/main" id="{86331BF3-EDB7-A86A-2B98-4BFB22DFC6F7}"/>
              </a:ext>
            </a:extLst>
          </p:cNvPr>
          <p:cNvSpPr/>
          <p:nvPr/>
        </p:nvSpPr>
        <p:spPr>
          <a:xfrm flipH="1" flipV="1">
            <a:off x="796995" y="1275871"/>
            <a:ext cx="535292" cy="5189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87" name="Shape3_20211213_182725">
            <a:extLst>
              <a:ext uri="{FF2B5EF4-FFF2-40B4-BE49-F238E27FC236}">
                <a16:creationId xmlns:a16="http://schemas.microsoft.com/office/drawing/2014/main" id="{715157A4-706F-A1EE-A000-CE2BFD1A5341}"/>
              </a:ext>
            </a:extLst>
          </p:cNvPr>
          <p:cNvSpPr>
            <a:spLocks/>
          </p:cNvSpPr>
          <p:nvPr/>
        </p:nvSpPr>
        <p:spPr bwMode="auto">
          <a:xfrm>
            <a:off x="821394" y="127587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88" name="Shape4_20211213_182725">
            <a:extLst>
              <a:ext uri="{FF2B5EF4-FFF2-40B4-BE49-F238E27FC236}">
                <a16:creationId xmlns:a16="http://schemas.microsoft.com/office/drawing/2014/main" id="{91C4FE67-9BF1-E9E6-4E0F-6F889C1F0393}"/>
              </a:ext>
            </a:extLst>
          </p:cNvPr>
          <p:cNvSpPr>
            <a:spLocks/>
          </p:cNvSpPr>
          <p:nvPr/>
        </p:nvSpPr>
        <p:spPr bwMode="auto">
          <a:xfrm>
            <a:off x="1117551" y="127587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89" name="Shape2_20220426_142924">
            <a:extLst>
              <a:ext uri="{FF2B5EF4-FFF2-40B4-BE49-F238E27FC236}">
                <a16:creationId xmlns:a16="http://schemas.microsoft.com/office/drawing/2014/main" id="{DAA2116D-0008-2AB7-B62B-13691FA7C653}"/>
              </a:ext>
            </a:extLst>
          </p:cNvPr>
          <p:cNvSpPr/>
          <p:nvPr/>
        </p:nvSpPr>
        <p:spPr>
          <a:xfrm>
            <a:off x="6272776" y="1495310"/>
            <a:ext cx="5145501" cy="1896961"/>
          </a:xfrm>
          <a:prstGeom prst="rect">
            <a:avLst/>
          </a:prstGeom>
          <a:noFill/>
          <a:ln>
            <a:solidFill>
              <a:srgbClr val="19516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90" name="Shape2_20211019_185929">
            <a:extLst>
              <a:ext uri="{FF2B5EF4-FFF2-40B4-BE49-F238E27FC236}">
                <a16:creationId xmlns:a16="http://schemas.microsoft.com/office/drawing/2014/main" id="{5180F789-225E-60F7-54C6-F311D15F1713}"/>
              </a:ext>
            </a:extLst>
          </p:cNvPr>
          <p:cNvSpPr/>
          <p:nvPr/>
        </p:nvSpPr>
        <p:spPr>
          <a:xfrm flipH="1" flipV="1">
            <a:off x="6439298" y="1275871"/>
            <a:ext cx="535292" cy="5189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91" name="Shape5_20211213_182725">
            <a:extLst>
              <a:ext uri="{FF2B5EF4-FFF2-40B4-BE49-F238E27FC236}">
                <a16:creationId xmlns:a16="http://schemas.microsoft.com/office/drawing/2014/main" id="{8CC6834A-BA01-62E2-5CC6-4E6BDC956264}"/>
              </a:ext>
            </a:extLst>
          </p:cNvPr>
          <p:cNvSpPr>
            <a:spLocks/>
          </p:cNvSpPr>
          <p:nvPr/>
        </p:nvSpPr>
        <p:spPr bwMode="auto">
          <a:xfrm>
            <a:off x="6463693" y="127587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92" name="Shape6_20211213_182725">
            <a:extLst>
              <a:ext uri="{FF2B5EF4-FFF2-40B4-BE49-F238E27FC236}">
                <a16:creationId xmlns:a16="http://schemas.microsoft.com/office/drawing/2014/main" id="{11E2FBF8-680E-47B7-2EB5-903E585280CF}"/>
              </a:ext>
            </a:extLst>
          </p:cNvPr>
          <p:cNvSpPr>
            <a:spLocks/>
          </p:cNvSpPr>
          <p:nvPr/>
        </p:nvSpPr>
        <p:spPr bwMode="auto">
          <a:xfrm>
            <a:off x="6759855" y="127587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 dirty="0"/>
          </a:p>
        </p:txBody>
      </p:sp>
      <p:sp>
        <p:nvSpPr>
          <p:cNvPr id="93" name="Shape3_20220426_142924">
            <a:extLst>
              <a:ext uri="{FF2B5EF4-FFF2-40B4-BE49-F238E27FC236}">
                <a16:creationId xmlns:a16="http://schemas.microsoft.com/office/drawing/2014/main" id="{487BE00C-DBBA-8DD3-33E4-12E715EB6CFC}"/>
              </a:ext>
            </a:extLst>
          </p:cNvPr>
          <p:cNvSpPr/>
          <p:nvPr/>
        </p:nvSpPr>
        <p:spPr>
          <a:xfrm>
            <a:off x="6272776" y="3685167"/>
            <a:ext cx="5145501" cy="1896961"/>
          </a:xfrm>
          <a:prstGeom prst="rect">
            <a:avLst/>
          </a:prstGeom>
          <a:noFill/>
          <a:ln>
            <a:solidFill>
              <a:srgbClr val="19516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94" name="Shape3_20211019_185929">
            <a:extLst>
              <a:ext uri="{FF2B5EF4-FFF2-40B4-BE49-F238E27FC236}">
                <a16:creationId xmlns:a16="http://schemas.microsoft.com/office/drawing/2014/main" id="{CBEF8A16-8A14-BB28-8675-F1A7B1B19D6A}"/>
              </a:ext>
            </a:extLst>
          </p:cNvPr>
          <p:cNvSpPr/>
          <p:nvPr/>
        </p:nvSpPr>
        <p:spPr>
          <a:xfrm flipH="1" flipV="1">
            <a:off x="6439298" y="3506787"/>
            <a:ext cx="535292" cy="5189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95" name="Shape7_20211213_182725">
            <a:extLst>
              <a:ext uri="{FF2B5EF4-FFF2-40B4-BE49-F238E27FC236}">
                <a16:creationId xmlns:a16="http://schemas.microsoft.com/office/drawing/2014/main" id="{3210D16C-4863-011D-B267-A83081B605EA}"/>
              </a:ext>
            </a:extLst>
          </p:cNvPr>
          <p:cNvSpPr>
            <a:spLocks/>
          </p:cNvSpPr>
          <p:nvPr/>
        </p:nvSpPr>
        <p:spPr bwMode="auto">
          <a:xfrm>
            <a:off x="6463693" y="350678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96" name="Shape8_20211213_182725">
            <a:extLst>
              <a:ext uri="{FF2B5EF4-FFF2-40B4-BE49-F238E27FC236}">
                <a16:creationId xmlns:a16="http://schemas.microsoft.com/office/drawing/2014/main" id="{38D7C4B3-671A-9D06-EE91-44C4C45C4E94}"/>
              </a:ext>
            </a:extLst>
          </p:cNvPr>
          <p:cNvSpPr>
            <a:spLocks/>
          </p:cNvSpPr>
          <p:nvPr/>
        </p:nvSpPr>
        <p:spPr bwMode="auto">
          <a:xfrm>
            <a:off x="6759855" y="350678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pic>
        <p:nvPicPr>
          <p:cNvPr id="97" name="Picture 1">
            <a:extLst>
              <a:ext uri="{FF2B5EF4-FFF2-40B4-BE49-F238E27FC236}">
                <a16:creationId xmlns:a16="http://schemas.microsoft.com/office/drawing/2014/main" id="{02AB9BFB-0627-4462-7F9A-F6E44896993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 bwMode="auto">
          <a:xfrm>
            <a:off x="4069765" y="1738336"/>
            <a:ext cx="1466407" cy="146640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" name="Picture 1~1">
            <a:extLst>
              <a:ext uri="{FF2B5EF4-FFF2-40B4-BE49-F238E27FC236}">
                <a16:creationId xmlns:a16="http://schemas.microsoft.com/office/drawing/2014/main" id="{0007F547-D65D-46C6-B7FB-190D1DE84F1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 bwMode="auto">
          <a:xfrm>
            <a:off x="4069765" y="3932076"/>
            <a:ext cx="1466407" cy="146640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1~2">
            <a:extLst>
              <a:ext uri="{FF2B5EF4-FFF2-40B4-BE49-F238E27FC236}">
                <a16:creationId xmlns:a16="http://schemas.microsoft.com/office/drawing/2014/main" id="{0CD755EB-7945-FE77-621F-3588F0E4E64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 bwMode="auto">
          <a:xfrm>
            <a:off x="9800600" y="3932076"/>
            <a:ext cx="1466407" cy="146640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0" name="Rectangle 99">
            <a:extLst>
              <a:ext uri="{FF2B5EF4-FFF2-40B4-BE49-F238E27FC236}">
                <a16:creationId xmlns:a16="http://schemas.microsoft.com/office/drawing/2014/main" id="{EA8C7BCA-F21F-8544-8B6E-0FC67DB2166C}"/>
              </a:ext>
            </a:extLst>
          </p:cNvPr>
          <p:cNvSpPr/>
          <p:nvPr/>
        </p:nvSpPr>
        <p:spPr>
          <a:xfrm>
            <a:off x="10778873" y="5010848"/>
            <a:ext cx="507339" cy="5189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101" name="Shape9_20211213_182725">
            <a:extLst>
              <a:ext uri="{FF2B5EF4-FFF2-40B4-BE49-F238E27FC236}">
                <a16:creationId xmlns:a16="http://schemas.microsoft.com/office/drawing/2014/main" id="{D5F584E2-3C66-0CFF-2711-5F443462CD76}"/>
              </a:ext>
            </a:extLst>
          </p:cNvPr>
          <p:cNvSpPr>
            <a:spLocks/>
          </p:cNvSpPr>
          <p:nvPr/>
        </p:nvSpPr>
        <p:spPr bwMode="auto">
          <a:xfrm flipH="1" flipV="1">
            <a:off x="11113769" y="504736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2" name="Shape10_20211213_182725">
            <a:extLst>
              <a:ext uri="{FF2B5EF4-FFF2-40B4-BE49-F238E27FC236}">
                <a16:creationId xmlns:a16="http://schemas.microsoft.com/office/drawing/2014/main" id="{53F9225E-8E7B-2F03-FE10-FBC4DF4035AA}"/>
              </a:ext>
            </a:extLst>
          </p:cNvPr>
          <p:cNvSpPr>
            <a:spLocks/>
          </p:cNvSpPr>
          <p:nvPr/>
        </p:nvSpPr>
        <p:spPr bwMode="auto">
          <a:xfrm flipH="1" flipV="1">
            <a:off x="10817610" y="504736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FA21153-B887-13D9-3189-867F7134B43E}"/>
              </a:ext>
            </a:extLst>
          </p:cNvPr>
          <p:cNvSpPr/>
          <p:nvPr/>
        </p:nvSpPr>
        <p:spPr>
          <a:xfrm>
            <a:off x="5128217" y="2816450"/>
            <a:ext cx="507339" cy="5189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104" name="Shape11_20211213_182725">
            <a:extLst>
              <a:ext uri="{FF2B5EF4-FFF2-40B4-BE49-F238E27FC236}">
                <a16:creationId xmlns:a16="http://schemas.microsoft.com/office/drawing/2014/main" id="{1033A32F-1781-8926-7CC6-643B073B9D4E}"/>
              </a:ext>
            </a:extLst>
          </p:cNvPr>
          <p:cNvSpPr>
            <a:spLocks/>
          </p:cNvSpPr>
          <p:nvPr/>
        </p:nvSpPr>
        <p:spPr bwMode="auto">
          <a:xfrm flipH="1" flipV="1">
            <a:off x="5463115" y="285296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5" name="Shape12_20211213_182725">
            <a:extLst>
              <a:ext uri="{FF2B5EF4-FFF2-40B4-BE49-F238E27FC236}">
                <a16:creationId xmlns:a16="http://schemas.microsoft.com/office/drawing/2014/main" id="{AF399F41-0849-33D2-A719-2B36248293DD}"/>
              </a:ext>
            </a:extLst>
          </p:cNvPr>
          <p:cNvSpPr>
            <a:spLocks/>
          </p:cNvSpPr>
          <p:nvPr/>
        </p:nvSpPr>
        <p:spPr bwMode="auto">
          <a:xfrm flipH="1" flipV="1">
            <a:off x="5166955" y="285296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pic>
        <p:nvPicPr>
          <p:cNvPr id="106" name="Picture 1~3">
            <a:extLst>
              <a:ext uri="{FF2B5EF4-FFF2-40B4-BE49-F238E27FC236}">
                <a16:creationId xmlns:a16="http://schemas.microsoft.com/office/drawing/2014/main" id="{A1B3C23E-58E9-6DC7-2631-5B86AA10DB0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 bwMode="auto">
          <a:xfrm>
            <a:off x="9800600" y="1738336"/>
            <a:ext cx="1466407" cy="146640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" name="Rectangle 106">
            <a:extLst>
              <a:ext uri="{FF2B5EF4-FFF2-40B4-BE49-F238E27FC236}">
                <a16:creationId xmlns:a16="http://schemas.microsoft.com/office/drawing/2014/main" id="{0794F32D-DF6C-44E0-243E-94B8418FBD6E}"/>
              </a:ext>
            </a:extLst>
          </p:cNvPr>
          <p:cNvSpPr/>
          <p:nvPr/>
        </p:nvSpPr>
        <p:spPr>
          <a:xfrm>
            <a:off x="10778873" y="2816450"/>
            <a:ext cx="507339" cy="5189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108" name="Shape13_20211213_182725">
            <a:extLst>
              <a:ext uri="{FF2B5EF4-FFF2-40B4-BE49-F238E27FC236}">
                <a16:creationId xmlns:a16="http://schemas.microsoft.com/office/drawing/2014/main" id="{55579745-03E2-DDF0-5AE8-50FAE906CEBE}"/>
              </a:ext>
            </a:extLst>
          </p:cNvPr>
          <p:cNvSpPr>
            <a:spLocks/>
          </p:cNvSpPr>
          <p:nvPr/>
        </p:nvSpPr>
        <p:spPr bwMode="auto">
          <a:xfrm flipH="1" flipV="1">
            <a:off x="11113769" y="285296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9" name="Shape14_20211213_182725">
            <a:extLst>
              <a:ext uri="{FF2B5EF4-FFF2-40B4-BE49-F238E27FC236}">
                <a16:creationId xmlns:a16="http://schemas.microsoft.com/office/drawing/2014/main" id="{BC9052F3-AC50-290A-A9BC-90A0E627D9EA}"/>
              </a:ext>
            </a:extLst>
          </p:cNvPr>
          <p:cNvSpPr>
            <a:spLocks/>
          </p:cNvSpPr>
          <p:nvPr/>
        </p:nvSpPr>
        <p:spPr bwMode="auto">
          <a:xfrm flipH="1" flipV="1">
            <a:off x="10817610" y="285296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1542A162-5602-8168-6822-FA0AB300D273}"/>
              </a:ext>
            </a:extLst>
          </p:cNvPr>
          <p:cNvSpPr/>
          <p:nvPr/>
        </p:nvSpPr>
        <p:spPr>
          <a:xfrm>
            <a:off x="5128217" y="4999435"/>
            <a:ext cx="507339" cy="5189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111" name="Shape15_20211213_182725">
            <a:extLst>
              <a:ext uri="{FF2B5EF4-FFF2-40B4-BE49-F238E27FC236}">
                <a16:creationId xmlns:a16="http://schemas.microsoft.com/office/drawing/2014/main" id="{BFBD40DC-ADD5-A77A-AFE2-AB998B73C8E1}"/>
              </a:ext>
            </a:extLst>
          </p:cNvPr>
          <p:cNvSpPr>
            <a:spLocks/>
          </p:cNvSpPr>
          <p:nvPr/>
        </p:nvSpPr>
        <p:spPr bwMode="auto">
          <a:xfrm flipH="1" flipV="1">
            <a:off x="5463115" y="5035955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12" name="Shape0_20211213_182725">
            <a:extLst>
              <a:ext uri="{FF2B5EF4-FFF2-40B4-BE49-F238E27FC236}">
                <a16:creationId xmlns:a16="http://schemas.microsoft.com/office/drawing/2014/main" id="{C0CDF32C-1114-94DE-7612-84DD29BB8934}"/>
              </a:ext>
            </a:extLst>
          </p:cNvPr>
          <p:cNvSpPr>
            <a:spLocks/>
          </p:cNvSpPr>
          <p:nvPr/>
        </p:nvSpPr>
        <p:spPr bwMode="auto">
          <a:xfrm flipH="1" flipV="1">
            <a:off x="5166955" y="5035955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</p:spTree>
    <p:extLst>
      <p:ext uri="{BB962C8B-B14F-4D97-AF65-F5344CB8AC3E}">
        <p14:creationId xmlns:p14="http://schemas.microsoft.com/office/powerpoint/2010/main" val="505255227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CD1012-1822-65B3-87FC-20878833A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1BD9BB5-E716-7CD2-3243-096558E894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738947-98B0-3650-1428-919A06F8D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CFF8FD-48A6-4947-F94D-7B48E45DE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D369F38-ABFC-45B6-1F81-8A7E1348BE8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AA6A765-5519-2734-3FF0-8626ACB5F01C}"/>
              </a:ext>
            </a:extLst>
          </p:cNvPr>
          <p:cNvSpPr/>
          <p:nvPr/>
        </p:nvSpPr>
        <p:spPr>
          <a:xfrm>
            <a:off x="512015" y="1776643"/>
            <a:ext cx="7033361" cy="34667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9434" tIns="39697" rIns="79434" bIns="39697" anchor="ctr" anchorCtr="0">
            <a:noAutofit/>
          </a:bodyPr>
          <a:lstStyle/>
          <a:p>
            <a:pPr algn="ctr"/>
            <a:endParaRPr lang="en-US" sz="2639" dirty="0" err="1">
              <a:solidFill>
                <a:schemeClr val="bg1"/>
              </a:solidFill>
            </a:endParaRPr>
          </a:p>
        </p:txBody>
      </p:sp>
      <p:sp>
        <p:nvSpPr>
          <p:cNvPr id="5" name="Shape 77">
            <a:extLst>
              <a:ext uri="{FF2B5EF4-FFF2-40B4-BE49-F238E27FC236}">
                <a16:creationId xmlns:a16="http://schemas.microsoft.com/office/drawing/2014/main" id="{BCAE4FBB-6849-4C3E-8F45-0398CFF03B4C}"/>
              </a:ext>
            </a:extLst>
          </p:cNvPr>
          <p:cNvSpPr/>
          <p:nvPr/>
        </p:nvSpPr>
        <p:spPr>
          <a:xfrm>
            <a:off x="1087283" y="1795395"/>
            <a:ext cx="528469" cy="14857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9655" b="1" dirty="0">
                <a:solidFill>
                  <a:srgbClr val="FFFFFF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" name="Shape 77">
            <a:extLst>
              <a:ext uri="{FF2B5EF4-FFF2-40B4-BE49-F238E27FC236}">
                <a16:creationId xmlns:a16="http://schemas.microsoft.com/office/drawing/2014/main" id="{CE7E9949-1257-F412-FF69-C38DF4EC4756}"/>
              </a:ext>
            </a:extLst>
          </p:cNvPr>
          <p:cNvSpPr/>
          <p:nvPr/>
        </p:nvSpPr>
        <p:spPr>
          <a:xfrm rot="10800000">
            <a:off x="6626866" y="3838804"/>
            <a:ext cx="507148" cy="14857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9655" b="1" dirty="0">
                <a:solidFill>
                  <a:srgbClr val="FFFFFF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7" name="Shape6_20220317_114739">
            <a:extLst>
              <a:ext uri="{FF2B5EF4-FFF2-40B4-BE49-F238E27FC236}">
                <a16:creationId xmlns:a16="http://schemas.microsoft.com/office/drawing/2014/main" id="{09B2B939-C20A-14E0-2C0E-371FE10EDCC6}"/>
              </a:ext>
            </a:extLst>
          </p:cNvPr>
          <p:cNvSpPr/>
          <p:nvPr/>
        </p:nvSpPr>
        <p:spPr>
          <a:xfrm>
            <a:off x="7545376" y="1556721"/>
            <a:ext cx="4031603" cy="3908457"/>
          </a:xfrm>
          <a:prstGeom prst="rect">
            <a:avLst/>
          </a:prstGeom>
          <a:noFill/>
          <a:ln w="285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Shape0_20220426_142447">
            <a:extLst>
              <a:ext uri="{FF2B5EF4-FFF2-40B4-BE49-F238E27FC236}">
                <a16:creationId xmlns:a16="http://schemas.microsoft.com/office/drawing/2014/main" id="{C056A8AA-AA35-3433-6CED-52FB9688C5FB}"/>
              </a:ext>
            </a:extLst>
          </p:cNvPr>
          <p:cNvSpPr/>
          <p:nvPr/>
        </p:nvSpPr>
        <p:spPr>
          <a:xfrm>
            <a:off x="7451633" y="1461632"/>
            <a:ext cx="253709" cy="262215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7153" tIns="73574" rIns="147153" bIns="735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Shape1_20220426_142447">
            <a:extLst>
              <a:ext uri="{FF2B5EF4-FFF2-40B4-BE49-F238E27FC236}">
                <a16:creationId xmlns:a16="http://schemas.microsoft.com/office/drawing/2014/main" id="{F5517E2D-A392-3A52-9574-7B2DA7E29CDC}"/>
              </a:ext>
            </a:extLst>
          </p:cNvPr>
          <p:cNvSpPr/>
          <p:nvPr/>
        </p:nvSpPr>
        <p:spPr>
          <a:xfrm flipH="1" flipV="1">
            <a:off x="11416586" y="5296198"/>
            <a:ext cx="253709" cy="262215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7153" tIns="73574" rIns="147153" bIns="735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B5D1BEF-7E42-06B6-DDE8-7E9489339C51}"/>
              </a:ext>
            </a:extLst>
          </p:cNvPr>
          <p:cNvSpPr/>
          <p:nvPr/>
        </p:nvSpPr>
        <p:spPr>
          <a:xfrm>
            <a:off x="1204888" y="3309960"/>
            <a:ext cx="5344725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FFFFFF"/>
                </a:solidFill>
                <a:cs typeface="Arial" panose="020B0604020202020204" pitchFamily="34" charset="0"/>
              </a:rPr>
              <a:t>Insert Quote Here</a:t>
            </a:r>
          </a:p>
        </p:txBody>
      </p:sp>
    </p:spTree>
    <p:extLst>
      <p:ext uri="{BB962C8B-B14F-4D97-AF65-F5344CB8AC3E}">
        <p14:creationId xmlns:p14="http://schemas.microsoft.com/office/powerpoint/2010/main" val="1662556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ew palett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01F54"/>
    </a:accent1>
    <a:accent2>
      <a:srgbClr val="054990"/>
    </a:accent2>
    <a:accent3>
      <a:srgbClr val="3F7CB2"/>
    </a:accent3>
    <a:accent4>
      <a:srgbClr val="81A4CC"/>
    </a:accent4>
    <a:accent5>
      <a:srgbClr val="034078"/>
    </a:accent5>
    <a:accent6>
      <a:srgbClr val="000000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New palett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01F54"/>
    </a:accent1>
    <a:accent2>
      <a:srgbClr val="054990"/>
    </a:accent2>
    <a:accent3>
      <a:srgbClr val="3F7CB2"/>
    </a:accent3>
    <a:accent4>
      <a:srgbClr val="81A4CC"/>
    </a:accent4>
    <a:accent5>
      <a:srgbClr val="034078"/>
    </a:accent5>
    <a:accent6>
      <a:srgbClr val="000000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36</TotalTime>
  <Words>4215</Words>
  <Application>Microsoft Macintosh PowerPoint</Application>
  <PresentationFormat>Widescreen</PresentationFormat>
  <Paragraphs>1547</Paragraphs>
  <Slides>1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3</vt:i4>
      </vt:variant>
    </vt:vector>
  </HeadingPairs>
  <TitlesOfParts>
    <vt:vector size="141" baseType="lpstr">
      <vt:lpstr>ＭＳ Ｐゴシック</vt:lpstr>
      <vt:lpstr>Arial</vt:lpstr>
      <vt:lpstr>Calibri</vt:lpstr>
      <vt:lpstr>Century Gothic</vt:lpstr>
      <vt:lpstr>Courier New</vt:lpstr>
      <vt:lpstr>Crimson Pro</vt:lpstr>
      <vt:lpstr>Helvetica</vt:lpstr>
      <vt:lpstr>Open Sans</vt:lpstr>
      <vt:lpstr>Open Sans Light</vt:lpstr>
      <vt:lpstr>Roboto</vt:lpstr>
      <vt:lpstr>Roboto Light</vt:lpstr>
      <vt:lpstr>Roboto Lt</vt:lpstr>
      <vt:lpstr>Tahoma</vt:lpstr>
      <vt:lpstr>Trebuchet MS</vt:lpstr>
      <vt:lpstr>Verdana</vt:lpstr>
      <vt:lpstr>Wingdings</vt:lpstr>
      <vt:lpstr>Office Theme</vt:lpstr>
      <vt:lpstr>think-cell Slide</vt:lpstr>
      <vt:lpstr>How to use this template</vt:lpstr>
      <vt:lpstr>PowerPoint Presentation</vt:lpstr>
      <vt:lpstr>PowerPoint Presentation</vt:lpstr>
      <vt:lpstr>Slide title – General Layout</vt:lpstr>
      <vt:lpstr>01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02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Charts</vt:lpstr>
      <vt:lpstr>03</vt:lpstr>
      <vt:lpstr>Case Study</vt:lpstr>
      <vt:lpstr>Case Study</vt:lpstr>
      <vt:lpstr>Case Study</vt:lpstr>
      <vt:lpstr>Case Study</vt:lpstr>
      <vt:lpstr>Case Study</vt:lpstr>
      <vt:lpstr>04</vt:lpstr>
      <vt:lpstr>Checklist </vt:lpstr>
      <vt:lpstr>Checklist </vt:lpstr>
      <vt:lpstr>Checklist </vt:lpstr>
      <vt:lpstr>Checklist </vt:lpstr>
      <vt:lpstr>Checklist </vt:lpstr>
      <vt:lpstr>Checklist </vt:lpstr>
      <vt:lpstr>05</vt:lpstr>
      <vt:lpstr>Next Steps </vt:lpstr>
      <vt:lpstr>Next Steps </vt:lpstr>
      <vt:lpstr>Next Steps </vt:lpstr>
      <vt:lpstr>Next Steps </vt:lpstr>
      <vt:lpstr>06</vt:lpstr>
      <vt:lpstr>Process</vt:lpstr>
      <vt:lpstr>Process</vt:lpstr>
      <vt:lpstr>Process</vt:lpstr>
      <vt:lpstr>Process</vt:lpstr>
      <vt:lpstr>Process</vt:lpstr>
      <vt:lpstr>07</vt:lpstr>
      <vt:lpstr>Timeline </vt:lpstr>
      <vt:lpstr>Timeline </vt:lpstr>
      <vt:lpstr>Timeline </vt:lpstr>
      <vt:lpstr>Timeline </vt:lpstr>
      <vt:lpstr>Timeline </vt:lpstr>
      <vt:lpstr>Timeline </vt:lpstr>
      <vt:lpstr>08</vt:lpstr>
      <vt:lpstr>Gantt Chart</vt:lpstr>
      <vt:lpstr>Gantt Chart</vt:lpstr>
      <vt:lpstr>Gantt Chart</vt:lpstr>
      <vt:lpstr>Gantt Chart</vt:lpstr>
      <vt:lpstr>09</vt:lpstr>
      <vt:lpstr>Funnel</vt:lpstr>
      <vt:lpstr>Funnel</vt:lpstr>
      <vt:lpstr>Funnel</vt:lpstr>
      <vt:lpstr>Funnel</vt:lpstr>
      <vt:lpstr>Funnel</vt:lpstr>
      <vt:lpstr>10</vt:lpstr>
      <vt:lpstr>Quotes</vt:lpstr>
      <vt:lpstr>Quotes</vt:lpstr>
      <vt:lpstr>Quotes</vt:lpstr>
      <vt:lpstr>Quotes</vt:lpstr>
      <vt:lpstr>11</vt:lpstr>
      <vt:lpstr>Slide title</vt:lpstr>
      <vt:lpstr>Slide title</vt:lpstr>
      <vt:lpstr>Slide title</vt:lpstr>
      <vt:lpstr>Slide title</vt:lpstr>
      <vt:lpstr>12</vt:lpstr>
      <vt:lpstr>Agenda</vt:lpstr>
      <vt:lpstr>Agenda</vt:lpstr>
      <vt:lpstr>Agenda</vt:lpstr>
      <vt:lpstr>Agenda</vt:lpstr>
      <vt:lpstr>13</vt:lpstr>
      <vt:lpstr>Circular layouts</vt:lpstr>
      <vt:lpstr>Circular layouts</vt:lpstr>
      <vt:lpstr>Circular layouts</vt:lpstr>
      <vt:lpstr>Circular layouts</vt:lpstr>
      <vt:lpstr>14</vt:lpstr>
      <vt:lpstr>30-60-90 Plan</vt:lpstr>
      <vt:lpstr>30-60-90 Plan</vt:lpstr>
      <vt:lpstr>30-60-90 Plan</vt:lpstr>
      <vt:lpstr>30-60-90 Plan</vt:lpstr>
      <vt:lpstr>Charts</vt:lpstr>
      <vt:lpstr>Charts</vt:lpstr>
      <vt:lpstr>Charts</vt:lpstr>
      <vt:lpstr>Char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ual Template</dc:title>
  <dc:subject/>
  <dc:creator>Analyst Academy LLC</dc:creator>
  <cp:keywords/>
  <dc:description/>
  <cp:lastModifiedBy>Paul Moss</cp:lastModifiedBy>
  <cp:revision>356</cp:revision>
  <dcterms:created xsi:type="dcterms:W3CDTF">2021-03-31T02:49:57Z</dcterms:created>
  <dcterms:modified xsi:type="dcterms:W3CDTF">2025-08-05T21:26:58Z</dcterms:modified>
  <cp:category/>
</cp:coreProperties>
</file>